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3.xml" ContentType="application/vnd.openxmlformats-officedocument.them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4.xml" ContentType="application/vnd.openxmlformats-officedocument.theme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5.xml" ContentType="application/vnd.openxmlformats-officedocument.theme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6.xml" ContentType="application/vnd.openxmlformats-officedocument.theme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heme/theme7.xml" ContentType="application/vnd.openxmlformats-officedocument.theme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heme/theme8.xml" ContentType="application/vnd.openxmlformats-officedocument.theme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theme/theme9.xml" ContentType="application/vnd.openxmlformats-officedocument.theme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theme/theme10.xml" ContentType="application/vnd.openxmlformats-officedocument.theme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theme/theme11.xml" ContentType="application/vnd.openxmlformats-officedocument.theme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theme/theme12.xml" ContentType="application/vnd.openxmlformats-officedocument.theme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theme/theme13.xml" ContentType="application/vnd.openxmlformats-officedocument.theme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theme/theme14.xml" ContentType="application/vnd.openxmlformats-officedocument.theme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theme/theme15.xml" ContentType="application/vnd.openxmlformats-officedocument.theme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theme/theme16.xml" ContentType="application/vnd.openxmlformats-officedocument.theme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theme/theme17.xml" ContentType="application/vnd.openxmlformats-officedocument.theme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heme/theme18.xml" ContentType="application/vnd.openxmlformats-officedocument.theme+xml"/>
  <Override PartName="/ppt/theme/theme19.xml" ContentType="application/vnd.openxmlformats-officedocument.theme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71.xml" ContentType="application/vnd.openxmlformats-officedocument.presentationml.tags+xml"/>
  <Override PartName="/ppt/notesSlides/notesSlide3.xml" ContentType="application/vnd.openxmlformats-officedocument.presentationml.notesSlide+xml"/>
  <Override PartName="/ppt/tags/tag172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notesSlides/notesSlide6.xml" ContentType="application/vnd.openxmlformats-officedocument.presentationml.notesSlide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776" r:id="rId4"/>
    <p:sldMasterId id="2147483919" r:id="rId5"/>
    <p:sldMasterId id="2147483803" r:id="rId6"/>
    <p:sldMasterId id="2147483797" r:id="rId7"/>
    <p:sldMasterId id="2147483726" r:id="rId8"/>
    <p:sldMasterId id="2147483809" r:id="rId9"/>
    <p:sldMasterId id="2147483815" r:id="rId10"/>
    <p:sldMasterId id="2147483821" r:id="rId11"/>
    <p:sldMasterId id="2147483845" r:id="rId12"/>
    <p:sldMasterId id="2147483827" r:id="rId13"/>
    <p:sldMasterId id="2147483882" r:id="rId14"/>
    <p:sldMasterId id="2147483839" r:id="rId15"/>
    <p:sldMasterId id="2147483965" r:id="rId16"/>
    <p:sldMasterId id="2147483976" r:id="rId17"/>
    <p:sldMasterId id="2147483989" r:id="rId18"/>
    <p:sldMasterId id="2147483999" r:id="rId19"/>
    <p:sldMasterId id="2147484008" r:id="rId20"/>
  </p:sldMasterIdLst>
  <p:notesMasterIdLst>
    <p:notesMasterId r:id="rId36"/>
  </p:notesMasterIdLst>
  <p:handoutMasterIdLst>
    <p:handoutMasterId r:id="rId37"/>
  </p:handoutMasterIdLst>
  <p:sldIdLst>
    <p:sldId id="391" r:id="rId21"/>
    <p:sldId id="392" r:id="rId22"/>
    <p:sldId id="393" r:id="rId23"/>
    <p:sldId id="394" r:id="rId24"/>
    <p:sldId id="397" r:id="rId25"/>
    <p:sldId id="400" r:id="rId26"/>
    <p:sldId id="601" r:id="rId27"/>
    <p:sldId id="401" r:id="rId28"/>
    <p:sldId id="602" r:id="rId29"/>
    <p:sldId id="402" r:id="rId30"/>
    <p:sldId id="597" r:id="rId31"/>
    <p:sldId id="598" r:id="rId32"/>
    <p:sldId id="599" r:id="rId33"/>
    <p:sldId id="600" r:id="rId34"/>
    <p:sldId id="507" r:id="rId35"/>
  </p:sldIdLst>
  <p:sldSz cx="12192000" cy="6858000"/>
  <p:notesSz cx="6797675" cy="9926638"/>
  <p:custDataLst>
    <p:tags r:id="rId38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3" orient="horz" pos="663">
          <p15:clr>
            <a:srgbClr val="A4A3A4"/>
          </p15:clr>
        </p15:guide>
        <p15:guide id="4" orient="horz" pos="4065">
          <p15:clr>
            <a:srgbClr val="A4A3A4"/>
          </p15:clr>
        </p15:guide>
        <p15:guide id="5" pos="166">
          <p15:clr>
            <a:srgbClr val="A4A3A4"/>
          </p15:clr>
        </p15:guide>
        <p15:guide id="6" pos="7514">
          <p15:clr>
            <a:srgbClr val="A4A3A4"/>
          </p15:clr>
        </p15:guide>
        <p15:guide id="10" pos="3931">
          <p15:clr>
            <a:srgbClr val="A4A3A4"/>
          </p15:clr>
        </p15:guide>
        <p15:guide id="11" pos="7378">
          <p15:clr>
            <a:srgbClr val="A4A3A4"/>
          </p15:clr>
        </p15:guide>
        <p15:guide id="12" pos="3613">
          <p15:clr>
            <a:srgbClr val="A4A3A4"/>
          </p15:clr>
        </p15:guide>
        <p15:guide id="13" pos="2366">
          <p15:clr>
            <a:srgbClr val="A4A3A4"/>
          </p15:clr>
        </p15:guide>
        <p15:guide id="14" pos="2683">
          <p15:clr>
            <a:srgbClr val="A4A3A4"/>
          </p15:clr>
        </p15:guide>
        <p15:guide id="15" pos="2525">
          <p15:clr>
            <a:srgbClr val="A4A3A4"/>
          </p15:clr>
        </p15:guide>
        <p15:guide id="16" pos="5019">
          <p15:clr>
            <a:srgbClr val="A4A3A4"/>
          </p15:clr>
        </p15:guide>
        <p15:guide id="17" pos="4861">
          <p15:clr>
            <a:srgbClr val="A4A3A4"/>
          </p15:clr>
        </p15:guide>
        <p15:guide id="18" pos="5201" userDrawn="1">
          <p15:clr>
            <a:srgbClr val="A4A3A4"/>
          </p15:clr>
        </p15:guide>
        <p15:guide id="19" pos="3772">
          <p15:clr>
            <a:srgbClr val="A4A3A4"/>
          </p15:clr>
        </p15:guide>
        <p15:guide id="20" pos="5654">
          <p15:clr>
            <a:srgbClr val="A4A3A4"/>
          </p15:clr>
        </p15:guide>
        <p15:guide id="21" pos="5496">
          <p15:clr>
            <a:srgbClr val="A4A3A4"/>
          </p15:clr>
        </p15:guide>
        <p15:guide id="22" pos="5813">
          <p15:clr>
            <a:srgbClr val="A4A3A4"/>
          </p15:clr>
        </p15:guide>
        <p15:guide id="23" pos="1890">
          <p15:clr>
            <a:srgbClr val="A4A3A4"/>
          </p15:clr>
        </p15:guide>
        <p15:guide id="24" pos="1731">
          <p15:clr>
            <a:srgbClr val="A4A3A4"/>
          </p15:clr>
        </p15:guide>
        <p15:guide id="25" pos="2116" userDrawn="1">
          <p15:clr>
            <a:srgbClr val="A4A3A4"/>
          </p15:clr>
        </p15:guide>
        <p15:guide id="27" orient="horz" pos="572" userDrawn="1">
          <p15:clr>
            <a:srgbClr val="A4A3A4"/>
          </p15:clr>
        </p15:guide>
        <p15:guide id="28" orient="horz" pos="4319">
          <p15:clr>
            <a:srgbClr val="A4A3A4"/>
          </p15:clr>
        </p15:guide>
        <p15:guide id="29" userDrawn="1">
          <p15:clr>
            <a:srgbClr val="A4A3A4"/>
          </p15:clr>
        </p15:guide>
        <p15:guide id="31" orient="horz" pos="96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6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7" name="Microsoft Office User" initials="MOU" lastIdx="24" clrIdx="6"/>
  <p:cmAuthor id="1" name="ariana.reinecke" initials="a" lastIdx="43" clrIdx="0"/>
  <p:cmAuthor id="8" name="julia.maerz" initials="j" lastIdx="15" clrIdx="7"/>
  <p:cmAuthor id="2" name="Sabine.naumann" initials="S" lastIdx="33" clrIdx="1"/>
  <p:cmAuthor id="9" name="stefanie.hauck" initials="s" lastIdx="6" clrIdx="8"/>
  <p:cmAuthor id="3" name="Microsoft Office-Anwender" initials="Office" lastIdx="1" clrIdx="2"/>
  <p:cmAuthor id="4" name="Microsoft Office-Anwender" initials="Office [2]" lastIdx="1" clrIdx="3"/>
  <p:cmAuthor id="5" name="sabine.naumann" initials="s" lastIdx="17" clrIdx="4"/>
  <p:cmAuthor id="6" name="julia.otto" initials="j" lastIdx="25" clrIdx="5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clrMode="bw"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/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987" autoAdjust="0"/>
    <p:restoredTop sz="89307" autoAdjust="0"/>
  </p:normalViewPr>
  <p:slideViewPr>
    <p:cSldViewPr snapToObjects="1" showGuides="1">
      <p:cViewPr varScale="1">
        <p:scale>
          <a:sx n="100" d="100"/>
          <a:sy n="100" d="100"/>
        </p:scale>
        <p:origin x="1200" y="90"/>
      </p:cViewPr>
      <p:guideLst>
        <p:guide orient="horz" pos="663"/>
        <p:guide orient="horz" pos="4065"/>
        <p:guide pos="166"/>
        <p:guide pos="7514"/>
        <p:guide pos="3931"/>
        <p:guide pos="7378"/>
        <p:guide pos="3613"/>
        <p:guide pos="2366"/>
        <p:guide pos="2683"/>
        <p:guide pos="2525"/>
        <p:guide pos="5019"/>
        <p:guide pos="4861"/>
        <p:guide pos="5201"/>
        <p:guide pos="3772"/>
        <p:guide pos="5654"/>
        <p:guide pos="5496"/>
        <p:guide pos="5813"/>
        <p:guide pos="1890"/>
        <p:guide pos="1731"/>
        <p:guide pos="2116"/>
        <p:guide orient="horz" pos="572"/>
        <p:guide orient="horz" pos="4319"/>
        <p:guide/>
        <p:guide orient="horz" pos="96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66" d="100"/>
        <a:sy n="66" d="100"/>
      </p:scale>
      <p:origin x="0" y="2970"/>
    </p:cViewPr>
  </p:sorterViewPr>
  <p:notesViewPr>
    <p:cSldViewPr snapToObjects="1" showGuides="1">
      <p:cViewPr varScale="1">
        <p:scale>
          <a:sx n="79" d="100"/>
          <a:sy n="79" d="100"/>
        </p:scale>
        <p:origin x="-3936" y="-84"/>
      </p:cViewPr>
      <p:guideLst>
        <p:guide orient="horz" pos="3126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Master" Target="slideMasters/slideMaster10.xml"/><Relationship Id="rId18" Type="http://schemas.openxmlformats.org/officeDocument/2006/relationships/slideMaster" Target="slideMasters/slideMaster15.xml"/><Relationship Id="rId26" Type="http://schemas.openxmlformats.org/officeDocument/2006/relationships/slide" Target="slides/slide6.xml"/><Relationship Id="rId39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21" Type="http://schemas.openxmlformats.org/officeDocument/2006/relationships/slide" Target="slides/slide1.xml"/><Relationship Id="rId34" Type="http://schemas.openxmlformats.org/officeDocument/2006/relationships/slide" Target="slides/slide14.xml"/><Relationship Id="rId42" Type="http://schemas.openxmlformats.org/officeDocument/2006/relationships/theme" Target="theme/theme1.xml"/><Relationship Id="rId7" Type="http://schemas.openxmlformats.org/officeDocument/2006/relationships/slideMaster" Target="slideMasters/slideMaster4.xml"/><Relationship Id="rId12" Type="http://schemas.openxmlformats.org/officeDocument/2006/relationships/slideMaster" Target="slideMasters/slideMaster9.xml"/><Relationship Id="rId17" Type="http://schemas.openxmlformats.org/officeDocument/2006/relationships/slideMaster" Target="slideMasters/slideMaster14.xml"/><Relationship Id="rId25" Type="http://schemas.openxmlformats.org/officeDocument/2006/relationships/slide" Target="slides/slide5.xml"/><Relationship Id="rId33" Type="http://schemas.openxmlformats.org/officeDocument/2006/relationships/slide" Target="slides/slide13.xml"/><Relationship Id="rId38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slideMaster" Target="slideMasters/slideMaster13.xml"/><Relationship Id="rId20" Type="http://schemas.openxmlformats.org/officeDocument/2006/relationships/slideMaster" Target="slideMasters/slideMaster17.xml"/><Relationship Id="rId29" Type="http://schemas.openxmlformats.org/officeDocument/2006/relationships/slide" Target="slides/slide9.xml"/><Relationship Id="rId41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4.xml"/><Relationship Id="rId32" Type="http://schemas.openxmlformats.org/officeDocument/2006/relationships/slide" Target="slides/slide12.xml"/><Relationship Id="rId37" Type="http://schemas.openxmlformats.org/officeDocument/2006/relationships/handoutMaster" Target="handoutMasters/handoutMaster1.xml"/><Relationship Id="rId40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openxmlformats.org/officeDocument/2006/relationships/slideMaster" Target="slideMasters/slideMaster12.xml"/><Relationship Id="rId23" Type="http://schemas.openxmlformats.org/officeDocument/2006/relationships/slide" Target="slides/slide3.xml"/><Relationship Id="rId28" Type="http://schemas.openxmlformats.org/officeDocument/2006/relationships/slide" Target="slides/slide8.xml"/><Relationship Id="rId36" Type="http://schemas.openxmlformats.org/officeDocument/2006/relationships/notesMaster" Target="notesMasters/notesMaster1.xml"/><Relationship Id="rId10" Type="http://schemas.openxmlformats.org/officeDocument/2006/relationships/slideMaster" Target="slideMasters/slideMaster7.xml"/><Relationship Id="rId19" Type="http://schemas.openxmlformats.org/officeDocument/2006/relationships/slideMaster" Target="slideMasters/slideMaster16.xml"/><Relationship Id="rId31" Type="http://schemas.openxmlformats.org/officeDocument/2006/relationships/slide" Target="slides/slide11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Master" Target="slideMasters/slideMaster11.xml"/><Relationship Id="rId22" Type="http://schemas.openxmlformats.org/officeDocument/2006/relationships/slide" Target="slides/slide2.xml"/><Relationship Id="rId27" Type="http://schemas.openxmlformats.org/officeDocument/2006/relationships/slide" Target="slides/slide7.xml"/><Relationship Id="rId30" Type="http://schemas.openxmlformats.org/officeDocument/2006/relationships/slide" Target="slides/slide10.xml"/><Relationship Id="rId35" Type="http://schemas.openxmlformats.org/officeDocument/2006/relationships/slide" Target="slides/slide15.xml"/><Relationship Id="rId43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1"/>
    </mc:Choice>
    <mc:Fallback>
      <c:style val="1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2200" b="1" i="0" u="none" strike="noStrike" kern="1200" cap="all" spc="5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de-DE" sz="1400" dirty="0">
                <a:solidFill>
                  <a:schemeClr val="tx1"/>
                </a:solidFill>
              </a:rPr>
              <a:t>Status quo ÖPNV Finanzierung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200" b="1" i="0" u="none" strike="noStrike" kern="1200" cap="all" spc="5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title>
    <c:autoTitleDeleted val="0"/>
    <c:plotArea>
      <c:layout>
        <c:manualLayout>
          <c:layoutTarget val="inner"/>
          <c:xMode val="edge"/>
          <c:yMode val="edge"/>
          <c:x val="5.0875757394477535E-2"/>
          <c:y val="0.28233449558888912"/>
          <c:w val="0.92538222248809965"/>
          <c:h val="0.43426441047039943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öffentliche Hand</c:v>
                </c:pt>
              </c:strCache>
            </c:strRef>
          </c:tx>
          <c:spPr>
            <a:gradFill flip="none" rotWithShape="1">
              <a:gsLst>
                <a:gs pos="0">
                  <a:schemeClr val="dk1">
                    <a:tint val="88500"/>
                  </a:schemeClr>
                </a:gs>
                <a:gs pos="75000">
                  <a:schemeClr val="dk1">
                    <a:tint val="88500"/>
                    <a:lumMod val="60000"/>
                    <a:lumOff val="40000"/>
                  </a:schemeClr>
                </a:gs>
                <a:gs pos="51000">
                  <a:schemeClr val="dk1">
                    <a:tint val="88500"/>
                    <a:alpha val="75000"/>
                  </a:schemeClr>
                </a:gs>
                <a:gs pos="100000">
                  <a:schemeClr val="dk1">
                    <a:tint val="88500"/>
                    <a:lumMod val="20000"/>
                    <a:lumOff val="80000"/>
                    <a:alpha val="15000"/>
                  </a:schemeClr>
                </a:gs>
              </a:gsLst>
              <a:lin ang="10800000" scaled="1"/>
              <a:tileRect/>
            </a:gradFill>
            <a:ln>
              <a:noFill/>
            </a:ln>
            <a:effectLst/>
          </c:spPr>
          <c:invertIfNegative val="0"/>
          <c:cat>
            <c:strRef>
              <c:f>Tabelle1!$A$2:$A$5</c:f>
              <c:strCache>
                <c:ptCount val="1"/>
                <c:pt idx="0">
                  <c:v>Status quo ÖPNV-Finanzierung</c:v>
                </c:pt>
              </c:strCache>
              <c:extLst/>
            </c:strRef>
          </c:cat>
          <c:val>
            <c:numRef>
              <c:f>Tabelle1!$B$2:$B$5</c:f>
              <c:numCache>
                <c:formatCode>General</c:formatCode>
                <c:ptCount val="1"/>
                <c:pt idx="0">
                  <c:v>55</c:v>
                </c:pt>
              </c:numCache>
              <c:extLst/>
            </c:numRef>
          </c:val>
          <c:extLst>
            <c:ext xmlns:c16="http://schemas.microsoft.com/office/drawing/2014/chart" uri="{C3380CC4-5D6E-409C-BE32-E72D297353CC}">
              <c16:uniqueId val="{00000000-77C4-488D-B985-6223C9212A5F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Fahrgäste</c:v>
                </c:pt>
              </c:strCache>
            </c:strRef>
          </c:tx>
          <c:spPr>
            <a:gradFill flip="none" rotWithShape="1">
              <a:gsLst>
                <a:gs pos="0">
                  <a:schemeClr val="dk1">
                    <a:tint val="55000"/>
                  </a:schemeClr>
                </a:gs>
                <a:gs pos="75000">
                  <a:schemeClr val="dk1">
                    <a:tint val="55000"/>
                    <a:lumMod val="60000"/>
                    <a:lumOff val="40000"/>
                  </a:schemeClr>
                </a:gs>
                <a:gs pos="51000">
                  <a:schemeClr val="dk1">
                    <a:tint val="55000"/>
                    <a:alpha val="75000"/>
                  </a:schemeClr>
                </a:gs>
                <a:gs pos="100000">
                  <a:schemeClr val="dk1">
                    <a:tint val="55000"/>
                    <a:lumMod val="20000"/>
                    <a:lumOff val="80000"/>
                    <a:alpha val="15000"/>
                  </a:schemeClr>
                </a:gs>
              </a:gsLst>
              <a:lin ang="10800000" scaled="1"/>
              <a:tileRect/>
            </a:gradFill>
            <a:ln>
              <a:noFill/>
            </a:ln>
            <a:effectLst/>
          </c:spPr>
          <c:invertIfNegative val="0"/>
          <c:cat>
            <c:strRef>
              <c:f>Tabelle1!$A$2:$A$5</c:f>
              <c:strCache>
                <c:ptCount val="1"/>
                <c:pt idx="0">
                  <c:v>Status quo ÖPNV-Finanzierung</c:v>
                </c:pt>
              </c:strCache>
              <c:extLst/>
            </c:strRef>
          </c:cat>
          <c:val>
            <c:numRef>
              <c:f>Tabelle1!$C$2:$C$5</c:f>
              <c:numCache>
                <c:formatCode>General</c:formatCode>
                <c:ptCount val="1"/>
                <c:pt idx="0">
                  <c:v>45</c:v>
                </c:pt>
              </c:numCache>
              <c:extLst/>
            </c:numRef>
          </c:val>
          <c:extLst>
            <c:ext xmlns:c16="http://schemas.microsoft.com/office/drawing/2014/chart" uri="{C3380CC4-5D6E-409C-BE32-E72D297353CC}">
              <c16:uniqueId val="{00000001-77C4-488D-B985-6223C9212A5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26"/>
        <c:overlap val="-58"/>
        <c:axId val="1040632800"/>
        <c:axId val="1040637480"/>
      </c:barChart>
      <c:catAx>
        <c:axId val="1040632800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1040637480"/>
        <c:crosses val="autoZero"/>
        <c:auto val="1"/>
        <c:lblAlgn val="ctr"/>
        <c:lblOffset val="100"/>
        <c:noMultiLvlLbl val="0"/>
      </c:catAx>
      <c:valAx>
        <c:axId val="1040637480"/>
        <c:scaling>
          <c:orientation val="minMax"/>
        </c:scaling>
        <c:delete val="1"/>
        <c:axPos val="b"/>
        <c:majorGridlines>
          <c:spPr>
            <a:ln w="9525" cap="flat" cmpd="sng" algn="ctr">
              <a:gradFill>
                <a:gsLst>
                  <a:gs pos="99000">
                    <a:schemeClr val="tx1">
                      <a:lumMod val="25000"/>
                      <a:lumOff val="75000"/>
                    </a:schemeClr>
                  </a:gs>
                  <a:gs pos="0">
                    <a:schemeClr val="tx1">
                      <a:lumMod val="15000"/>
                      <a:lumOff val="85000"/>
                    </a:schemeClr>
                  </a:gs>
                </a:gsLst>
                <a:lin ang="5400000" scaled="0"/>
              </a:gra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crossAx val="104063280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20">
  <a:schemeClr val="dk1"/>
  <cs:variation>
    <a:tint val="88500"/>
  </cs:variation>
  <cs:variation>
    <a:tint val="55000"/>
  </cs:variation>
  <cs:variation>
    <a:tint val="75000"/>
  </cs:variation>
  <cs:variation>
    <a:tint val="98500"/>
  </cs:variation>
  <cs:variation>
    <a:tint val="30000"/>
  </cs:variation>
  <cs:variation>
    <a:tint val="60000"/>
  </cs:variation>
  <cs:variation>
    <a:tint val="8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3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9050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gradFill flip="none" rotWithShape="1">
        <a:gsLst>
          <a:gs pos="0">
            <a:schemeClr val="phClr"/>
          </a:gs>
          <a:gs pos="75000">
            <a:schemeClr val="phClr">
              <a:lumMod val="60000"/>
              <a:lumOff val="40000"/>
            </a:schemeClr>
          </a:gs>
          <a:gs pos="51000">
            <a:schemeClr val="phClr">
              <a:alpha val="75000"/>
            </a:schemeClr>
          </a:gs>
          <a:gs pos="100000">
            <a:schemeClr val="phClr">
              <a:lumMod val="20000"/>
              <a:lumOff val="80000"/>
              <a:alpha val="15000"/>
            </a:schemeClr>
          </a:gs>
        </a:gsLst>
        <a:lin ang="10800000" scaled="1"/>
        <a:tileRect/>
      </a:gra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gradFill flip="none" rotWithShape="1">
        <a:gsLst>
          <a:gs pos="0">
            <a:schemeClr val="phClr"/>
          </a:gs>
          <a:gs pos="75000">
            <a:schemeClr val="phClr">
              <a:lumMod val="60000"/>
              <a:lumOff val="40000"/>
            </a:schemeClr>
          </a:gs>
          <a:gs pos="51000">
            <a:schemeClr val="phClr">
              <a:alpha val="75000"/>
            </a:schemeClr>
          </a:gs>
          <a:gs pos="100000">
            <a:schemeClr val="phClr">
              <a:lumMod val="20000"/>
              <a:lumOff val="80000"/>
              <a:alpha val="15000"/>
            </a:schemeClr>
          </a:gs>
        </a:gsLst>
        <a:lin ang="10800000" scaled="1"/>
        <a:tileRect/>
      </a:gra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46000">
            <a:schemeClr val="phClr"/>
          </a:gs>
          <a:gs pos="100000">
            <a:schemeClr val="phClr">
              <a:lumMod val="20000"/>
              <a:lumOff val="80000"/>
              <a:alpha val="0"/>
            </a:schemeClr>
          </a:gs>
        </a:gsLst>
        <a:path path="circle">
          <a:fillToRect l="50000" t="-80000" r="50000" b="180000"/>
        </a:path>
      </a:gradFill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99000">
              <a:schemeClr val="tx1">
                <a:lumMod val="25000"/>
                <a:lumOff val="75000"/>
              </a:schemeClr>
            </a:gs>
            <a:gs pos="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100000">
              <a:schemeClr val="tx1">
                <a:lumMod val="15000"/>
                <a:lumOff val="85000"/>
              </a:schemeClr>
            </a:gs>
            <a:gs pos="0">
              <a:schemeClr val="tx1">
                <a:lumMod val="5000"/>
                <a:lumOff val="9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200" b="1" kern="1200" cap="all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6_4">
  <dgm:title val=""/>
  <dgm:desc val=""/>
  <dgm:catLst>
    <dgm:cat type="accent6" pri="11400"/>
  </dgm:catLst>
  <dgm:styleLbl name="node0">
    <dgm:fillClrLst meth="cycle">
      <a:schemeClr val="accent6">
        <a:shade val="6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cycle">
      <a:schemeClr val="accent6">
        <a:shade val="50000"/>
      </a:schemeClr>
      <a:schemeClr val="accent6">
        <a:tint val="55000"/>
      </a:schemeClr>
    </dgm:fillClrLst>
    <dgm:linClrLst meth="cycle">
      <a:schemeClr val="accent6">
        <a:shade val="50000"/>
      </a:schemeClr>
      <a:schemeClr val="accent6">
        <a:tint val="55000"/>
      </a:schemeClr>
    </dgm:linClrLst>
    <dgm:effectClrLst/>
    <dgm:txLinClrLst/>
    <dgm:txFillClrLst/>
    <dgm:txEffectClrLst/>
  </dgm:styleLbl>
  <dgm:styleLbl name="node1">
    <dgm:fillClrLst meth="cycle">
      <a:schemeClr val="accent6">
        <a:shade val="50000"/>
      </a:schemeClr>
      <a:schemeClr val="accent6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cycle">
      <a:schemeClr val="accent6">
        <a:shade val="50000"/>
      </a:schemeClr>
      <a:schemeClr val="accent6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cycle">
      <a:schemeClr val="accent6">
        <a:shade val="80000"/>
        <a:alpha val="50000"/>
      </a:schemeClr>
      <a:schemeClr val="accent6">
        <a:tint val="5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6">
        <a:tint val="50000"/>
      </a:schemeClr>
      <a:schemeClr val="accent6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6">
        <a:tint val="50000"/>
      </a:schemeClr>
      <a:schemeClr val="accent6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6">
        <a:tint val="50000"/>
      </a:schemeClr>
      <a:schemeClr val="accent6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cycle">
      <a:schemeClr val="accent6">
        <a:shade val="90000"/>
      </a:schemeClr>
      <a:schemeClr val="accent6">
        <a:tint val="50000"/>
      </a:schemeClr>
    </dgm:fillClrLst>
    <dgm:linClrLst meth="cycle">
      <a:schemeClr val="accent6">
        <a:shade val="90000"/>
      </a:schemeClr>
      <a:schemeClr val="accent6">
        <a:tint val="50000"/>
      </a:schemeClr>
    </dgm:linClrLst>
    <dgm:effectClrLst/>
    <dgm:txLinClrLst/>
    <dgm:txFillClrLst/>
    <dgm:txEffectClrLst/>
  </dgm:styleLbl>
  <dgm:styleLbl name="fgSibTrans2D1">
    <dgm:fillClrLst meth="cycle">
      <a:schemeClr val="accent6">
        <a:shade val="90000"/>
      </a:schemeClr>
      <a:schemeClr val="accent6">
        <a:tint val="50000"/>
      </a:schemeClr>
    </dgm:fillClrLst>
    <dgm:linClrLst meth="cycle">
      <a:schemeClr val="accent6">
        <a:shade val="90000"/>
      </a:schemeClr>
      <a:schemeClr val="accent6">
        <a:tint val="50000"/>
      </a:schemeClr>
    </dgm:linClrLst>
    <dgm:effectClrLst/>
    <dgm:txLinClrLst/>
    <dgm:txFillClrLst/>
    <dgm:txEffectClrLst/>
  </dgm:styleLbl>
  <dgm:styleLbl name="bgSibTrans2D1">
    <dgm:fillClrLst meth="cycle">
      <a:schemeClr val="accent6">
        <a:shade val="90000"/>
      </a:schemeClr>
      <a:schemeClr val="accent6">
        <a:tint val="50000"/>
      </a:schemeClr>
    </dgm:fillClrLst>
    <dgm:linClrLst meth="cycle">
      <a:schemeClr val="accent6">
        <a:shade val="90000"/>
      </a:schemeClr>
      <a:schemeClr val="accent6">
        <a:tint val="50000"/>
      </a:schemeClr>
    </dgm:linClrLst>
    <dgm:effectClrLst/>
    <dgm:txLinClrLst/>
    <dgm:txFillClrLst/>
    <dgm:txEffectClrLst/>
  </dgm:styleLbl>
  <dgm:styleLbl name="sibTrans1D1">
    <dgm:fillClrLst meth="cycle">
      <a:schemeClr val="accent6">
        <a:shade val="90000"/>
      </a:schemeClr>
      <a:schemeClr val="accent6">
        <a:tint val="50000"/>
      </a:schemeClr>
    </dgm:fillClrLst>
    <dgm:linClrLst meth="cycle">
      <a:schemeClr val="accent6">
        <a:shade val="90000"/>
      </a:schemeClr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6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6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6">
        <a:tint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6">
        <a:tint val="60000"/>
      </a:schemeClr>
    </dgm:fillClrLst>
    <dgm:linClrLst meth="repeat">
      <a:schemeClr val="accent6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6">
        <a:tint val="90000"/>
      </a:schemeClr>
    </dgm:fillClrLst>
    <dgm:linClrLst meth="repeat">
      <a:schemeClr val="accent6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6">
        <a:tint val="70000"/>
      </a:schemeClr>
    </dgm:fillClrLst>
    <dgm:linClrLst meth="repeat">
      <a:schemeClr val="accent6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6">
        <a:tint val="5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6">
        <a:shade val="8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6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cycle">
      <a:schemeClr val="accent6">
        <a:shade val="50000"/>
      </a:schemeClr>
      <a:schemeClr val="accent6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cycle">
      <a:schemeClr val="accent6">
        <a:shade val="50000"/>
      </a:schemeClr>
      <a:schemeClr val="accent6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cycle">
      <a:schemeClr val="accent6">
        <a:shade val="50000"/>
      </a:schemeClr>
      <a:schemeClr val="accent6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55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cycle">
      <a:schemeClr val="accent6">
        <a:shade val="50000"/>
      </a:schemeClr>
      <a:schemeClr val="accent6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cycle">
      <a:schemeClr val="accent6">
        <a:shade val="50000"/>
      </a:schemeClr>
      <a:schemeClr val="accent6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6">
        <a:alpha val="90000"/>
        <a:tint val="55000"/>
      </a:schemeClr>
    </dgm:fillClrLst>
    <dgm:linClrLst meth="repeat">
      <a:schemeClr val="accent6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6">
        <a:alpha val="90000"/>
        <a:tint val="55000"/>
      </a:schemeClr>
    </dgm:fillClrLst>
    <dgm:linClrLst meth="repeat">
      <a:schemeClr val="accent6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6">
        <a:alpha val="90000"/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6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55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55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6_3">
  <dgm:title val=""/>
  <dgm:desc val=""/>
  <dgm:catLst>
    <dgm:cat type="accent6" pri="11300"/>
  </dgm:catLst>
  <dgm:styleLbl name="node0">
    <dgm:fillClrLst meth="repeat">
      <a:schemeClr val="accent6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6">
        <a:shade val="80000"/>
      </a:schemeClr>
      <a:schemeClr val="accent6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6">
        <a:shade val="80000"/>
      </a:schemeClr>
      <a:schemeClr val="accent6">
        <a:tint val="70000"/>
      </a:schemeClr>
    </dgm:fillClrLst>
    <dgm:linClrLst>
      <a:schemeClr val="accent6">
        <a:shade val="80000"/>
      </a:schemeClr>
      <a:schemeClr val="accent6">
        <a:tint val="70000"/>
      </a:schemeClr>
    </dgm:linClrLst>
    <dgm:effectClrLst/>
    <dgm:txLinClrLst/>
    <dgm:txFillClrLst/>
    <dgm:txEffectClrLst/>
  </dgm:styleLbl>
  <dgm:styleLbl name="lnNode1">
    <dgm:fillClrLst>
      <a:schemeClr val="accent6">
        <a:shade val="80000"/>
      </a:schemeClr>
      <a:schemeClr val="accent6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6">
        <a:shade val="80000"/>
        <a:alpha val="50000"/>
      </a:schemeClr>
      <a:schemeClr val="accent6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6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6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6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6">
        <a:shade val="90000"/>
      </a:schemeClr>
      <a:schemeClr val="accent6">
        <a:tint val="70000"/>
      </a:schemeClr>
    </dgm:fillClrLst>
    <dgm:linClrLst>
      <a:schemeClr val="accent6">
        <a:shade val="90000"/>
      </a:schemeClr>
      <a:schemeClr val="accent6">
        <a:tint val="70000"/>
      </a:schemeClr>
    </dgm:linClrLst>
    <dgm:effectClrLst/>
    <dgm:txLinClrLst/>
    <dgm:txFillClrLst/>
    <dgm:txEffectClrLst/>
  </dgm:styleLbl>
  <dgm:styleLbl name="fgSibTrans2D1">
    <dgm:fillClrLst>
      <a:schemeClr val="accent6">
        <a:shade val="90000"/>
      </a:schemeClr>
      <a:schemeClr val="accent6">
        <a:tint val="70000"/>
      </a:schemeClr>
    </dgm:fillClrLst>
    <dgm:linClrLst>
      <a:schemeClr val="accent6">
        <a:shade val="90000"/>
      </a:schemeClr>
      <a:schemeClr val="accent6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6">
        <a:shade val="90000"/>
      </a:schemeClr>
      <a:schemeClr val="accent6">
        <a:tint val="70000"/>
      </a:schemeClr>
    </dgm:fillClrLst>
    <dgm:linClrLst>
      <a:schemeClr val="accent6">
        <a:shade val="90000"/>
      </a:schemeClr>
      <a:schemeClr val="accent6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6">
        <a:shade val="90000"/>
      </a:schemeClr>
      <a:schemeClr val="accent6">
        <a:tint val="70000"/>
      </a:schemeClr>
    </dgm:fillClrLst>
    <dgm:linClrLst>
      <a:schemeClr val="accent6">
        <a:shade val="90000"/>
      </a:schemeClr>
      <a:schemeClr val="accent6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6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6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6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>
        <a:tint val="90000"/>
      </a:schemeClr>
    </dgm:fillClrLst>
    <dgm:linClrLst meth="repeat">
      <a:schemeClr val="accent6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6">
        <a:tint val="70000"/>
      </a:schemeClr>
    </dgm:fillClrLst>
    <dgm:linClrLst meth="repeat">
      <a:schemeClr val="accent6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6">
        <a:tint val="5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6">
        <a:shade val="8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9000"/>
      </a:schemeClr>
    </dgm:fillClrLst>
    <dgm:linClrLst meth="repeat">
      <a:schemeClr val="accent6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80000"/>
      </a:schemeClr>
    </dgm:fillClrLst>
    <dgm:linClrLst meth="repeat">
      <a:schemeClr val="accent6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70000"/>
      </a:schemeClr>
    </dgm:fillClrLst>
    <dgm:linClrLst meth="repeat">
      <a:schemeClr val="accent6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6">
        <a:shade val="80000"/>
      </a:schemeClr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6">
        <a:shade val="80000"/>
      </a:schemeClr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6">
        <a:shade val="80000"/>
      </a:schemeClr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6">
        <a:shade val="80000"/>
      </a:schemeClr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6">
        <a:shade val="80000"/>
      </a:schemeClr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6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6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6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6_3">
  <dgm:title val=""/>
  <dgm:desc val=""/>
  <dgm:catLst>
    <dgm:cat type="accent6" pri="11300"/>
  </dgm:catLst>
  <dgm:styleLbl name="node0">
    <dgm:fillClrLst meth="repeat">
      <a:schemeClr val="accent6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6">
        <a:shade val="80000"/>
      </a:schemeClr>
      <a:schemeClr val="accent6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6">
        <a:shade val="80000"/>
      </a:schemeClr>
      <a:schemeClr val="accent6">
        <a:tint val="70000"/>
      </a:schemeClr>
    </dgm:fillClrLst>
    <dgm:linClrLst>
      <a:schemeClr val="accent6">
        <a:shade val="80000"/>
      </a:schemeClr>
      <a:schemeClr val="accent6">
        <a:tint val="70000"/>
      </a:schemeClr>
    </dgm:linClrLst>
    <dgm:effectClrLst/>
    <dgm:txLinClrLst/>
    <dgm:txFillClrLst/>
    <dgm:txEffectClrLst/>
  </dgm:styleLbl>
  <dgm:styleLbl name="lnNode1">
    <dgm:fillClrLst>
      <a:schemeClr val="accent6">
        <a:shade val="80000"/>
      </a:schemeClr>
      <a:schemeClr val="accent6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6">
        <a:shade val="80000"/>
        <a:alpha val="50000"/>
      </a:schemeClr>
      <a:schemeClr val="accent6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6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6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6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6">
        <a:shade val="90000"/>
      </a:schemeClr>
      <a:schemeClr val="accent6">
        <a:tint val="70000"/>
      </a:schemeClr>
    </dgm:fillClrLst>
    <dgm:linClrLst>
      <a:schemeClr val="accent6">
        <a:shade val="90000"/>
      </a:schemeClr>
      <a:schemeClr val="accent6">
        <a:tint val="70000"/>
      </a:schemeClr>
    </dgm:linClrLst>
    <dgm:effectClrLst/>
    <dgm:txLinClrLst/>
    <dgm:txFillClrLst/>
    <dgm:txEffectClrLst/>
  </dgm:styleLbl>
  <dgm:styleLbl name="fgSibTrans2D1">
    <dgm:fillClrLst>
      <a:schemeClr val="accent6">
        <a:shade val="90000"/>
      </a:schemeClr>
      <a:schemeClr val="accent6">
        <a:tint val="70000"/>
      </a:schemeClr>
    </dgm:fillClrLst>
    <dgm:linClrLst>
      <a:schemeClr val="accent6">
        <a:shade val="90000"/>
      </a:schemeClr>
      <a:schemeClr val="accent6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6">
        <a:shade val="90000"/>
      </a:schemeClr>
      <a:schemeClr val="accent6">
        <a:tint val="70000"/>
      </a:schemeClr>
    </dgm:fillClrLst>
    <dgm:linClrLst>
      <a:schemeClr val="accent6">
        <a:shade val="90000"/>
      </a:schemeClr>
      <a:schemeClr val="accent6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6">
        <a:shade val="90000"/>
      </a:schemeClr>
      <a:schemeClr val="accent6">
        <a:tint val="70000"/>
      </a:schemeClr>
    </dgm:fillClrLst>
    <dgm:linClrLst>
      <a:schemeClr val="accent6">
        <a:shade val="90000"/>
      </a:schemeClr>
      <a:schemeClr val="accent6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6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6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6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>
        <a:tint val="90000"/>
      </a:schemeClr>
    </dgm:fillClrLst>
    <dgm:linClrLst meth="repeat">
      <a:schemeClr val="accent6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6">
        <a:tint val="70000"/>
      </a:schemeClr>
    </dgm:fillClrLst>
    <dgm:linClrLst meth="repeat">
      <a:schemeClr val="accent6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6">
        <a:tint val="5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6">
        <a:shade val="8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9000"/>
      </a:schemeClr>
    </dgm:fillClrLst>
    <dgm:linClrLst meth="repeat">
      <a:schemeClr val="accent6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80000"/>
      </a:schemeClr>
    </dgm:fillClrLst>
    <dgm:linClrLst meth="repeat">
      <a:schemeClr val="accent6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70000"/>
      </a:schemeClr>
    </dgm:fillClrLst>
    <dgm:linClrLst meth="repeat">
      <a:schemeClr val="accent6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6">
        <a:shade val="80000"/>
      </a:schemeClr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6">
        <a:shade val="80000"/>
      </a:schemeClr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6">
        <a:shade val="80000"/>
      </a:schemeClr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6">
        <a:shade val="80000"/>
      </a:schemeClr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6">
        <a:shade val="80000"/>
      </a:schemeClr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6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6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6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3_3">
  <dgm:title val=""/>
  <dgm:desc val=""/>
  <dgm:catLst>
    <dgm:cat type="accent3" pri="11300"/>
  </dgm:catLst>
  <dgm:styleLbl name="node0">
    <dgm:fillClrLst meth="repeat">
      <a:schemeClr val="accent3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>
        <a:shade val="80000"/>
      </a:schemeClr>
      <a:schemeClr val="accent3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>
        <a:shade val="80000"/>
      </a:schemeClr>
      <a:schemeClr val="accent3">
        <a:tint val="70000"/>
      </a:schemeClr>
    </dgm:fillClrLst>
    <dgm:linClrLst>
      <a:schemeClr val="accent3">
        <a:shade val="80000"/>
      </a:schemeClr>
      <a:schemeClr val="accent3">
        <a:tint val="70000"/>
      </a:schemeClr>
    </dgm:linClrLst>
    <dgm:effectClrLst/>
    <dgm:txLinClrLst/>
    <dgm:txFillClrLst/>
    <dgm:txEffectClrLst/>
  </dgm:styleLbl>
  <dgm:styleLbl name="lnNode1">
    <dgm:fillClrLst>
      <a:schemeClr val="accent3">
        <a:shade val="80000"/>
      </a:schemeClr>
      <a:schemeClr val="accent3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shade val="80000"/>
        <a:alpha val="50000"/>
      </a:schemeClr>
      <a:schemeClr val="accent3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3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>
        <a:shade val="90000"/>
      </a:schemeClr>
      <a:schemeClr val="accent3">
        <a:tint val="70000"/>
      </a:schemeClr>
    </dgm:fillClrLst>
    <dgm:linClrLst>
      <a:schemeClr val="accent3">
        <a:shade val="90000"/>
      </a:schemeClr>
      <a:schemeClr val="accent3">
        <a:tint val="70000"/>
      </a:schemeClr>
    </dgm:linClrLst>
    <dgm:effectClrLst/>
    <dgm:txLinClrLst/>
    <dgm:txFillClrLst/>
    <dgm:txEffectClrLst/>
  </dgm:styleLbl>
  <dgm:styleLbl name="fgSibTrans2D1">
    <dgm:fillClrLst>
      <a:schemeClr val="accent3">
        <a:shade val="90000"/>
      </a:schemeClr>
      <a:schemeClr val="accent3">
        <a:tint val="70000"/>
      </a:schemeClr>
    </dgm:fillClrLst>
    <dgm:linClrLst>
      <a:schemeClr val="accent3">
        <a:shade val="90000"/>
      </a:schemeClr>
      <a:schemeClr val="accent3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>
        <a:shade val="90000"/>
      </a:schemeClr>
      <a:schemeClr val="accent3">
        <a:tint val="70000"/>
      </a:schemeClr>
    </dgm:fillClrLst>
    <dgm:linClrLst>
      <a:schemeClr val="accent3">
        <a:shade val="90000"/>
      </a:schemeClr>
      <a:schemeClr val="accent3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3">
        <a:shade val="90000"/>
      </a:schemeClr>
      <a:schemeClr val="accent3">
        <a:tint val="70000"/>
      </a:schemeClr>
    </dgm:fillClrLst>
    <dgm:linClrLst>
      <a:schemeClr val="accent3">
        <a:shade val="90000"/>
      </a:schemeClr>
      <a:schemeClr val="accent3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3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3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>
        <a:tint val="90000"/>
      </a:schemeClr>
    </dgm:fillClrLst>
    <dgm:linClrLst meth="repeat">
      <a:schemeClr val="accent3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3">
        <a:tint val="70000"/>
      </a:schemeClr>
    </dgm:fillClrLst>
    <dgm:linClrLst meth="repeat">
      <a:schemeClr val="accent3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3">
        <a:tint val="50000"/>
      </a:schemeClr>
    </dgm:fillClrLst>
    <dgm:linClrLst meth="repeat">
      <a:schemeClr val="accent3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>
        <a:shade val="8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9000"/>
      </a:schemeClr>
    </dgm:fillClrLst>
    <dgm:linClrLst meth="repeat">
      <a:schemeClr val="accent3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>
        <a:tint val="80000"/>
      </a:schemeClr>
    </dgm:fillClrLst>
    <dgm:linClrLst meth="repeat">
      <a:schemeClr val="accent3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>
        <a:tint val="70000"/>
      </a:schemeClr>
    </dgm:fillClrLst>
    <dgm:linClrLst meth="repeat">
      <a:schemeClr val="accent3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>
        <a:shade val="80000"/>
      </a:schemeClr>
      <a:schemeClr val="accent3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>
        <a:shade val="80000"/>
      </a:schemeClr>
      <a:schemeClr val="accent3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>
        <a:shade val="80000"/>
      </a:schemeClr>
      <a:schemeClr val="accent3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>
        <a:shade val="80000"/>
      </a:schemeClr>
      <a:schemeClr val="accent3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>
        <a:shade val="80000"/>
      </a:schemeClr>
      <a:schemeClr val="accent3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3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3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3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3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3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855A6698-D317-44E8-862C-6DDE92777450}" type="doc">
      <dgm:prSet loTypeId="urn:microsoft.com/office/officeart/2009/layout/CircleArrowProcess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de-DE"/>
        </a:p>
      </dgm:t>
    </dgm:pt>
    <dgm:pt modelId="{135F29C2-4826-4C6A-93C0-D2F46A51EBE3}">
      <dgm:prSet phldrT="[Text]" custT="1"/>
      <dgm:spPr/>
      <dgm:t>
        <a:bodyPr/>
        <a:lstStyle/>
        <a:p>
          <a:r>
            <a:rPr lang="de-DE" sz="1200" b="1" dirty="0"/>
            <a:t>Ermittlung Finanzierungs-bedarf</a:t>
          </a:r>
        </a:p>
      </dgm:t>
    </dgm:pt>
    <dgm:pt modelId="{682E03D9-2306-47F9-9CEF-EA1BE0B98B13}" type="parTrans" cxnId="{210903FA-56EE-4CED-B1ED-4F16F6839B09}">
      <dgm:prSet/>
      <dgm:spPr/>
      <dgm:t>
        <a:bodyPr/>
        <a:lstStyle/>
        <a:p>
          <a:endParaRPr lang="de-DE"/>
        </a:p>
      </dgm:t>
    </dgm:pt>
    <dgm:pt modelId="{B4F11AFB-3FC5-45F6-9E93-7BD7CDD791DA}" type="sibTrans" cxnId="{210903FA-56EE-4CED-B1ED-4F16F6839B09}">
      <dgm:prSet/>
      <dgm:spPr/>
      <dgm:t>
        <a:bodyPr/>
        <a:lstStyle/>
        <a:p>
          <a:endParaRPr lang="de-DE"/>
        </a:p>
      </dgm:t>
    </dgm:pt>
    <dgm:pt modelId="{1FC094C5-5FCC-4B2A-A68F-9A42F974283A}">
      <dgm:prSet phldrT="[Text]" custT="1"/>
      <dgm:spPr/>
      <dgm:t>
        <a:bodyPr/>
        <a:lstStyle/>
        <a:p>
          <a:r>
            <a:rPr lang="de-DE" sz="1200" b="1" dirty="0">
              <a:solidFill>
                <a:schemeClr val="tx1"/>
              </a:solidFill>
            </a:rPr>
            <a:t>Finanzierungs-instrumente</a:t>
          </a:r>
        </a:p>
      </dgm:t>
    </dgm:pt>
    <dgm:pt modelId="{FCD23D81-DB8E-4110-8CCF-4503DD773457}" type="parTrans" cxnId="{267E4E90-E6A7-4623-9A1D-5A590CA005F7}">
      <dgm:prSet/>
      <dgm:spPr/>
      <dgm:t>
        <a:bodyPr/>
        <a:lstStyle/>
        <a:p>
          <a:endParaRPr lang="de-DE"/>
        </a:p>
      </dgm:t>
    </dgm:pt>
    <dgm:pt modelId="{FDFEBE71-0A50-4685-8A79-D94A5D46355A}" type="sibTrans" cxnId="{267E4E90-E6A7-4623-9A1D-5A590CA005F7}">
      <dgm:prSet/>
      <dgm:spPr/>
      <dgm:t>
        <a:bodyPr/>
        <a:lstStyle/>
        <a:p>
          <a:endParaRPr lang="de-DE"/>
        </a:p>
      </dgm:t>
    </dgm:pt>
    <dgm:pt modelId="{3C636153-EE95-4472-B4F0-364E278987EC}">
      <dgm:prSet phldrT="[Text]" custT="1"/>
      <dgm:spPr/>
      <dgm:t>
        <a:bodyPr/>
        <a:lstStyle/>
        <a:p>
          <a:r>
            <a:rPr lang="de-DE" sz="1200" b="1" dirty="0"/>
            <a:t>Umsetzbarkeit der Maßnahme</a:t>
          </a:r>
        </a:p>
      </dgm:t>
    </dgm:pt>
    <dgm:pt modelId="{7D87F1C6-2452-4C1A-81A9-335B05D35C8E}" type="parTrans" cxnId="{1389E1DD-F2D0-4EDE-A738-2E7068FD64AF}">
      <dgm:prSet/>
      <dgm:spPr/>
      <dgm:t>
        <a:bodyPr/>
        <a:lstStyle/>
        <a:p>
          <a:endParaRPr lang="de-DE"/>
        </a:p>
      </dgm:t>
    </dgm:pt>
    <dgm:pt modelId="{3A307958-4101-4DC0-8A00-06328B59AFF7}" type="sibTrans" cxnId="{1389E1DD-F2D0-4EDE-A738-2E7068FD64AF}">
      <dgm:prSet/>
      <dgm:spPr/>
      <dgm:t>
        <a:bodyPr/>
        <a:lstStyle/>
        <a:p>
          <a:endParaRPr lang="de-DE"/>
        </a:p>
      </dgm:t>
    </dgm:pt>
    <dgm:pt modelId="{442A1983-99FD-4203-B934-8E0E048E4871}" type="pres">
      <dgm:prSet presAssocID="{855A6698-D317-44E8-862C-6DDE92777450}" presName="Name0" presStyleCnt="0">
        <dgm:presLayoutVars>
          <dgm:chMax val="7"/>
          <dgm:chPref val="7"/>
          <dgm:dir/>
          <dgm:animLvl val="lvl"/>
        </dgm:presLayoutVars>
      </dgm:prSet>
      <dgm:spPr/>
    </dgm:pt>
    <dgm:pt modelId="{186AC108-FB16-4458-8CCF-1FFC59C87C11}" type="pres">
      <dgm:prSet presAssocID="{135F29C2-4826-4C6A-93C0-D2F46A51EBE3}" presName="Accent1" presStyleCnt="0"/>
      <dgm:spPr/>
    </dgm:pt>
    <dgm:pt modelId="{8B61B5F7-1AED-4255-8530-C5EDF7B937C1}" type="pres">
      <dgm:prSet presAssocID="{135F29C2-4826-4C6A-93C0-D2F46A51EBE3}" presName="Accent" presStyleLbl="node1" presStyleIdx="0" presStyleCnt="3"/>
      <dgm:spPr>
        <a:solidFill>
          <a:schemeClr val="accent1"/>
        </a:solidFill>
        <a:ln>
          <a:solidFill>
            <a:schemeClr val="accent1"/>
          </a:solidFill>
        </a:ln>
      </dgm:spPr>
    </dgm:pt>
    <dgm:pt modelId="{65D6FBF5-5D6E-416E-BC0A-44D0E9190AD2}" type="pres">
      <dgm:prSet presAssocID="{135F29C2-4826-4C6A-93C0-D2F46A51EBE3}" presName="Parent1" presStyleLbl="revTx" presStyleIdx="0" presStyleCnt="3">
        <dgm:presLayoutVars>
          <dgm:chMax val="1"/>
          <dgm:chPref val="1"/>
          <dgm:bulletEnabled val="1"/>
        </dgm:presLayoutVars>
      </dgm:prSet>
      <dgm:spPr/>
    </dgm:pt>
    <dgm:pt modelId="{10918D1C-90F1-47B4-801F-F3264CCAFEAA}" type="pres">
      <dgm:prSet presAssocID="{1FC094C5-5FCC-4B2A-A68F-9A42F974283A}" presName="Accent2" presStyleCnt="0"/>
      <dgm:spPr/>
    </dgm:pt>
    <dgm:pt modelId="{8EEA13CE-EB52-4CA3-81F1-173EB6D0CA4B}" type="pres">
      <dgm:prSet presAssocID="{1FC094C5-5FCC-4B2A-A68F-9A42F974283A}" presName="Accent" presStyleLbl="node1" presStyleIdx="1" presStyleCnt="3"/>
      <dgm:spPr>
        <a:solidFill>
          <a:schemeClr val="accent6">
            <a:lumMod val="75000"/>
          </a:schemeClr>
        </a:solidFill>
        <a:ln>
          <a:solidFill>
            <a:schemeClr val="accent6">
              <a:lumMod val="75000"/>
            </a:schemeClr>
          </a:solidFill>
        </a:ln>
      </dgm:spPr>
    </dgm:pt>
    <dgm:pt modelId="{608776EC-79D1-4854-A7A8-3E43526CD993}" type="pres">
      <dgm:prSet presAssocID="{1FC094C5-5FCC-4B2A-A68F-9A42F974283A}" presName="Parent2" presStyleLbl="revTx" presStyleIdx="1" presStyleCnt="3">
        <dgm:presLayoutVars>
          <dgm:chMax val="1"/>
          <dgm:chPref val="1"/>
          <dgm:bulletEnabled val="1"/>
        </dgm:presLayoutVars>
      </dgm:prSet>
      <dgm:spPr/>
    </dgm:pt>
    <dgm:pt modelId="{C5320BCC-435A-458E-9A0F-B0311BD6C247}" type="pres">
      <dgm:prSet presAssocID="{3C636153-EE95-4472-B4F0-364E278987EC}" presName="Accent3" presStyleCnt="0"/>
      <dgm:spPr/>
    </dgm:pt>
    <dgm:pt modelId="{59D44D3A-10D8-4D94-84D3-40952C7BE41A}" type="pres">
      <dgm:prSet presAssocID="{3C636153-EE95-4472-B4F0-364E278987EC}" presName="Accent" presStyleLbl="node1" presStyleIdx="2" presStyleCnt="3"/>
      <dgm:spPr>
        <a:solidFill>
          <a:schemeClr val="tx2"/>
        </a:solidFill>
        <a:ln>
          <a:solidFill>
            <a:schemeClr val="tx2"/>
          </a:solidFill>
        </a:ln>
      </dgm:spPr>
    </dgm:pt>
    <dgm:pt modelId="{87EFCAC1-949E-464A-B06A-66F3555CC9F4}" type="pres">
      <dgm:prSet presAssocID="{3C636153-EE95-4472-B4F0-364E278987EC}" presName="Parent3" presStyleLbl="revTx" presStyleIdx="2" presStyleCnt="3">
        <dgm:presLayoutVars>
          <dgm:chMax val="1"/>
          <dgm:chPref val="1"/>
          <dgm:bulletEnabled val="1"/>
        </dgm:presLayoutVars>
      </dgm:prSet>
      <dgm:spPr/>
    </dgm:pt>
  </dgm:ptLst>
  <dgm:cxnLst>
    <dgm:cxn modelId="{267E4E90-E6A7-4623-9A1D-5A590CA005F7}" srcId="{855A6698-D317-44E8-862C-6DDE92777450}" destId="{1FC094C5-5FCC-4B2A-A68F-9A42F974283A}" srcOrd="1" destOrd="0" parTransId="{FCD23D81-DB8E-4110-8CCF-4503DD773457}" sibTransId="{FDFEBE71-0A50-4685-8A79-D94A5D46355A}"/>
    <dgm:cxn modelId="{E9970EA8-324B-461F-9067-7123257BE047}" type="presOf" srcId="{855A6698-D317-44E8-862C-6DDE92777450}" destId="{442A1983-99FD-4203-B934-8E0E048E4871}" srcOrd="0" destOrd="0" presId="urn:microsoft.com/office/officeart/2009/layout/CircleArrowProcess"/>
    <dgm:cxn modelId="{56E499B0-9F3D-4302-8706-2D40BCCD66C0}" type="presOf" srcId="{1FC094C5-5FCC-4B2A-A68F-9A42F974283A}" destId="{608776EC-79D1-4854-A7A8-3E43526CD993}" srcOrd="0" destOrd="0" presId="urn:microsoft.com/office/officeart/2009/layout/CircleArrowProcess"/>
    <dgm:cxn modelId="{1389E1DD-F2D0-4EDE-A738-2E7068FD64AF}" srcId="{855A6698-D317-44E8-862C-6DDE92777450}" destId="{3C636153-EE95-4472-B4F0-364E278987EC}" srcOrd="2" destOrd="0" parTransId="{7D87F1C6-2452-4C1A-81A9-335B05D35C8E}" sibTransId="{3A307958-4101-4DC0-8A00-06328B59AFF7}"/>
    <dgm:cxn modelId="{17A1DDEA-9F9C-49AE-B1B6-B67B647D7168}" type="presOf" srcId="{135F29C2-4826-4C6A-93C0-D2F46A51EBE3}" destId="{65D6FBF5-5D6E-416E-BC0A-44D0E9190AD2}" srcOrd="0" destOrd="0" presId="urn:microsoft.com/office/officeart/2009/layout/CircleArrowProcess"/>
    <dgm:cxn modelId="{639CDEF0-AFD5-4289-9B9D-8DA367A060F9}" type="presOf" srcId="{3C636153-EE95-4472-B4F0-364E278987EC}" destId="{87EFCAC1-949E-464A-B06A-66F3555CC9F4}" srcOrd="0" destOrd="0" presId="urn:microsoft.com/office/officeart/2009/layout/CircleArrowProcess"/>
    <dgm:cxn modelId="{210903FA-56EE-4CED-B1ED-4F16F6839B09}" srcId="{855A6698-D317-44E8-862C-6DDE92777450}" destId="{135F29C2-4826-4C6A-93C0-D2F46A51EBE3}" srcOrd="0" destOrd="0" parTransId="{682E03D9-2306-47F9-9CEF-EA1BE0B98B13}" sibTransId="{B4F11AFB-3FC5-45F6-9E93-7BD7CDD791DA}"/>
    <dgm:cxn modelId="{98A12007-D0C2-4296-A3C3-CCDEF6BF003F}" type="presParOf" srcId="{442A1983-99FD-4203-B934-8E0E048E4871}" destId="{186AC108-FB16-4458-8CCF-1FFC59C87C11}" srcOrd="0" destOrd="0" presId="urn:microsoft.com/office/officeart/2009/layout/CircleArrowProcess"/>
    <dgm:cxn modelId="{E1B3877E-B1FE-4BAC-B3E0-AC22CF96F15B}" type="presParOf" srcId="{186AC108-FB16-4458-8CCF-1FFC59C87C11}" destId="{8B61B5F7-1AED-4255-8530-C5EDF7B937C1}" srcOrd="0" destOrd="0" presId="urn:microsoft.com/office/officeart/2009/layout/CircleArrowProcess"/>
    <dgm:cxn modelId="{E4CECFBC-6FF5-44B3-B701-252528CF6306}" type="presParOf" srcId="{442A1983-99FD-4203-B934-8E0E048E4871}" destId="{65D6FBF5-5D6E-416E-BC0A-44D0E9190AD2}" srcOrd="1" destOrd="0" presId="urn:microsoft.com/office/officeart/2009/layout/CircleArrowProcess"/>
    <dgm:cxn modelId="{1455B010-27D1-415E-8F6B-429BC96C92C8}" type="presParOf" srcId="{442A1983-99FD-4203-B934-8E0E048E4871}" destId="{10918D1C-90F1-47B4-801F-F3264CCAFEAA}" srcOrd="2" destOrd="0" presId="urn:microsoft.com/office/officeart/2009/layout/CircleArrowProcess"/>
    <dgm:cxn modelId="{8DDB12D2-4C20-406B-8042-13A4CC988906}" type="presParOf" srcId="{10918D1C-90F1-47B4-801F-F3264CCAFEAA}" destId="{8EEA13CE-EB52-4CA3-81F1-173EB6D0CA4B}" srcOrd="0" destOrd="0" presId="urn:microsoft.com/office/officeart/2009/layout/CircleArrowProcess"/>
    <dgm:cxn modelId="{650008F4-F9D6-437D-A9B7-ABE6F48AAF71}" type="presParOf" srcId="{442A1983-99FD-4203-B934-8E0E048E4871}" destId="{608776EC-79D1-4854-A7A8-3E43526CD993}" srcOrd="3" destOrd="0" presId="urn:microsoft.com/office/officeart/2009/layout/CircleArrowProcess"/>
    <dgm:cxn modelId="{B9AAC400-174F-4C79-9854-9B5B97D4C214}" type="presParOf" srcId="{442A1983-99FD-4203-B934-8E0E048E4871}" destId="{C5320BCC-435A-458E-9A0F-B0311BD6C247}" srcOrd="4" destOrd="0" presId="urn:microsoft.com/office/officeart/2009/layout/CircleArrowProcess"/>
    <dgm:cxn modelId="{0AA7DB78-6A44-42C7-8F41-CED32BA71A02}" type="presParOf" srcId="{C5320BCC-435A-458E-9A0F-B0311BD6C247}" destId="{59D44D3A-10D8-4D94-84D3-40952C7BE41A}" srcOrd="0" destOrd="0" presId="urn:microsoft.com/office/officeart/2009/layout/CircleArrowProcess"/>
    <dgm:cxn modelId="{A2C71345-B039-4C2B-BE14-298F69CD0C85}" type="presParOf" srcId="{442A1983-99FD-4203-B934-8E0E048E4871}" destId="{87EFCAC1-949E-464A-B06A-66F3555CC9F4}" srcOrd="5" destOrd="0" presId="urn:microsoft.com/office/officeart/2009/layout/CircleArrowProcess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AE18218E-2715-45BF-9C05-1AD01FEEF343}" type="doc">
      <dgm:prSet loTypeId="urn:microsoft.com/office/officeart/2008/layout/AlternatingHexagons" loCatId="list" qsTypeId="urn:microsoft.com/office/officeart/2005/8/quickstyle/simple1" qsCatId="simple" csTypeId="urn:microsoft.com/office/officeart/2005/8/colors/accent6_4" csCatId="accent6" phldr="1"/>
      <dgm:spPr/>
      <dgm:t>
        <a:bodyPr/>
        <a:lstStyle/>
        <a:p>
          <a:endParaRPr lang="de-DE"/>
        </a:p>
      </dgm:t>
    </dgm:pt>
    <dgm:pt modelId="{A296F75D-3829-4177-9A69-859438913439}">
      <dgm:prSet phldrT="[Text]" custT="1"/>
      <dgm:spPr/>
      <dgm:t>
        <a:bodyPr/>
        <a:lstStyle/>
        <a:p>
          <a:r>
            <a:rPr lang="de-DE" sz="1400" dirty="0">
              <a:solidFill>
                <a:schemeClr val="tx1"/>
              </a:solidFill>
            </a:rPr>
            <a:t>City-Maut</a:t>
          </a:r>
        </a:p>
      </dgm:t>
    </dgm:pt>
    <dgm:pt modelId="{3C70DD1F-31AA-4F20-8B02-84083DB51FF0}" type="parTrans" cxnId="{522CC523-F6FD-43A0-81A6-A96261D9CD24}">
      <dgm:prSet/>
      <dgm:spPr/>
      <dgm:t>
        <a:bodyPr/>
        <a:lstStyle/>
        <a:p>
          <a:endParaRPr lang="de-DE" sz="1400">
            <a:solidFill>
              <a:schemeClr val="tx1"/>
            </a:solidFill>
          </a:endParaRPr>
        </a:p>
      </dgm:t>
    </dgm:pt>
    <dgm:pt modelId="{76E90BB1-D285-4437-A5B2-6946C9E60ED7}" type="sibTrans" cxnId="{522CC523-F6FD-43A0-81A6-A96261D9CD24}">
      <dgm:prSet custT="1"/>
      <dgm:spPr/>
      <dgm:t>
        <a:bodyPr/>
        <a:lstStyle/>
        <a:p>
          <a:r>
            <a:rPr lang="de-DE" sz="1400" dirty="0">
              <a:solidFill>
                <a:schemeClr val="tx1"/>
              </a:solidFill>
            </a:rPr>
            <a:t>Gästebetten-steuer</a:t>
          </a:r>
        </a:p>
      </dgm:t>
    </dgm:pt>
    <dgm:pt modelId="{6843CFA4-2851-4865-99EF-B9CA13EE26C6}">
      <dgm:prSet phldrT="[Text]" custT="1"/>
      <dgm:spPr/>
      <dgm:t>
        <a:bodyPr/>
        <a:lstStyle/>
        <a:p>
          <a:r>
            <a:rPr lang="de-DE" sz="1400" dirty="0">
              <a:solidFill>
                <a:schemeClr val="tx1"/>
              </a:solidFill>
            </a:rPr>
            <a:t>Parkraum-</a:t>
          </a:r>
          <a:r>
            <a:rPr lang="de-DE" sz="1400" dirty="0" err="1">
              <a:solidFill>
                <a:schemeClr val="tx1"/>
              </a:solidFill>
            </a:rPr>
            <a:t>bewirtschaft</a:t>
          </a:r>
          <a:r>
            <a:rPr lang="de-DE" sz="1400" dirty="0">
              <a:solidFill>
                <a:schemeClr val="tx1"/>
              </a:solidFill>
            </a:rPr>
            <a:t>-</a:t>
          </a:r>
          <a:r>
            <a:rPr lang="de-DE" sz="1400" dirty="0" err="1">
              <a:solidFill>
                <a:schemeClr val="tx1"/>
              </a:solidFill>
            </a:rPr>
            <a:t>ung</a:t>
          </a:r>
          <a:endParaRPr lang="de-DE" sz="1400" dirty="0">
            <a:solidFill>
              <a:schemeClr val="tx1"/>
            </a:solidFill>
          </a:endParaRPr>
        </a:p>
      </dgm:t>
    </dgm:pt>
    <dgm:pt modelId="{4A56AC7C-8105-4AF8-A646-9527DD32417E}" type="parTrans" cxnId="{16BBAFC6-BC9B-4692-9DFB-5651F49C3020}">
      <dgm:prSet/>
      <dgm:spPr/>
      <dgm:t>
        <a:bodyPr/>
        <a:lstStyle/>
        <a:p>
          <a:endParaRPr lang="de-DE" sz="1400">
            <a:solidFill>
              <a:schemeClr val="tx1"/>
            </a:solidFill>
          </a:endParaRPr>
        </a:p>
      </dgm:t>
    </dgm:pt>
    <dgm:pt modelId="{FC656160-D0AC-4EBE-8AE4-D20646B29E4B}" type="sibTrans" cxnId="{16BBAFC6-BC9B-4692-9DFB-5651F49C3020}">
      <dgm:prSet custT="1"/>
      <dgm:spPr/>
      <dgm:t>
        <a:bodyPr/>
        <a:lstStyle/>
        <a:p>
          <a:r>
            <a:rPr lang="de-DE" sz="1400" dirty="0">
              <a:solidFill>
                <a:schemeClr val="tx1"/>
              </a:solidFill>
            </a:rPr>
            <a:t>Mieterticket</a:t>
          </a:r>
        </a:p>
      </dgm:t>
    </dgm:pt>
    <dgm:pt modelId="{F8C86F4D-7AE3-4D88-B381-270CAF72288F}">
      <dgm:prSet phldrT="[Text]" custT="1"/>
      <dgm:spPr/>
      <dgm:t>
        <a:bodyPr/>
        <a:lstStyle/>
        <a:p>
          <a:r>
            <a:rPr lang="de-DE" sz="1400" dirty="0" err="1">
              <a:solidFill>
                <a:schemeClr val="tx1"/>
              </a:solidFill>
            </a:rPr>
            <a:t>Veranstalt-ungsabgabe</a:t>
          </a:r>
          <a:endParaRPr lang="de-DE" sz="1400" dirty="0">
            <a:solidFill>
              <a:schemeClr val="tx1"/>
            </a:solidFill>
          </a:endParaRPr>
        </a:p>
      </dgm:t>
    </dgm:pt>
    <dgm:pt modelId="{1FC2357A-16CF-4DF5-852D-6776B314B56F}" type="parTrans" cxnId="{49CCEC94-D4B3-43D1-A4E9-12497591402E}">
      <dgm:prSet/>
      <dgm:spPr/>
      <dgm:t>
        <a:bodyPr/>
        <a:lstStyle/>
        <a:p>
          <a:endParaRPr lang="de-DE" sz="1400">
            <a:solidFill>
              <a:schemeClr val="tx1"/>
            </a:solidFill>
          </a:endParaRPr>
        </a:p>
      </dgm:t>
    </dgm:pt>
    <dgm:pt modelId="{DF933BBF-C0E1-4F4B-B2EF-EEA74E9C2DD1}" type="sibTrans" cxnId="{49CCEC94-D4B3-43D1-A4E9-12497591402E}">
      <dgm:prSet custT="1"/>
      <dgm:spPr/>
      <dgm:t>
        <a:bodyPr/>
        <a:lstStyle/>
        <a:p>
          <a:r>
            <a:rPr lang="de-DE" sz="1400" dirty="0">
              <a:solidFill>
                <a:schemeClr val="tx1"/>
              </a:solidFill>
            </a:rPr>
            <a:t>Jobticket</a:t>
          </a:r>
        </a:p>
      </dgm:t>
    </dgm:pt>
    <dgm:pt modelId="{4AE4BF9C-E378-4742-9B2A-CBCFB1F70938}" type="pres">
      <dgm:prSet presAssocID="{AE18218E-2715-45BF-9C05-1AD01FEEF343}" presName="Name0" presStyleCnt="0">
        <dgm:presLayoutVars>
          <dgm:chMax/>
          <dgm:chPref/>
          <dgm:dir/>
          <dgm:animLvl val="lvl"/>
        </dgm:presLayoutVars>
      </dgm:prSet>
      <dgm:spPr/>
    </dgm:pt>
    <dgm:pt modelId="{57F26399-E8D4-4868-BD69-F0BD9FE318CB}" type="pres">
      <dgm:prSet presAssocID="{A296F75D-3829-4177-9A69-859438913439}" presName="composite" presStyleCnt="0"/>
      <dgm:spPr/>
    </dgm:pt>
    <dgm:pt modelId="{DBEE3F0C-A182-4DB8-88F1-84192B3351AD}" type="pres">
      <dgm:prSet presAssocID="{A296F75D-3829-4177-9A69-859438913439}" presName="Parent1" presStyleLbl="node1" presStyleIdx="0" presStyleCnt="6">
        <dgm:presLayoutVars>
          <dgm:chMax val="1"/>
          <dgm:chPref val="1"/>
          <dgm:bulletEnabled val="1"/>
        </dgm:presLayoutVars>
      </dgm:prSet>
      <dgm:spPr/>
    </dgm:pt>
    <dgm:pt modelId="{094E4B72-C355-4223-9300-AF1D5F05D698}" type="pres">
      <dgm:prSet presAssocID="{A296F75D-3829-4177-9A69-859438913439}" presName="Childtext1" presStyleLbl="revTx" presStyleIdx="0" presStyleCnt="3">
        <dgm:presLayoutVars>
          <dgm:chMax val="0"/>
          <dgm:chPref val="0"/>
          <dgm:bulletEnabled val="1"/>
        </dgm:presLayoutVars>
      </dgm:prSet>
      <dgm:spPr/>
    </dgm:pt>
    <dgm:pt modelId="{E024CA23-9428-4019-927D-581EDAC536F4}" type="pres">
      <dgm:prSet presAssocID="{A296F75D-3829-4177-9A69-859438913439}" presName="BalanceSpacing" presStyleCnt="0"/>
      <dgm:spPr/>
    </dgm:pt>
    <dgm:pt modelId="{8D605173-E329-40A8-BC33-ACD91E9DDB77}" type="pres">
      <dgm:prSet presAssocID="{A296F75D-3829-4177-9A69-859438913439}" presName="BalanceSpacing1" presStyleCnt="0"/>
      <dgm:spPr/>
    </dgm:pt>
    <dgm:pt modelId="{51EFE54E-4F8A-4655-8DE2-A4CF2EC60108}" type="pres">
      <dgm:prSet presAssocID="{76E90BB1-D285-4437-A5B2-6946C9E60ED7}" presName="Accent1Text" presStyleLbl="node1" presStyleIdx="1" presStyleCnt="6"/>
      <dgm:spPr/>
    </dgm:pt>
    <dgm:pt modelId="{BD1C9B40-3710-4B45-8BEC-05C514931913}" type="pres">
      <dgm:prSet presAssocID="{76E90BB1-D285-4437-A5B2-6946C9E60ED7}" presName="spaceBetweenRectangles" presStyleCnt="0"/>
      <dgm:spPr/>
    </dgm:pt>
    <dgm:pt modelId="{E772E3C6-EE9B-4B5B-A167-139885EC9979}" type="pres">
      <dgm:prSet presAssocID="{6843CFA4-2851-4865-99EF-B9CA13EE26C6}" presName="composite" presStyleCnt="0"/>
      <dgm:spPr/>
    </dgm:pt>
    <dgm:pt modelId="{75BCEBF7-241A-4BDF-A84C-41A2C3EA028A}" type="pres">
      <dgm:prSet presAssocID="{6843CFA4-2851-4865-99EF-B9CA13EE26C6}" presName="Parent1" presStyleLbl="node1" presStyleIdx="2" presStyleCnt="6">
        <dgm:presLayoutVars>
          <dgm:chMax val="1"/>
          <dgm:chPref val="1"/>
          <dgm:bulletEnabled val="1"/>
        </dgm:presLayoutVars>
      </dgm:prSet>
      <dgm:spPr/>
    </dgm:pt>
    <dgm:pt modelId="{94823CB8-36B1-4D56-8560-5561500A6390}" type="pres">
      <dgm:prSet presAssocID="{6843CFA4-2851-4865-99EF-B9CA13EE26C6}" presName="Childtext1" presStyleLbl="revTx" presStyleIdx="1" presStyleCnt="3">
        <dgm:presLayoutVars>
          <dgm:chMax val="0"/>
          <dgm:chPref val="0"/>
          <dgm:bulletEnabled val="1"/>
        </dgm:presLayoutVars>
      </dgm:prSet>
      <dgm:spPr/>
    </dgm:pt>
    <dgm:pt modelId="{54102F95-0A90-4CCB-9B9E-CBF7AD8E0942}" type="pres">
      <dgm:prSet presAssocID="{6843CFA4-2851-4865-99EF-B9CA13EE26C6}" presName="BalanceSpacing" presStyleCnt="0"/>
      <dgm:spPr/>
    </dgm:pt>
    <dgm:pt modelId="{7A4C3ADE-D7D3-438D-8022-D9F75F50C4DA}" type="pres">
      <dgm:prSet presAssocID="{6843CFA4-2851-4865-99EF-B9CA13EE26C6}" presName="BalanceSpacing1" presStyleCnt="0"/>
      <dgm:spPr/>
    </dgm:pt>
    <dgm:pt modelId="{9C92EB3A-14A5-4648-B82C-61D8363A2193}" type="pres">
      <dgm:prSet presAssocID="{FC656160-D0AC-4EBE-8AE4-D20646B29E4B}" presName="Accent1Text" presStyleLbl="node1" presStyleIdx="3" presStyleCnt="6"/>
      <dgm:spPr/>
    </dgm:pt>
    <dgm:pt modelId="{556145D3-800D-4FC4-A04A-B34DA5F46B58}" type="pres">
      <dgm:prSet presAssocID="{FC656160-D0AC-4EBE-8AE4-D20646B29E4B}" presName="spaceBetweenRectangles" presStyleCnt="0"/>
      <dgm:spPr/>
    </dgm:pt>
    <dgm:pt modelId="{86224AFB-A052-4FCE-87B1-1AAE5099C990}" type="pres">
      <dgm:prSet presAssocID="{F8C86F4D-7AE3-4D88-B381-270CAF72288F}" presName="composite" presStyleCnt="0"/>
      <dgm:spPr/>
    </dgm:pt>
    <dgm:pt modelId="{AD0F7EA5-CA24-4684-B074-CCB33A591F5C}" type="pres">
      <dgm:prSet presAssocID="{F8C86F4D-7AE3-4D88-B381-270CAF72288F}" presName="Parent1" presStyleLbl="node1" presStyleIdx="4" presStyleCnt="6">
        <dgm:presLayoutVars>
          <dgm:chMax val="1"/>
          <dgm:chPref val="1"/>
          <dgm:bulletEnabled val="1"/>
        </dgm:presLayoutVars>
      </dgm:prSet>
      <dgm:spPr/>
    </dgm:pt>
    <dgm:pt modelId="{1F5BF0BA-BFA1-450B-8FEC-4A1822145694}" type="pres">
      <dgm:prSet presAssocID="{F8C86F4D-7AE3-4D88-B381-270CAF72288F}" presName="Childtext1" presStyleLbl="revTx" presStyleIdx="2" presStyleCnt="3">
        <dgm:presLayoutVars>
          <dgm:chMax val="0"/>
          <dgm:chPref val="0"/>
          <dgm:bulletEnabled val="1"/>
        </dgm:presLayoutVars>
      </dgm:prSet>
      <dgm:spPr/>
    </dgm:pt>
    <dgm:pt modelId="{5C288433-2251-4A0A-A357-54016DC96D0E}" type="pres">
      <dgm:prSet presAssocID="{F8C86F4D-7AE3-4D88-B381-270CAF72288F}" presName="BalanceSpacing" presStyleCnt="0"/>
      <dgm:spPr/>
    </dgm:pt>
    <dgm:pt modelId="{31F7C056-CD2D-413A-85AD-330AB6912EDF}" type="pres">
      <dgm:prSet presAssocID="{F8C86F4D-7AE3-4D88-B381-270CAF72288F}" presName="BalanceSpacing1" presStyleCnt="0"/>
      <dgm:spPr/>
    </dgm:pt>
    <dgm:pt modelId="{3DC5FC81-7504-4671-AE29-062C3A5DF418}" type="pres">
      <dgm:prSet presAssocID="{DF933BBF-C0E1-4F4B-B2EF-EEA74E9C2DD1}" presName="Accent1Text" presStyleLbl="node1" presStyleIdx="5" presStyleCnt="6"/>
      <dgm:spPr/>
    </dgm:pt>
  </dgm:ptLst>
  <dgm:cxnLst>
    <dgm:cxn modelId="{522CC523-F6FD-43A0-81A6-A96261D9CD24}" srcId="{AE18218E-2715-45BF-9C05-1AD01FEEF343}" destId="{A296F75D-3829-4177-9A69-859438913439}" srcOrd="0" destOrd="0" parTransId="{3C70DD1F-31AA-4F20-8B02-84083DB51FF0}" sibTransId="{76E90BB1-D285-4437-A5B2-6946C9E60ED7}"/>
    <dgm:cxn modelId="{879D6B37-3361-4CBA-A12B-8BB871B53000}" type="presOf" srcId="{A296F75D-3829-4177-9A69-859438913439}" destId="{DBEE3F0C-A182-4DB8-88F1-84192B3351AD}" srcOrd="0" destOrd="0" presId="urn:microsoft.com/office/officeart/2008/layout/AlternatingHexagons"/>
    <dgm:cxn modelId="{E03FA266-144D-48A4-B071-A3C15577FECE}" type="presOf" srcId="{F8C86F4D-7AE3-4D88-B381-270CAF72288F}" destId="{AD0F7EA5-CA24-4684-B074-CCB33A591F5C}" srcOrd="0" destOrd="0" presId="urn:microsoft.com/office/officeart/2008/layout/AlternatingHexagons"/>
    <dgm:cxn modelId="{4F235291-CDC4-4E2A-97C2-B3C46858ADC1}" type="presOf" srcId="{AE18218E-2715-45BF-9C05-1AD01FEEF343}" destId="{4AE4BF9C-E378-4742-9B2A-CBCFB1F70938}" srcOrd="0" destOrd="0" presId="urn:microsoft.com/office/officeart/2008/layout/AlternatingHexagons"/>
    <dgm:cxn modelId="{FABBA493-DFEF-46DA-91A8-680CD1FDE53B}" type="presOf" srcId="{6843CFA4-2851-4865-99EF-B9CA13EE26C6}" destId="{75BCEBF7-241A-4BDF-A84C-41A2C3EA028A}" srcOrd="0" destOrd="0" presId="urn:microsoft.com/office/officeart/2008/layout/AlternatingHexagons"/>
    <dgm:cxn modelId="{49CCEC94-D4B3-43D1-A4E9-12497591402E}" srcId="{AE18218E-2715-45BF-9C05-1AD01FEEF343}" destId="{F8C86F4D-7AE3-4D88-B381-270CAF72288F}" srcOrd="2" destOrd="0" parTransId="{1FC2357A-16CF-4DF5-852D-6776B314B56F}" sibTransId="{DF933BBF-C0E1-4F4B-B2EF-EEA74E9C2DD1}"/>
    <dgm:cxn modelId="{C81193BB-AFE3-43FA-860D-BF88587F5821}" type="presOf" srcId="{DF933BBF-C0E1-4F4B-B2EF-EEA74E9C2DD1}" destId="{3DC5FC81-7504-4671-AE29-062C3A5DF418}" srcOrd="0" destOrd="0" presId="urn:microsoft.com/office/officeart/2008/layout/AlternatingHexagons"/>
    <dgm:cxn modelId="{F3DE17BF-F9B4-4192-920F-727D0EE8303D}" type="presOf" srcId="{76E90BB1-D285-4437-A5B2-6946C9E60ED7}" destId="{51EFE54E-4F8A-4655-8DE2-A4CF2EC60108}" srcOrd="0" destOrd="0" presId="urn:microsoft.com/office/officeart/2008/layout/AlternatingHexagons"/>
    <dgm:cxn modelId="{292C08C4-CB50-484D-8628-50D7B9E3F781}" type="presOf" srcId="{FC656160-D0AC-4EBE-8AE4-D20646B29E4B}" destId="{9C92EB3A-14A5-4648-B82C-61D8363A2193}" srcOrd="0" destOrd="0" presId="urn:microsoft.com/office/officeart/2008/layout/AlternatingHexagons"/>
    <dgm:cxn modelId="{16BBAFC6-BC9B-4692-9DFB-5651F49C3020}" srcId="{AE18218E-2715-45BF-9C05-1AD01FEEF343}" destId="{6843CFA4-2851-4865-99EF-B9CA13EE26C6}" srcOrd="1" destOrd="0" parTransId="{4A56AC7C-8105-4AF8-A646-9527DD32417E}" sibTransId="{FC656160-D0AC-4EBE-8AE4-D20646B29E4B}"/>
    <dgm:cxn modelId="{2182FD8A-0BBC-46EB-9CF5-D3EDFB565702}" type="presParOf" srcId="{4AE4BF9C-E378-4742-9B2A-CBCFB1F70938}" destId="{57F26399-E8D4-4868-BD69-F0BD9FE318CB}" srcOrd="0" destOrd="0" presId="urn:microsoft.com/office/officeart/2008/layout/AlternatingHexagons"/>
    <dgm:cxn modelId="{0E3C9E4B-7694-4B1F-83EA-76B4259A9436}" type="presParOf" srcId="{57F26399-E8D4-4868-BD69-F0BD9FE318CB}" destId="{DBEE3F0C-A182-4DB8-88F1-84192B3351AD}" srcOrd="0" destOrd="0" presId="urn:microsoft.com/office/officeart/2008/layout/AlternatingHexagons"/>
    <dgm:cxn modelId="{1BD5E720-4B9D-4697-8AE1-68DC03F3E99A}" type="presParOf" srcId="{57F26399-E8D4-4868-BD69-F0BD9FE318CB}" destId="{094E4B72-C355-4223-9300-AF1D5F05D698}" srcOrd="1" destOrd="0" presId="urn:microsoft.com/office/officeart/2008/layout/AlternatingHexagons"/>
    <dgm:cxn modelId="{3D73124F-B792-4B0B-857B-1EA7EC12FF61}" type="presParOf" srcId="{57F26399-E8D4-4868-BD69-F0BD9FE318CB}" destId="{E024CA23-9428-4019-927D-581EDAC536F4}" srcOrd="2" destOrd="0" presId="urn:microsoft.com/office/officeart/2008/layout/AlternatingHexagons"/>
    <dgm:cxn modelId="{2CE18C98-9384-4A3C-AC8E-726255DE2764}" type="presParOf" srcId="{57F26399-E8D4-4868-BD69-F0BD9FE318CB}" destId="{8D605173-E329-40A8-BC33-ACD91E9DDB77}" srcOrd="3" destOrd="0" presId="urn:microsoft.com/office/officeart/2008/layout/AlternatingHexagons"/>
    <dgm:cxn modelId="{4EBC97D7-268C-445C-B96F-50D1676BF31E}" type="presParOf" srcId="{57F26399-E8D4-4868-BD69-F0BD9FE318CB}" destId="{51EFE54E-4F8A-4655-8DE2-A4CF2EC60108}" srcOrd="4" destOrd="0" presId="urn:microsoft.com/office/officeart/2008/layout/AlternatingHexagons"/>
    <dgm:cxn modelId="{FC890001-1545-44C0-A55D-E9294DD9218B}" type="presParOf" srcId="{4AE4BF9C-E378-4742-9B2A-CBCFB1F70938}" destId="{BD1C9B40-3710-4B45-8BEC-05C514931913}" srcOrd="1" destOrd="0" presId="urn:microsoft.com/office/officeart/2008/layout/AlternatingHexagons"/>
    <dgm:cxn modelId="{3376089C-A947-44F7-AE90-E19B0569C721}" type="presParOf" srcId="{4AE4BF9C-E378-4742-9B2A-CBCFB1F70938}" destId="{E772E3C6-EE9B-4B5B-A167-139885EC9979}" srcOrd="2" destOrd="0" presId="urn:microsoft.com/office/officeart/2008/layout/AlternatingHexagons"/>
    <dgm:cxn modelId="{A844E93A-A896-4AD1-8F06-0E61D96152BE}" type="presParOf" srcId="{E772E3C6-EE9B-4B5B-A167-139885EC9979}" destId="{75BCEBF7-241A-4BDF-A84C-41A2C3EA028A}" srcOrd="0" destOrd="0" presId="urn:microsoft.com/office/officeart/2008/layout/AlternatingHexagons"/>
    <dgm:cxn modelId="{1118CD59-0D87-4B4B-8DD0-0793B33C0684}" type="presParOf" srcId="{E772E3C6-EE9B-4B5B-A167-139885EC9979}" destId="{94823CB8-36B1-4D56-8560-5561500A6390}" srcOrd="1" destOrd="0" presId="urn:microsoft.com/office/officeart/2008/layout/AlternatingHexagons"/>
    <dgm:cxn modelId="{53BAAF26-1CE4-469D-98EF-706CEC9C3A4A}" type="presParOf" srcId="{E772E3C6-EE9B-4B5B-A167-139885EC9979}" destId="{54102F95-0A90-4CCB-9B9E-CBF7AD8E0942}" srcOrd="2" destOrd="0" presId="urn:microsoft.com/office/officeart/2008/layout/AlternatingHexagons"/>
    <dgm:cxn modelId="{75E1C3B4-800A-4680-97E9-BA8F686C7C1B}" type="presParOf" srcId="{E772E3C6-EE9B-4B5B-A167-139885EC9979}" destId="{7A4C3ADE-D7D3-438D-8022-D9F75F50C4DA}" srcOrd="3" destOrd="0" presId="urn:microsoft.com/office/officeart/2008/layout/AlternatingHexagons"/>
    <dgm:cxn modelId="{3088F8C2-9227-4453-812B-D6BD39FC63E8}" type="presParOf" srcId="{E772E3C6-EE9B-4B5B-A167-139885EC9979}" destId="{9C92EB3A-14A5-4648-B82C-61D8363A2193}" srcOrd="4" destOrd="0" presId="urn:microsoft.com/office/officeart/2008/layout/AlternatingHexagons"/>
    <dgm:cxn modelId="{1B8DC531-AB1D-42C8-8B45-9B7649DA838D}" type="presParOf" srcId="{4AE4BF9C-E378-4742-9B2A-CBCFB1F70938}" destId="{556145D3-800D-4FC4-A04A-B34DA5F46B58}" srcOrd="3" destOrd="0" presId="urn:microsoft.com/office/officeart/2008/layout/AlternatingHexagons"/>
    <dgm:cxn modelId="{81E0D787-E3F3-41DA-9695-16DA43D2F470}" type="presParOf" srcId="{4AE4BF9C-E378-4742-9B2A-CBCFB1F70938}" destId="{86224AFB-A052-4FCE-87B1-1AAE5099C990}" srcOrd="4" destOrd="0" presId="urn:microsoft.com/office/officeart/2008/layout/AlternatingHexagons"/>
    <dgm:cxn modelId="{0EB7A22F-EEAB-465E-8C26-1F507C6F9FEA}" type="presParOf" srcId="{86224AFB-A052-4FCE-87B1-1AAE5099C990}" destId="{AD0F7EA5-CA24-4684-B074-CCB33A591F5C}" srcOrd="0" destOrd="0" presId="urn:microsoft.com/office/officeart/2008/layout/AlternatingHexagons"/>
    <dgm:cxn modelId="{378BF582-C785-4214-8ACD-810F2FDEE8C9}" type="presParOf" srcId="{86224AFB-A052-4FCE-87B1-1AAE5099C990}" destId="{1F5BF0BA-BFA1-450B-8FEC-4A1822145694}" srcOrd="1" destOrd="0" presId="urn:microsoft.com/office/officeart/2008/layout/AlternatingHexagons"/>
    <dgm:cxn modelId="{5D5B72D6-7693-4D90-8916-814668EA2109}" type="presParOf" srcId="{86224AFB-A052-4FCE-87B1-1AAE5099C990}" destId="{5C288433-2251-4A0A-A357-54016DC96D0E}" srcOrd="2" destOrd="0" presId="urn:microsoft.com/office/officeart/2008/layout/AlternatingHexagons"/>
    <dgm:cxn modelId="{59344ED9-981B-4376-A648-DC669411A875}" type="presParOf" srcId="{86224AFB-A052-4FCE-87B1-1AAE5099C990}" destId="{31F7C056-CD2D-413A-85AD-330AB6912EDF}" srcOrd="3" destOrd="0" presId="urn:microsoft.com/office/officeart/2008/layout/AlternatingHexagons"/>
    <dgm:cxn modelId="{36DE03BB-311F-447C-A32D-63B7D6E71A0D}" type="presParOf" srcId="{86224AFB-A052-4FCE-87B1-1AAE5099C990}" destId="{3DC5FC81-7504-4671-AE29-062C3A5DF418}" srcOrd="4" destOrd="0" presId="urn:microsoft.com/office/officeart/2008/layout/AlternatingHexagons"/>
  </dgm:cxnLst>
  <dgm:bg/>
  <dgm:whole>
    <a:ln>
      <a:noFill/>
    </a:ln>
  </dgm:whole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AE18218E-2715-45BF-9C05-1AD01FEEF343}" type="doc">
      <dgm:prSet loTypeId="urn:microsoft.com/office/officeart/2008/layout/AlternatingHexagons" loCatId="list" qsTypeId="urn:microsoft.com/office/officeart/2005/8/quickstyle/simple1" qsCatId="simple" csTypeId="urn:microsoft.com/office/officeart/2005/8/colors/accent6_3" csCatId="accent6" phldr="1"/>
      <dgm:spPr/>
      <dgm:t>
        <a:bodyPr/>
        <a:lstStyle/>
        <a:p>
          <a:endParaRPr lang="de-DE"/>
        </a:p>
      </dgm:t>
    </dgm:pt>
    <dgm:pt modelId="{A296F75D-3829-4177-9A69-859438913439}">
      <dgm:prSet phldrT="[Text]" custT="1"/>
      <dgm:spPr/>
      <dgm:t>
        <a:bodyPr/>
        <a:lstStyle/>
        <a:p>
          <a:r>
            <a:rPr lang="de-DE" sz="1400" dirty="0">
              <a:solidFill>
                <a:schemeClr val="tx1"/>
              </a:solidFill>
            </a:rPr>
            <a:t>Kurtaxe</a:t>
          </a:r>
        </a:p>
      </dgm:t>
    </dgm:pt>
    <dgm:pt modelId="{3C70DD1F-31AA-4F20-8B02-84083DB51FF0}" type="parTrans" cxnId="{522CC523-F6FD-43A0-81A6-A96261D9CD24}">
      <dgm:prSet/>
      <dgm:spPr/>
      <dgm:t>
        <a:bodyPr/>
        <a:lstStyle/>
        <a:p>
          <a:endParaRPr lang="de-DE" sz="1400">
            <a:solidFill>
              <a:schemeClr val="tx1"/>
            </a:solidFill>
          </a:endParaRPr>
        </a:p>
      </dgm:t>
    </dgm:pt>
    <dgm:pt modelId="{76E90BB1-D285-4437-A5B2-6946C9E60ED7}" type="sibTrans" cxnId="{522CC523-F6FD-43A0-81A6-A96261D9CD24}">
      <dgm:prSet custT="1"/>
      <dgm:spPr>
        <a:noFill/>
        <a:ln>
          <a:noFill/>
        </a:ln>
      </dgm:spPr>
      <dgm:t>
        <a:bodyPr/>
        <a:lstStyle/>
        <a:p>
          <a:endParaRPr lang="de-DE" sz="1400" dirty="0">
            <a:solidFill>
              <a:schemeClr val="tx1"/>
            </a:solidFill>
          </a:endParaRPr>
        </a:p>
      </dgm:t>
    </dgm:pt>
    <dgm:pt modelId="{6843CFA4-2851-4865-99EF-B9CA13EE26C6}">
      <dgm:prSet phldrT="[Text]" custT="1"/>
      <dgm:spPr/>
      <dgm:t>
        <a:bodyPr/>
        <a:lstStyle/>
        <a:p>
          <a:r>
            <a:rPr lang="de-DE" sz="1400" dirty="0">
              <a:solidFill>
                <a:schemeClr val="tx1"/>
              </a:solidFill>
            </a:rPr>
            <a:t>Arbeitgeber-abgabe </a:t>
          </a:r>
        </a:p>
      </dgm:t>
    </dgm:pt>
    <dgm:pt modelId="{4A56AC7C-8105-4AF8-A646-9527DD32417E}" type="parTrans" cxnId="{16BBAFC6-BC9B-4692-9DFB-5651F49C3020}">
      <dgm:prSet/>
      <dgm:spPr/>
      <dgm:t>
        <a:bodyPr/>
        <a:lstStyle/>
        <a:p>
          <a:endParaRPr lang="de-DE" sz="1400">
            <a:solidFill>
              <a:schemeClr val="tx1"/>
            </a:solidFill>
          </a:endParaRPr>
        </a:p>
      </dgm:t>
    </dgm:pt>
    <dgm:pt modelId="{FC656160-D0AC-4EBE-8AE4-D20646B29E4B}" type="sibTrans" cxnId="{16BBAFC6-BC9B-4692-9DFB-5651F49C3020}">
      <dgm:prSet custT="1"/>
      <dgm:spPr/>
      <dgm:t>
        <a:bodyPr/>
        <a:lstStyle/>
        <a:p>
          <a:r>
            <a:rPr lang="de-DE" sz="1400" dirty="0">
              <a:solidFill>
                <a:schemeClr val="tx1"/>
              </a:solidFill>
            </a:rPr>
            <a:t>Grundsteuer</a:t>
          </a:r>
        </a:p>
      </dgm:t>
    </dgm:pt>
    <dgm:pt modelId="{F8C86F4D-7AE3-4D88-B381-270CAF72288F}">
      <dgm:prSet phldrT="[Text]" custT="1"/>
      <dgm:spPr/>
      <dgm:t>
        <a:bodyPr/>
        <a:lstStyle/>
        <a:p>
          <a:r>
            <a:rPr lang="de-DE" sz="1400" dirty="0">
              <a:solidFill>
                <a:schemeClr val="tx1"/>
              </a:solidFill>
            </a:rPr>
            <a:t>Bürgerticket</a:t>
          </a:r>
        </a:p>
      </dgm:t>
    </dgm:pt>
    <dgm:pt modelId="{1FC2357A-16CF-4DF5-852D-6776B314B56F}" type="parTrans" cxnId="{49CCEC94-D4B3-43D1-A4E9-12497591402E}">
      <dgm:prSet/>
      <dgm:spPr/>
      <dgm:t>
        <a:bodyPr/>
        <a:lstStyle/>
        <a:p>
          <a:endParaRPr lang="de-DE" sz="1400">
            <a:solidFill>
              <a:schemeClr val="tx1"/>
            </a:solidFill>
          </a:endParaRPr>
        </a:p>
      </dgm:t>
    </dgm:pt>
    <dgm:pt modelId="{DF933BBF-C0E1-4F4B-B2EF-EEA74E9C2DD1}" type="sibTrans" cxnId="{49CCEC94-D4B3-43D1-A4E9-12497591402E}">
      <dgm:prSet custT="1"/>
      <dgm:spPr>
        <a:noFill/>
        <a:ln>
          <a:noFill/>
        </a:ln>
      </dgm:spPr>
      <dgm:t>
        <a:bodyPr/>
        <a:lstStyle/>
        <a:p>
          <a:endParaRPr lang="de-DE" sz="1400" dirty="0">
            <a:solidFill>
              <a:schemeClr val="tx1"/>
            </a:solidFill>
          </a:endParaRPr>
        </a:p>
      </dgm:t>
    </dgm:pt>
    <dgm:pt modelId="{4AE4BF9C-E378-4742-9B2A-CBCFB1F70938}" type="pres">
      <dgm:prSet presAssocID="{AE18218E-2715-45BF-9C05-1AD01FEEF343}" presName="Name0" presStyleCnt="0">
        <dgm:presLayoutVars>
          <dgm:chMax/>
          <dgm:chPref/>
          <dgm:dir/>
          <dgm:animLvl val="lvl"/>
        </dgm:presLayoutVars>
      </dgm:prSet>
      <dgm:spPr/>
    </dgm:pt>
    <dgm:pt modelId="{57F26399-E8D4-4868-BD69-F0BD9FE318CB}" type="pres">
      <dgm:prSet presAssocID="{A296F75D-3829-4177-9A69-859438913439}" presName="composite" presStyleCnt="0"/>
      <dgm:spPr/>
    </dgm:pt>
    <dgm:pt modelId="{DBEE3F0C-A182-4DB8-88F1-84192B3351AD}" type="pres">
      <dgm:prSet presAssocID="{A296F75D-3829-4177-9A69-859438913439}" presName="Parent1" presStyleLbl="node1" presStyleIdx="0" presStyleCnt="6">
        <dgm:presLayoutVars>
          <dgm:chMax val="1"/>
          <dgm:chPref val="1"/>
          <dgm:bulletEnabled val="1"/>
        </dgm:presLayoutVars>
      </dgm:prSet>
      <dgm:spPr/>
    </dgm:pt>
    <dgm:pt modelId="{094E4B72-C355-4223-9300-AF1D5F05D698}" type="pres">
      <dgm:prSet presAssocID="{A296F75D-3829-4177-9A69-859438913439}" presName="Childtext1" presStyleLbl="revTx" presStyleIdx="0" presStyleCnt="3">
        <dgm:presLayoutVars>
          <dgm:chMax val="0"/>
          <dgm:chPref val="0"/>
          <dgm:bulletEnabled val="1"/>
        </dgm:presLayoutVars>
      </dgm:prSet>
      <dgm:spPr/>
    </dgm:pt>
    <dgm:pt modelId="{E024CA23-9428-4019-927D-581EDAC536F4}" type="pres">
      <dgm:prSet presAssocID="{A296F75D-3829-4177-9A69-859438913439}" presName="BalanceSpacing" presStyleCnt="0"/>
      <dgm:spPr/>
    </dgm:pt>
    <dgm:pt modelId="{8D605173-E329-40A8-BC33-ACD91E9DDB77}" type="pres">
      <dgm:prSet presAssocID="{A296F75D-3829-4177-9A69-859438913439}" presName="BalanceSpacing1" presStyleCnt="0"/>
      <dgm:spPr/>
    </dgm:pt>
    <dgm:pt modelId="{51EFE54E-4F8A-4655-8DE2-A4CF2EC60108}" type="pres">
      <dgm:prSet presAssocID="{76E90BB1-D285-4437-A5B2-6946C9E60ED7}" presName="Accent1Text" presStyleLbl="node1" presStyleIdx="1" presStyleCnt="6"/>
      <dgm:spPr/>
    </dgm:pt>
    <dgm:pt modelId="{BD1C9B40-3710-4B45-8BEC-05C514931913}" type="pres">
      <dgm:prSet presAssocID="{76E90BB1-D285-4437-A5B2-6946C9E60ED7}" presName="spaceBetweenRectangles" presStyleCnt="0"/>
      <dgm:spPr/>
    </dgm:pt>
    <dgm:pt modelId="{E772E3C6-EE9B-4B5B-A167-139885EC9979}" type="pres">
      <dgm:prSet presAssocID="{6843CFA4-2851-4865-99EF-B9CA13EE26C6}" presName="composite" presStyleCnt="0"/>
      <dgm:spPr/>
    </dgm:pt>
    <dgm:pt modelId="{75BCEBF7-241A-4BDF-A84C-41A2C3EA028A}" type="pres">
      <dgm:prSet presAssocID="{6843CFA4-2851-4865-99EF-B9CA13EE26C6}" presName="Parent1" presStyleLbl="node1" presStyleIdx="2" presStyleCnt="6">
        <dgm:presLayoutVars>
          <dgm:chMax val="1"/>
          <dgm:chPref val="1"/>
          <dgm:bulletEnabled val="1"/>
        </dgm:presLayoutVars>
      </dgm:prSet>
      <dgm:spPr/>
    </dgm:pt>
    <dgm:pt modelId="{94823CB8-36B1-4D56-8560-5561500A6390}" type="pres">
      <dgm:prSet presAssocID="{6843CFA4-2851-4865-99EF-B9CA13EE26C6}" presName="Childtext1" presStyleLbl="revTx" presStyleIdx="1" presStyleCnt="3">
        <dgm:presLayoutVars>
          <dgm:chMax val="0"/>
          <dgm:chPref val="0"/>
          <dgm:bulletEnabled val="1"/>
        </dgm:presLayoutVars>
      </dgm:prSet>
      <dgm:spPr/>
    </dgm:pt>
    <dgm:pt modelId="{54102F95-0A90-4CCB-9B9E-CBF7AD8E0942}" type="pres">
      <dgm:prSet presAssocID="{6843CFA4-2851-4865-99EF-B9CA13EE26C6}" presName="BalanceSpacing" presStyleCnt="0"/>
      <dgm:spPr/>
    </dgm:pt>
    <dgm:pt modelId="{7A4C3ADE-D7D3-438D-8022-D9F75F50C4DA}" type="pres">
      <dgm:prSet presAssocID="{6843CFA4-2851-4865-99EF-B9CA13EE26C6}" presName="BalanceSpacing1" presStyleCnt="0"/>
      <dgm:spPr/>
    </dgm:pt>
    <dgm:pt modelId="{9C92EB3A-14A5-4648-B82C-61D8363A2193}" type="pres">
      <dgm:prSet presAssocID="{FC656160-D0AC-4EBE-8AE4-D20646B29E4B}" presName="Accent1Text" presStyleLbl="node1" presStyleIdx="3" presStyleCnt="6"/>
      <dgm:spPr/>
    </dgm:pt>
    <dgm:pt modelId="{556145D3-800D-4FC4-A04A-B34DA5F46B58}" type="pres">
      <dgm:prSet presAssocID="{FC656160-D0AC-4EBE-8AE4-D20646B29E4B}" presName="spaceBetweenRectangles" presStyleCnt="0"/>
      <dgm:spPr/>
    </dgm:pt>
    <dgm:pt modelId="{86224AFB-A052-4FCE-87B1-1AAE5099C990}" type="pres">
      <dgm:prSet presAssocID="{F8C86F4D-7AE3-4D88-B381-270CAF72288F}" presName="composite" presStyleCnt="0"/>
      <dgm:spPr/>
    </dgm:pt>
    <dgm:pt modelId="{AD0F7EA5-CA24-4684-B074-CCB33A591F5C}" type="pres">
      <dgm:prSet presAssocID="{F8C86F4D-7AE3-4D88-B381-270CAF72288F}" presName="Parent1" presStyleLbl="node1" presStyleIdx="4" presStyleCnt="6">
        <dgm:presLayoutVars>
          <dgm:chMax val="1"/>
          <dgm:chPref val="1"/>
          <dgm:bulletEnabled val="1"/>
        </dgm:presLayoutVars>
      </dgm:prSet>
      <dgm:spPr/>
    </dgm:pt>
    <dgm:pt modelId="{1F5BF0BA-BFA1-450B-8FEC-4A1822145694}" type="pres">
      <dgm:prSet presAssocID="{F8C86F4D-7AE3-4D88-B381-270CAF72288F}" presName="Childtext1" presStyleLbl="revTx" presStyleIdx="2" presStyleCnt="3">
        <dgm:presLayoutVars>
          <dgm:chMax val="0"/>
          <dgm:chPref val="0"/>
          <dgm:bulletEnabled val="1"/>
        </dgm:presLayoutVars>
      </dgm:prSet>
      <dgm:spPr/>
    </dgm:pt>
    <dgm:pt modelId="{5C288433-2251-4A0A-A357-54016DC96D0E}" type="pres">
      <dgm:prSet presAssocID="{F8C86F4D-7AE3-4D88-B381-270CAF72288F}" presName="BalanceSpacing" presStyleCnt="0"/>
      <dgm:spPr/>
    </dgm:pt>
    <dgm:pt modelId="{31F7C056-CD2D-413A-85AD-330AB6912EDF}" type="pres">
      <dgm:prSet presAssocID="{F8C86F4D-7AE3-4D88-B381-270CAF72288F}" presName="BalanceSpacing1" presStyleCnt="0"/>
      <dgm:spPr/>
    </dgm:pt>
    <dgm:pt modelId="{3DC5FC81-7504-4671-AE29-062C3A5DF418}" type="pres">
      <dgm:prSet presAssocID="{DF933BBF-C0E1-4F4B-B2EF-EEA74E9C2DD1}" presName="Accent1Text" presStyleLbl="node1" presStyleIdx="5" presStyleCnt="6"/>
      <dgm:spPr/>
    </dgm:pt>
  </dgm:ptLst>
  <dgm:cxnLst>
    <dgm:cxn modelId="{522CC523-F6FD-43A0-81A6-A96261D9CD24}" srcId="{AE18218E-2715-45BF-9C05-1AD01FEEF343}" destId="{A296F75D-3829-4177-9A69-859438913439}" srcOrd="0" destOrd="0" parTransId="{3C70DD1F-31AA-4F20-8B02-84083DB51FF0}" sibTransId="{76E90BB1-D285-4437-A5B2-6946C9E60ED7}"/>
    <dgm:cxn modelId="{879D6B37-3361-4CBA-A12B-8BB871B53000}" type="presOf" srcId="{A296F75D-3829-4177-9A69-859438913439}" destId="{DBEE3F0C-A182-4DB8-88F1-84192B3351AD}" srcOrd="0" destOrd="0" presId="urn:microsoft.com/office/officeart/2008/layout/AlternatingHexagons"/>
    <dgm:cxn modelId="{E03FA266-144D-48A4-B071-A3C15577FECE}" type="presOf" srcId="{F8C86F4D-7AE3-4D88-B381-270CAF72288F}" destId="{AD0F7EA5-CA24-4684-B074-CCB33A591F5C}" srcOrd="0" destOrd="0" presId="urn:microsoft.com/office/officeart/2008/layout/AlternatingHexagons"/>
    <dgm:cxn modelId="{4F235291-CDC4-4E2A-97C2-B3C46858ADC1}" type="presOf" srcId="{AE18218E-2715-45BF-9C05-1AD01FEEF343}" destId="{4AE4BF9C-E378-4742-9B2A-CBCFB1F70938}" srcOrd="0" destOrd="0" presId="urn:microsoft.com/office/officeart/2008/layout/AlternatingHexagons"/>
    <dgm:cxn modelId="{FABBA493-DFEF-46DA-91A8-680CD1FDE53B}" type="presOf" srcId="{6843CFA4-2851-4865-99EF-B9CA13EE26C6}" destId="{75BCEBF7-241A-4BDF-A84C-41A2C3EA028A}" srcOrd="0" destOrd="0" presId="urn:microsoft.com/office/officeart/2008/layout/AlternatingHexagons"/>
    <dgm:cxn modelId="{49CCEC94-D4B3-43D1-A4E9-12497591402E}" srcId="{AE18218E-2715-45BF-9C05-1AD01FEEF343}" destId="{F8C86F4D-7AE3-4D88-B381-270CAF72288F}" srcOrd="2" destOrd="0" parTransId="{1FC2357A-16CF-4DF5-852D-6776B314B56F}" sibTransId="{DF933BBF-C0E1-4F4B-B2EF-EEA74E9C2DD1}"/>
    <dgm:cxn modelId="{C81193BB-AFE3-43FA-860D-BF88587F5821}" type="presOf" srcId="{DF933BBF-C0E1-4F4B-B2EF-EEA74E9C2DD1}" destId="{3DC5FC81-7504-4671-AE29-062C3A5DF418}" srcOrd="0" destOrd="0" presId="urn:microsoft.com/office/officeart/2008/layout/AlternatingHexagons"/>
    <dgm:cxn modelId="{F3DE17BF-F9B4-4192-920F-727D0EE8303D}" type="presOf" srcId="{76E90BB1-D285-4437-A5B2-6946C9E60ED7}" destId="{51EFE54E-4F8A-4655-8DE2-A4CF2EC60108}" srcOrd="0" destOrd="0" presId="urn:microsoft.com/office/officeart/2008/layout/AlternatingHexagons"/>
    <dgm:cxn modelId="{292C08C4-CB50-484D-8628-50D7B9E3F781}" type="presOf" srcId="{FC656160-D0AC-4EBE-8AE4-D20646B29E4B}" destId="{9C92EB3A-14A5-4648-B82C-61D8363A2193}" srcOrd="0" destOrd="0" presId="urn:microsoft.com/office/officeart/2008/layout/AlternatingHexagons"/>
    <dgm:cxn modelId="{16BBAFC6-BC9B-4692-9DFB-5651F49C3020}" srcId="{AE18218E-2715-45BF-9C05-1AD01FEEF343}" destId="{6843CFA4-2851-4865-99EF-B9CA13EE26C6}" srcOrd="1" destOrd="0" parTransId="{4A56AC7C-8105-4AF8-A646-9527DD32417E}" sibTransId="{FC656160-D0AC-4EBE-8AE4-D20646B29E4B}"/>
    <dgm:cxn modelId="{2182FD8A-0BBC-46EB-9CF5-D3EDFB565702}" type="presParOf" srcId="{4AE4BF9C-E378-4742-9B2A-CBCFB1F70938}" destId="{57F26399-E8D4-4868-BD69-F0BD9FE318CB}" srcOrd="0" destOrd="0" presId="urn:microsoft.com/office/officeart/2008/layout/AlternatingHexagons"/>
    <dgm:cxn modelId="{0E3C9E4B-7694-4B1F-83EA-76B4259A9436}" type="presParOf" srcId="{57F26399-E8D4-4868-BD69-F0BD9FE318CB}" destId="{DBEE3F0C-A182-4DB8-88F1-84192B3351AD}" srcOrd="0" destOrd="0" presId="urn:microsoft.com/office/officeart/2008/layout/AlternatingHexagons"/>
    <dgm:cxn modelId="{1BD5E720-4B9D-4697-8AE1-68DC03F3E99A}" type="presParOf" srcId="{57F26399-E8D4-4868-BD69-F0BD9FE318CB}" destId="{094E4B72-C355-4223-9300-AF1D5F05D698}" srcOrd="1" destOrd="0" presId="urn:microsoft.com/office/officeart/2008/layout/AlternatingHexagons"/>
    <dgm:cxn modelId="{3D73124F-B792-4B0B-857B-1EA7EC12FF61}" type="presParOf" srcId="{57F26399-E8D4-4868-BD69-F0BD9FE318CB}" destId="{E024CA23-9428-4019-927D-581EDAC536F4}" srcOrd="2" destOrd="0" presId="urn:microsoft.com/office/officeart/2008/layout/AlternatingHexagons"/>
    <dgm:cxn modelId="{2CE18C98-9384-4A3C-AC8E-726255DE2764}" type="presParOf" srcId="{57F26399-E8D4-4868-BD69-F0BD9FE318CB}" destId="{8D605173-E329-40A8-BC33-ACD91E9DDB77}" srcOrd="3" destOrd="0" presId="urn:microsoft.com/office/officeart/2008/layout/AlternatingHexagons"/>
    <dgm:cxn modelId="{4EBC97D7-268C-445C-B96F-50D1676BF31E}" type="presParOf" srcId="{57F26399-E8D4-4868-BD69-F0BD9FE318CB}" destId="{51EFE54E-4F8A-4655-8DE2-A4CF2EC60108}" srcOrd="4" destOrd="0" presId="urn:microsoft.com/office/officeart/2008/layout/AlternatingHexagons"/>
    <dgm:cxn modelId="{FC890001-1545-44C0-A55D-E9294DD9218B}" type="presParOf" srcId="{4AE4BF9C-E378-4742-9B2A-CBCFB1F70938}" destId="{BD1C9B40-3710-4B45-8BEC-05C514931913}" srcOrd="1" destOrd="0" presId="urn:microsoft.com/office/officeart/2008/layout/AlternatingHexagons"/>
    <dgm:cxn modelId="{3376089C-A947-44F7-AE90-E19B0569C721}" type="presParOf" srcId="{4AE4BF9C-E378-4742-9B2A-CBCFB1F70938}" destId="{E772E3C6-EE9B-4B5B-A167-139885EC9979}" srcOrd="2" destOrd="0" presId="urn:microsoft.com/office/officeart/2008/layout/AlternatingHexagons"/>
    <dgm:cxn modelId="{A844E93A-A896-4AD1-8F06-0E61D96152BE}" type="presParOf" srcId="{E772E3C6-EE9B-4B5B-A167-139885EC9979}" destId="{75BCEBF7-241A-4BDF-A84C-41A2C3EA028A}" srcOrd="0" destOrd="0" presId="urn:microsoft.com/office/officeart/2008/layout/AlternatingHexagons"/>
    <dgm:cxn modelId="{1118CD59-0D87-4B4B-8DD0-0793B33C0684}" type="presParOf" srcId="{E772E3C6-EE9B-4B5B-A167-139885EC9979}" destId="{94823CB8-36B1-4D56-8560-5561500A6390}" srcOrd="1" destOrd="0" presId="urn:microsoft.com/office/officeart/2008/layout/AlternatingHexagons"/>
    <dgm:cxn modelId="{53BAAF26-1CE4-469D-98EF-706CEC9C3A4A}" type="presParOf" srcId="{E772E3C6-EE9B-4B5B-A167-139885EC9979}" destId="{54102F95-0A90-4CCB-9B9E-CBF7AD8E0942}" srcOrd="2" destOrd="0" presId="urn:microsoft.com/office/officeart/2008/layout/AlternatingHexagons"/>
    <dgm:cxn modelId="{75E1C3B4-800A-4680-97E9-BA8F686C7C1B}" type="presParOf" srcId="{E772E3C6-EE9B-4B5B-A167-139885EC9979}" destId="{7A4C3ADE-D7D3-438D-8022-D9F75F50C4DA}" srcOrd="3" destOrd="0" presId="urn:microsoft.com/office/officeart/2008/layout/AlternatingHexagons"/>
    <dgm:cxn modelId="{3088F8C2-9227-4453-812B-D6BD39FC63E8}" type="presParOf" srcId="{E772E3C6-EE9B-4B5B-A167-139885EC9979}" destId="{9C92EB3A-14A5-4648-B82C-61D8363A2193}" srcOrd="4" destOrd="0" presId="urn:microsoft.com/office/officeart/2008/layout/AlternatingHexagons"/>
    <dgm:cxn modelId="{1B8DC531-AB1D-42C8-8B45-9B7649DA838D}" type="presParOf" srcId="{4AE4BF9C-E378-4742-9B2A-CBCFB1F70938}" destId="{556145D3-800D-4FC4-A04A-B34DA5F46B58}" srcOrd="3" destOrd="0" presId="urn:microsoft.com/office/officeart/2008/layout/AlternatingHexagons"/>
    <dgm:cxn modelId="{81E0D787-E3F3-41DA-9695-16DA43D2F470}" type="presParOf" srcId="{4AE4BF9C-E378-4742-9B2A-CBCFB1F70938}" destId="{86224AFB-A052-4FCE-87B1-1AAE5099C990}" srcOrd="4" destOrd="0" presId="urn:microsoft.com/office/officeart/2008/layout/AlternatingHexagons"/>
    <dgm:cxn modelId="{0EB7A22F-EEAB-465E-8C26-1F507C6F9FEA}" type="presParOf" srcId="{86224AFB-A052-4FCE-87B1-1AAE5099C990}" destId="{AD0F7EA5-CA24-4684-B074-CCB33A591F5C}" srcOrd="0" destOrd="0" presId="urn:microsoft.com/office/officeart/2008/layout/AlternatingHexagons"/>
    <dgm:cxn modelId="{378BF582-C785-4214-8ACD-810F2FDEE8C9}" type="presParOf" srcId="{86224AFB-A052-4FCE-87B1-1AAE5099C990}" destId="{1F5BF0BA-BFA1-450B-8FEC-4A1822145694}" srcOrd="1" destOrd="0" presId="urn:microsoft.com/office/officeart/2008/layout/AlternatingHexagons"/>
    <dgm:cxn modelId="{5D5B72D6-7693-4D90-8916-814668EA2109}" type="presParOf" srcId="{86224AFB-A052-4FCE-87B1-1AAE5099C990}" destId="{5C288433-2251-4A0A-A357-54016DC96D0E}" srcOrd="2" destOrd="0" presId="urn:microsoft.com/office/officeart/2008/layout/AlternatingHexagons"/>
    <dgm:cxn modelId="{59344ED9-981B-4376-A648-DC669411A875}" type="presParOf" srcId="{86224AFB-A052-4FCE-87B1-1AAE5099C990}" destId="{31F7C056-CD2D-413A-85AD-330AB6912EDF}" srcOrd="3" destOrd="0" presId="urn:microsoft.com/office/officeart/2008/layout/AlternatingHexagons"/>
    <dgm:cxn modelId="{36DE03BB-311F-447C-A32D-63B7D6E71A0D}" type="presParOf" srcId="{86224AFB-A052-4FCE-87B1-1AAE5099C990}" destId="{3DC5FC81-7504-4671-AE29-062C3A5DF418}" srcOrd="4" destOrd="0" presId="urn:microsoft.com/office/officeart/2008/layout/AlternatingHexagons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AE18218E-2715-45BF-9C05-1AD01FEEF343}" type="doc">
      <dgm:prSet loTypeId="urn:microsoft.com/office/officeart/2008/layout/AlternatingHexagons" loCatId="list" qsTypeId="urn:microsoft.com/office/officeart/2005/8/quickstyle/simple1" qsCatId="simple" csTypeId="urn:microsoft.com/office/officeart/2005/8/colors/accent6_3" csCatId="accent6" phldr="1"/>
      <dgm:spPr/>
      <dgm:t>
        <a:bodyPr/>
        <a:lstStyle/>
        <a:p>
          <a:endParaRPr lang="de-DE"/>
        </a:p>
      </dgm:t>
    </dgm:pt>
    <dgm:pt modelId="{A296F75D-3829-4177-9A69-859438913439}">
      <dgm:prSet phldrT="[Text]" custT="1"/>
      <dgm:spPr/>
      <dgm:t>
        <a:bodyPr/>
        <a:lstStyle/>
        <a:p>
          <a:r>
            <a:rPr lang="de-DE" sz="1400" dirty="0">
              <a:solidFill>
                <a:schemeClr val="tx1"/>
              </a:solidFill>
            </a:rPr>
            <a:t>Einzel-handels-abgabe</a:t>
          </a:r>
        </a:p>
      </dgm:t>
    </dgm:pt>
    <dgm:pt modelId="{3C70DD1F-31AA-4F20-8B02-84083DB51FF0}" type="parTrans" cxnId="{522CC523-F6FD-43A0-81A6-A96261D9CD24}">
      <dgm:prSet/>
      <dgm:spPr/>
      <dgm:t>
        <a:bodyPr/>
        <a:lstStyle/>
        <a:p>
          <a:endParaRPr lang="de-DE" sz="1400">
            <a:solidFill>
              <a:schemeClr val="tx1"/>
            </a:solidFill>
          </a:endParaRPr>
        </a:p>
      </dgm:t>
    </dgm:pt>
    <dgm:pt modelId="{76E90BB1-D285-4437-A5B2-6946C9E60ED7}" type="sibTrans" cxnId="{522CC523-F6FD-43A0-81A6-A96261D9CD24}">
      <dgm:prSet custT="1"/>
      <dgm:spPr/>
      <dgm:t>
        <a:bodyPr/>
        <a:lstStyle/>
        <a:p>
          <a:r>
            <a:rPr lang="de-DE" sz="1400" dirty="0">
              <a:solidFill>
                <a:schemeClr val="tx1"/>
              </a:solidFill>
            </a:rPr>
            <a:t>Erschließ-</a:t>
          </a:r>
          <a:r>
            <a:rPr lang="de-DE" sz="1400" dirty="0" err="1">
              <a:solidFill>
                <a:schemeClr val="tx1"/>
              </a:solidFill>
            </a:rPr>
            <a:t>ungsbeitrag</a:t>
          </a:r>
          <a:endParaRPr lang="de-DE" sz="1400" dirty="0">
            <a:solidFill>
              <a:schemeClr val="tx1"/>
            </a:solidFill>
          </a:endParaRPr>
        </a:p>
      </dgm:t>
    </dgm:pt>
    <dgm:pt modelId="{6843CFA4-2851-4865-99EF-B9CA13EE26C6}">
      <dgm:prSet phldrT="[Text]" custT="1"/>
      <dgm:spPr/>
      <dgm:t>
        <a:bodyPr/>
        <a:lstStyle/>
        <a:p>
          <a:r>
            <a:rPr lang="de-DE" sz="1400" dirty="0">
              <a:solidFill>
                <a:schemeClr val="tx1"/>
              </a:solidFill>
            </a:rPr>
            <a:t>ÖPNV-Grundbeitrag</a:t>
          </a:r>
        </a:p>
      </dgm:t>
    </dgm:pt>
    <dgm:pt modelId="{4A56AC7C-8105-4AF8-A646-9527DD32417E}" type="parTrans" cxnId="{16BBAFC6-BC9B-4692-9DFB-5651F49C3020}">
      <dgm:prSet/>
      <dgm:spPr/>
      <dgm:t>
        <a:bodyPr/>
        <a:lstStyle/>
        <a:p>
          <a:endParaRPr lang="de-DE" sz="1400">
            <a:solidFill>
              <a:schemeClr val="tx1"/>
            </a:solidFill>
          </a:endParaRPr>
        </a:p>
      </dgm:t>
    </dgm:pt>
    <dgm:pt modelId="{FC656160-D0AC-4EBE-8AE4-D20646B29E4B}" type="sibTrans" cxnId="{16BBAFC6-BC9B-4692-9DFB-5651F49C3020}">
      <dgm:prSet custT="1"/>
      <dgm:spPr>
        <a:noFill/>
        <a:ln>
          <a:noFill/>
        </a:ln>
      </dgm:spPr>
      <dgm:t>
        <a:bodyPr/>
        <a:lstStyle/>
        <a:p>
          <a:endParaRPr lang="de-DE" sz="1400" dirty="0">
            <a:solidFill>
              <a:schemeClr val="tx1"/>
            </a:solidFill>
          </a:endParaRPr>
        </a:p>
      </dgm:t>
    </dgm:pt>
    <dgm:pt modelId="{F8C86F4D-7AE3-4D88-B381-270CAF72288F}">
      <dgm:prSet phldrT="[Text]" custT="1"/>
      <dgm:spPr/>
      <dgm:t>
        <a:bodyPr/>
        <a:lstStyle/>
        <a:p>
          <a:r>
            <a:rPr lang="de-DE" sz="1400" dirty="0">
              <a:solidFill>
                <a:schemeClr val="tx1"/>
              </a:solidFill>
            </a:rPr>
            <a:t>Stellplatz-ablöse</a:t>
          </a:r>
        </a:p>
      </dgm:t>
    </dgm:pt>
    <dgm:pt modelId="{1FC2357A-16CF-4DF5-852D-6776B314B56F}" type="parTrans" cxnId="{49CCEC94-D4B3-43D1-A4E9-12497591402E}">
      <dgm:prSet/>
      <dgm:spPr/>
      <dgm:t>
        <a:bodyPr/>
        <a:lstStyle/>
        <a:p>
          <a:endParaRPr lang="de-DE" sz="1400">
            <a:solidFill>
              <a:schemeClr val="tx1"/>
            </a:solidFill>
          </a:endParaRPr>
        </a:p>
      </dgm:t>
    </dgm:pt>
    <dgm:pt modelId="{DF933BBF-C0E1-4F4B-B2EF-EEA74E9C2DD1}" type="sibTrans" cxnId="{49CCEC94-D4B3-43D1-A4E9-12497591402E}">
      <dgm:prSet custT="1"/>
      <dgm:spPr/>
      <dgm:t>
        <a:bodyPr/>
        <a:lstStyle/>
        <a:p>
          <a:r>
            <a:rPr lang="de-DE" sz="1400" dirty="0">
              <a:solidFill>
                <a:schemeClr val="tx1"/>
              </a:solidFill>
            </a:rPr>
            <a:t>Infrastruktur-zuschlag</a:t>
          </a:r>
        </a:p>
      </dgm:t>
    </dgm:pt>
    <dgm:pt modelId="{4AE4BF9C-E378-4742-9B2A-CBCFB1F70938}" type="pres">
      <dgm:prSet presAssocID="{AE18218E-2715-45BF-9C05-1AD01FEEF343}" presName="Name0" presStyleCnt="0">
        <dgm:presLayoutVars>
          <dgm:chMax/>
          <dgm:chPref/>
          <dgm:dir/>
          <dgm:animLvl val="lvl"/>
        </dgm:presLayoutVars>
      </dgm:prSet>
      <dgm:spPr/>
    </dgm:pt>
    <dgm:pt modelId="{57F26399-E8D4-4868-BD69-F0BD9FE318CB}" type="pres">
      <dgm:prSet presAssocID="{A296F75D-3829-4177-9A69-859438913439}" presName="composite" presStyleCnt="0"/>
      <dgm:spPr/>
    </dgm:pt>
    <dgm:pt modelId="{DBEE3F0C-A182-4DB8-88F1-84192B3351AD}" type="pres">
      <dgm:prSet presAssocID="{A296F75D-3829-4177-9A69-859438913439}" presName="Parent1" presStyleLbl="node1" presStyleIdx="0" presStyleCnt="6">
        <dgm:presLayoutVars>
          <dgm:chMax val="1"/>
          <dgm:chPref val="1"/>
          <dgm:bulletEnabled val="1"/>
        </dgm:presLayoutVars>
      </dgm:prSet>
      <dgm:spPr/>
    </dgm:pt>
    <dgm:pt modelId="{094E4B72-C355-4223-9300-AF1D5F05D698}" type="pres">
      <dgm:prSet presAssocID="{A296F75D-3829-4177-9A69-859438913439}" presName="Childtext1" presStyleLbl="revTx" presStyleIdx="0" presStyleCnt="3">
        <dgm:presLayoutVars>
          <dgm:chMax val="0"/>
          <dgm:chPref val="0"/>
          <dgm:bulletEnabled val="1"/>
        </dgm:presLayoutVars>
      </dgm:prSet>
      <dgm:spPr/>
    </dgm:pt>
    <dgm:pt modelId="{E024CA23-9428-4019-927D-581EDAC536F4}" type="pres">
      <dgm:prSet presAssocID="{A296F75D-3829-4177-9A69-859438913439}" presName="BalanceSpacing" presStyleCnt="0"/>
      <dgm:spPr/>
    </dgm:pt>
    <dgm:pt modelId="{8D605173-E329-40A8-BC33-ACD91E9DDB77}" type="pres">
      <dgm:prSet presAssocID="{A296F75D-3829-4177-9A69-859438913439}" presName="BalanceSpacing1" presStyleCnt="0"/>
      <dgm:spPr/>
    </dgm:pt>
    <dgm:pt modelId="{51EFE54E-4F8A-4655-8DE2-A4CF2EC60108}" type="pres">
      <dgm:prSet presAssocID="{76E90BB1-D285-4437-A5B2-6946C9E60ED7}" presName="Accent1Text" presStyleLbl="node1" presStyleIdx="1" presStyleCnt="6"/>
      <dgm:spPr/>
    </dgm:pt>
    <dgm:pt modelId="{BD1C9B40-3710-4B45-8BEC-05C514931913}" type="pres">
      <dgm:prSet presAssocID="{76E90BB1-D285-4437-A5B2-6946C9E60ED7}" presName="spaceBetweenRectangles" presStyleCnt="0"/>
      <dgm:spPr/>
    </dgm:pt>
    <dgm:pt modelId="{E772E3C6-EE9B-4B5B-A167-139885EC9979}" type="pres">
      <dgm:prSet presAssocID="{6843CFA4-2851-4865-99EF-B9CA13EE26C6}" presName="composite" presStyleCnt="0"/>
      <dgm:spPr/>
    </dgm:pt>
    <dgm:pt modelId="{75BCEBF7-241A-4BDF-A84C-41A2C3EA028A}" type="pres">
      <dgm:prSet presAssocID="{6843CFA4-2851-4865-99EF-B9CA13EE26C6}" presName="Parent1" presStyleLbl="node1" presStyleIdx="2" presStyleCnt="6">
        <dgm:presLayoutVars>
          <dgm:chMax val="1"/>
          <dgm:chPref val="1"/>
          <dgm:bulletEnabled val="1"/>
        </dgm:presLayoutVars>
      </dgm:prSet>
      <dgm:spPr/>
    </dgm:pt>
    <dgm:pt modelId="{94823CB8-36B1-4D56-8560-5561500A6390}" type="pres">
      <dgm:prSet presAssocID="{6843CFA4-2851-4865-99EF-B9CA13EE26C6}" presName="Childtext1" presStyleLbl="revTx" presStyleIdx="1" presStyleCnt="3">
        <dgm:presLayoutVars>
          <dgm:chMax val="0"/>
          <dgm:chPref val="0"/>
          <dgm:bulletEnabled val="1"/>
        </dgm:presLayoutVars>
      </dgm:prSet>
      <dgm:spPr/>
    </dgm:pt>
    <dgm:pt modelId="{54102F95-0A90-4CCB-9B9E-CBF7AD8E0942}" type="pres">
      <dgm:prSet presAssocID="{6843CFA4-2851-4865-99EF-B9CA13EE26C6}" presName="BalanceSpacing" presStyleCnt="0"/>
      <dgm:spPr/>
    </dgm:pt>
    <dgm:pt modelId="{7A4C3ADE-D7D3-438D-8022-D9F75F50C4DA}" type="pres">
      <dgm:prSet presAssocID="{6843CFA4-2851-4865-99EF-B9CA13EE26C6}" presName="BalanceSpacing1" presStyleCnt="0"/>
      <dgm:spPr/>
    </dgm:pt>
    <dgm:pt modelId="{9C92EB3A-14A5-4648-B82C-61D8363A2193}" type="pres">
      <dgm:prSet presAssocID="{FC656160-D0AC-4EBE-8AE4-D20646B29E4B}" presName="Accent1Text" presStyleLbl="node1" presStyleIdx="3" presStyleCnt="6"/>
      <dgm:spPr/>
    </dgm:pt>
    <dgm:pt modelId="{556145D3-800D-4FC4-A04A-B34DA5F46B58}" type="pres">
      <dgm:prSet presAssocID="{FC656160-D0AC-4EBE-8AE4-D20646B29E4B}" presName="spaceBetweenRectangles" presStyleCnt="0"/>
      <dgm:spPr/>
    </dgm:pt>
    <dgm:pt modelId="{86224AFB-A052-4FCE-87B1-1AAE5099C990}" type="pres">
      <dgm:prSet presAssocID="{F8C86F4D-7AE3-4D88-B381-270CAF72288F}" presName="composite" presStyleCnt="0"/>
      <dgm:spPr/>
    </dgm:pt>
    <dgm:pt modelId="{AD0F7EA5-CA24-4684-B074-CCB33A591F5C}" type="pres">
      <dgm:prSet presAssocID="{F8C86F4D-7AE3-4D88-B381-270CAF72288F}" presName="Parent1" presStyleLbl="node1" presStyleIdx="4" presStyleCnt="6">
        <dgm:presLayoutVars>
          <dgm:chMax val="1"/>
          <dgm:chPref val="1"/>
          <dgm:bulletEnabled val="1"/>
        </dgm:presLayoutVars>
      </dgm:prSet>
      <dgm:spPr/>
    </dgm:pt>
    <dgm:pt modelId="{1F5BF0BA-BFA1-450B-8FEC-4A1822145694}" type="pres">
      <dgm:prSet presAssocID="{F8C86F4D-7AE3-4D88-B381-270CAF72288F}" presName="Childtext1" presStyleLbl="revTx" presStyleIdx="2" presStyleCnt="3">
        <dgm:presLayoutVars>
          <dgm:chMax val="0"/>
          <dgm:chPref val="0"/>
          <dgm:bulletEnabled val="1"/>
        </dgm:presLayoutVars>
      </dgm:prSet>
      <dgm:spPr/>
    </dgm:pt>
    <dgm:pt modelId="{5C288433-2251-4A0A-A357-54016DC96D0E}" type="pres">
      <dgm:prSet presAssocID="{F8C86F4D-7AE3-4D88-B381-270CAF72288F}" presName="BalanceSpacing" presStyleCnt="0"/>
      <dgm:spPr/>
    </dgm:pt>
    <dgm:pt modelId="{31F7C056-CD2D-413A-85AD-330AB6912EDF}" type="pres">
      <dgm:prSet presAssocID="{F8C86F4D-7AE3-4D88-B381-270CAF72288F}" presName="BalanceSpacing1" presStyleCnt="0"/>
      <dgm:spPr/>
    </dgm:pt>
    <dgm:pt modelId="{3DC5FC81-7504-4671-AE29-062C3A5DF418}" type="pres">
      <dgm:prSet presAssocID="{DF933BBF-C0E1-4F4B-B2EF-EEA74E9C2DD1}" presName="Accent1Text" presStyleLbl="node1" presStyleIdx="5" presStyleCnt="6"/>
      <dgm:spPr/>
    </dgm:pt>
  </dgm:ptLst>
  <dgm:cxnLst>
    <dgm:cxn modelId="{522CC523-F6FD-43A0-81A6-A96261D9CD24}" srcId="{AE18218E-2715-45BF-9C05-1AD01FEEF343}" destId="{A296F75D-3829-4177-9A69-859438913439}" srcOrd="0" destOrd="0" parTransId="{3C70DD1F-31AA-4F20-8B02-84083DB51FF0}" sibTransId="{76E90BB1-D285-4437-A5B2-6946C9E60ED7}"/>
    <dgm:cxn modelId="{879D6B37-3361-4CBA-A12B-8BB871B53000}" type="presOf" srcId="{A296F75D-3829-4177-9A69-859438913439}" destId="{DBEE3F0C-A182-4DB8-88F1-84192B3351AD}" srcOrd="0" destOrd="0" presId="urn:microsoft.com/office/officeart/2008/layout/AlternatingHexagons"/>
    <dgm:cxn modelId="{E03FA266-144D-48A4-B071-A3C15577FECE}" type="presOf" srcId="{F8C86F4D-7AE3-4D88-B381-270CAF72288F}" destId="{AD0F7EA5-CA24-4684-B074-CCB33A591F5C}" srcOrd="0" destOrd="0" presId="urn:microsoft.com/office/officeart/2008/layout/AlternatingHexagons"/>
    <dgm:cxn modelId="{4F235291-CDC4-4E2A-97C2-B3C46858ADC1}" type="presOf" srcId="{AE18218E-2715-45BF-9C05-1AD01FEEF343}" destId="{4AE4BF9C-E378-4742-9B2A-CBCFB1F70938}" srcOrd="0" destOrd="0" presId="urn:microsoft.com/office/officeart/2008/layout/AlternatingHexagons"/>
    <dgm:cxn modelId="{FABBA493-DFEF-46DA-91A8-680CD1FDE53B}" type="presOf" srcId="{6843CFA4-2851-4865-99EF-B9CA13EE26C6}" destId="{75BCEBF7-241A-4BDF-A84C-41A2C3EA028A}" srcOrd="0" destOrd="0" presId="urn:microsoft.com/office/officeart/2008/layout/AlternatingHexagons"/>
    <dgm:cxn modelId="{49CCEC94-D4B3-43D1-A4E9-12497591402E}" srcId="{AE18218E-2715-45BF-9C05-1AD01FEEF343}" destId="{F8C86F4D-7AE3-4D88-B381-270CAF72288F}" srcOrd="2" destOrd="0" parTransId="{1FC2357A-16CF-4DF5-852D-6776B314B56F}" sibTransId="{DF933BBF-C0E1-4F4B-B2EF-EEA74E9C2DD1}"/>
    <dgm:cxn modelId="{C81193BB-AFE3-43FA-860D-BF88587F5821}" type="presOf" srcId="{DF933BBF-C0E1-4F4B-B2EF-EEA74E9C2DD1}" destId="{3DC5FC81-7504-4671-AE29-062C3A5DF418}" srcOrd="0" destOrd="0" presId="urn:microsoft.com/office/officeart/2008/layout/AlternatingHexagons"/>
    <dgm:cxn modelId="{F3DE17BF-F9B4-4192-920F-727D0EE8303D}" type="presOf" srcId="{76E90BB1-D285-4437-A5B2-6946C9E60ED7}" destId="{51EFE54E-4F8A-4655-8DE2-A4CF2EC60108}" srcOrd="0" destOrd="0" presId="urn:microsoft.com/office/officeart/2008/layout/AlternatingHexagons"/>
    <dgm:cxn modelId="{292C08C4-CB50-484D-8628-50D7B9E3F781}" type="presOf" srcId="{FC656160-D0AC-4EBE-8AE4-D20646B29E4B}" destId="{9C92EB3A-14A5-4648-B82C-61D8363A2193}" srcOrd="0" destOrd="0" presId="urn:microsoft.com/office/officeart/2008/layout/AlternatingHexagons"/>
    <dgm:cxn modelId="{16BBAFC6-BC9B-4692-9DFB-5651F49C3020}" srcId="{AE18218E-2715-45BF-9C05-1AD01FEEF343}" destId="{6843CFA4-2851-4865-99EF-B9CA13EE26C6}" srcOrd="1" destOrd="0" parTransId="{4A56AC7C-8105-4AF8-A646-9527DD32417E}" sibTransId="{FC656160-D0AC-4EBE-8AE4-D20646B29E4B}"/>
    <dgm:cxn modelId="{2182FD8A-0BBC-46EB-9CF5-D3EDFB565702}" type="presParOf" srcId="{4AE4BF9C-E378-4742-9B2A-CBCFB1F70938}" destId="{57F26399-E8D4-4868-BD69-F0BD9FE318CB}" srcOrd="0" destOrd="0" presId="urn:microsoft.com/office/officeart/2008/layout/AlternatingHexagons"/>
    <dgm:cxn modelId="{0E3C9E4B-7694-4B1F-83EA-76B4259A9436}" type="presParOf" srcId="{57F26399-E8D4-4868-BD69-F0BD9FE318CB}" destId="{DBEE3F0C-A182-4DB8-88F1-84192B3351AD}" srcOrd="0" destOrd="0" presId="urn:microsoft.com/office/officeart/2008/layout/AlternatingHexagons"/>
    <dgm:cxn modelId="{1BD5E720-4B9D-4697-8AE1-68DC03F3E99A}" type="presParOf" srcId="{57F26399-E8D4-4868-BD69-F0BD9FE318CB}" destId="{094E4B72-C355-4223-9300-AF1D5F05D698}" srcOrd="1" destOrd="0" presId="urn:microsoft.com/office/officeart/2008/layout/AlternatingHexagons"/>
    <dgm:cxn modelId="{3D73124F-B792-4B0B-857B-1EA7EC12FF61}" type="presParOf" srcId="{57F26399-E8D4-4868-BD69-F0BD9FE318CB}" destId="{E024CA23-9428-4019-927D-581EDAC536F4}" srcOrd="2" destOrd="0" presId="urn:microsoft.com/office/officeart/2008/layout/AlternatingHexagons"/>
    <dgm:cxn modelId="{2CE18C98-9384-4A3C-AC8E-726255DE2764}" type="presParOf" srcId="{57F26399-E8D4-4868-BD69-F0BD9FE318CB}" destId="{8D605173-E329-40A8-BC33-ACD91E9DDB77}" srcOrd="3" destOrd="0" presId="urn:microsoft.com/office/officeart/2008/layout/AlternatingHexagons"/>
    <dgm:cxn modelId="{4EBC97D7-268C-445C-B96F-50D1676BF31E}" type="presParOf" srcId="{57F26399-E8D4-4868-BD69-F0BD9FE318CB}" destId="{51EFE54E-4F8A-4655-8DE2-A4CF2EC60108}" srcOrd="4" destOrd="0" presId="urn:microsoft.com/office/officeart/2008/layout/AlternatingHexagons"/>
    <dgm:cxn modelId="{FC890001-1545-44C0-A55D-E9294DD9218B}" type="presParOf" srcId="{4AE4BF9C-E378-4742-9B2A-CBCFB1F70938}" destId="{BD1C9B40-3710-4B45-8BEC-05C514931913}" srcOrd="1" destOrd="0" presId="urn:microsoft.com/office/officeart/2008/layout/AlternatingHexagons"/>
    <dgm:cxn modelId="{3376089C-A947-44F7-AE90-E19B0569C721}" type="presParOf" srcId="{4AE4BF9C-E378-4742-9B2A-CBCFB1F70938}" destId="{E772E3C6-EE9B-4B5B-A167-139885EC9979}" srcOrd="2" destOrd="0" presId="urn:microsoft.com/office/officeart/2008/layout/AlternatingHexagons"/>
    <dgm:cxn modelId="{A844E93A-A896-4AD1-8F06-0E61D96152BE}" type="presParOf" srcId="{E772E3C6-EE9B-4B5B-A167-139885EC9979}" destId="{75BCEBF7-241A-4BDF-A84C-41A2C3EA028A}" srcOrd="0" destOrd="0" presId="urn:microsoft.com/office/officeart/2008/layout/AlternatingHexagons"/>
    <dgm:cxn modelId="{1118CD59-0D87-4B4B-8DD0-0793B33C0684}" type="presParOf" srcId="{E772E3C6-EE9B-4B5B-A167-139885EC9979}" destId="{94823CB8-36B1-4D56-8560-5561500A6390}" srcOrd="1" destOrd="0" presId="urn:microsoft.com/office/officeart/2008/layout/AlternatingHexagons"/>
    <dgm:cxn modelId="{53BAAF26-1CE4-469D-98EF-706CEC9C3A4A}" type="presParOf" srcId="{E772E3C6-EE9B-4B5B-A167-139885EC9979}" destId="{54102F95-0A90-4CCB-9B9E-CBF7AD8E0942}" srcOrd="2" destOrd="0" presId="urn:microsoft.com/office/officeart/2008/layout/AlternatingHexagons"/>
    <dgm:cxn modelId="{75E1C3B4-800A-4680-97E9-BA8F686C7C1B}" type="presParOf" srcId="{E772E3C6-EE9B-4B5B-A167-139885EC9979}" destId="{7A4C3ADE-D7D3-438D-8022-D9F75F50C4DA}" srcOrd="3" destOrd="0" presId="urn:microsoft.com/office/officeart/2008/layout/AlternatingHexagons"/>
    <dgm:cxn modelId="{3088F8C2-9227-4453-812B-D6BD39FC63E8}" type="presParOf" srcId="{E772E3C6-EE9B-4B5B-A167-139885EC9979}" destId="{9C92EB3A-14A5-4648-B82C-61D8363A2193}" srcOrd="4" destOrd="0" presId="urn:microsoft.com/office/officeart/2008/layout/AlternatingHexagons"/>
    <dgm:cxn modelId="{1B8DC531-AB1D-42C8-8B45-9B7649DA838D}" type="presParOf" srcId="{4AE4BF9C-E378-4742-9B2A-CBCFB1F70938}" destId="{556145D3-800D-4FC4-A04A-B34DA5F46B58}" srcOrd="3" destOrd="0" presId="urn:microsoft.com/office/officeart/2008/layout/AlternatingHexagons"/>
    <dgm:cxn modelId="{81E0D787-E3F3-41DA-9695-16DA43D2F470}" type="presParOf" srcId="{4AE4BF9C-E378-4742-9B2A-CBCFB1F70938}" destId="{86224AFB-A052-4FCE-87B1-1AAE5099C990}" srcOrd="4" destOrd="0" presId="urn:microsoft.com/office/officeart/2008/layout/AlternatingHexagons"/>
    <dgm:cxn modelId="{0EB7A22F-EEAB-465E-8C26-1F507C6F9FEA}" type="presParOf" srcId="{86224AFB-A052-4FCE-87B1-1AAE5099C990}" destId="{AD0F7EA5-CA24-4684-B074-CCB33A591F5C}" srcOrd="0" destOrd="0" presId="urn:microsoft.com/office/officeart/2008/layout/AlternatingHexagons"/>
    <dgm:cxn modelId="{378BF582-C785-4214-8ACD-810F2FDEE8C9}" type="presParOf" srcId="{86224AFB-A052-4FCE-87B1-1AAE5099C990}" destId="{1F5BF0BA-BFA1-450B-8FEC-4A1822145694}" srcOrd="1" destOrd="0" presId="urn:microsoft.com/office/officeart/2008/layout/AlternatingHexagons"/>
    <dgm:cxn modelId="{5D5B72D6-7693-4D90-8916-814668EA2109}" type="presParOf" srcId="{86224AFB-A052-4FCE-87B1-1AAE5099C990}" destId="{5C288433-2251-4A0A-A357-54016DC96D0E}" srcOrd="2" destOrd="0" presId="urn:microsoft.com/office/officeart/2008/layout/AlternatingHexagons"/>
    <dgm:cxn modelId="{59344ED9-981B-4376-A648-DC669411A875}" type="presParOf" srcId="{86224AFB-A052-4FCE-87B1-1AAE5099C990}" destId="{31F7C056-CD2D-413A-85AD-330AB6912EDF}" srcOrd="3" destOrd="0" presId="urn:microsoft.com/office/officeart/2008/layout/AlternatingHexagons"/>
    <dgm:cxn modelId="{36DE03BB-311F-447C-A32D-63B7D6E71A0D}" type="presParOf" srcId="{86224AFB-A052-4FCE-87B1-1AAE5099C990}" destId="{3DC5FC81-7504-4671-AE29-062C3A5DF418}" srcOrd="4" destOrd="0" presId="urn:microsoft.com/office/officeart/2008/layout/AlternatingHexagons"/>
  </dgm:cxnLst>
  <dgm:bg/>
  <dgm:whole/>
  <dgm:extLst>
    <a:ext uri="http://schemas.microsoft.com/office/drawing/2008/diagram">
      <dsp:dataModelExt xmlns:dsp="http://schemas.microsoft.com/office/drawing/2008/diagram" relId="rId17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956045F5-B270-4A57-8097-B3DE3361806F}" type="doc">
      <dgm:prSet loTypeId="urn:microsoft.com/office/officeart/2005/8/layout/funnel1" loCatId="process" qsTypeId="urn:microsoft.com/office/officeart/2005/8/quickstyle/simple1" qsCatId="simple" csTypeId="urn:microsoft.com/office/officeart/2005/8/colors/colorful3" csCatId="colorful" phldr="1"/>
      <dgm:spPr/>
      <dgm:t>
        <a:bodyPr/>
        <a:lstStyle/>
        <a:p>
          <a:endParaRPr lang="de-DE"/>
        </a:p>
      </dgm:t>
    </dgm:pt>
    <dgm:pt modelId="{83E5054D-73A0-4E1A-ADE2-D45C0B8DB4D6}">
      <dgm:prSet phldrT="[Text]"/>
      <dgm:spPr>
        <a:solidFill>
          <a:schemeClr val="accent1"/>
        </a:solidFill>
      </dgm:spPr>
      <dgm:t>
        <a:bodyPr/>
        <a:lstStyle/>
        <a:p>
          <a:r>
            <a:rPr lang="de-DE" dirty="0"/>
            <a:t> </a:t>
          </a:r>
        </a:p>
      </dgm:t>
    </dgm:pt>
    <dgm:pt modelId="{7DDD60A7-2969-4C76-B081-4034CA59F6D3}" type="parTrans" cxnId="{971721AF-E759-4A56-8A25-9313AE488B12}">
      <dgm:prSet/>
      <dgm:spPr/>
      <dgm:t>
        <a:bodyPr/>
        <a:lstStyle/>
        <a:p>
          <a:endParaRPr lang="de-DE"/>
        </a:p>
      </dgm:t>
    </dgm:pt>
    <dgm:pt modelId="{FE815010-9B7A-4CF0-A5F9-9E856161A9B6}" type="sibTrans" cxnId="{971721AF-E759-4A56-8A25-9313AE488B12}">
      <dgm:prSet/>
      <dgm:spPr/>
      <dgm:t>
        <a:bodyPr/>
        <a:lstStyle/>
        <a:p>
          <a:endParaRPr lang="de-DE"/>
        </a:p>
      </dgm:t>
    </dgm:pt>
    <dgm:pt modelId="{B35681FB-BC49-47C3-8F56-943927A092A8}">
      <dgm:prSet phldrT="[Text]"/>
      <dgm:spPr>
        <a:solidFill>
          <a:schemeClr val="accent6">
            <a:lumMod val="75000"/>
          </a:schemeClr>
        </a:solidFill>
      </dgm:spPr>
      <dgm:t>
        <a:bodyPr/>
        <a:lstStyle/>
        <a:p>
          <a:r>
            <a:rPr lang="de-DE" dirty="0"/>
            <a:t> </a:t>
          </a:r>
        </a:p>
      </dgm:t>
    </dgm:pt>
    <dgm:pt modelId="{9818ED01-2F20-4B0E-915A-261E5C673CF4}" type="parTrans" cxnId="{DD79977C-31EF-494E-B59D-E19FA9FBE002}">
      <dgm:prSet/>
      <dgm:spPr/>
      <dgm:t>
        <a:bodyPr/>
        <a:lstStyle/>
        <a:p>
          <a:endParaRPr lang="de-DE"/>
        </a:p>
      </dgm:t>
    </dgm:pt>
    <dgm:pt modelId="{B4C35881-0E9E-424D-9D7D-976F5875A9FA}" type="sibTrans" cxnId="{DD79977C-31EF-494E-B59D-E19FA9FBE002}">
      <dgm:prSet/>
      <dgm:spPr/>
      <dgm:t>
        <a:bodyPr/>
        <a:lstStyle/>
        <a:p>
          <a:endParaRPr lang="de-DE"/>
        </a:p>
      </dgm:t>
    </dgm:pt>
    <dgm:pt modelId="{1C33E357-21E9-4EB4-8009-2E8B49B9116F}">
      <dgm:prSet phldrT="[Text]"/>
      <dgm:spPr/>
      <dgm:t>
        <a:bodyPr/>
        <a:lstStyle/>
        <a:p>
          <a:r>
            <a:rPr lang="de-DE" dirty="0"/>
            <a:t> </a:t>
          </a:r>
        </a:p>
      </dgm:t>
    </dgm:pt>
    <dgm:pt modelId="{E396F0DA-ABB9-4078-ABD7-643791226604}" type="parTrans" cxnId="{7E080D06-F4AD-4234-AE97-332838ACF77A}">
      <dgm:prSet/>
      <dgm:spPr/>
      <dgm:t>
        <a:bodyPr/>
        <a:lstStyle/>
        <a:p>
          <a:endParaRPr lang="de-DE"/>
        </a:p>
      </dgm:t>
    </dgm:pt>
    <dgm:pt modelId="{D675AA85-BFE5-4D90-B383-D7870B79C29D}" type="sibTrans" cxnId="{7E080D06-F4AD-4234-AE97-332838ACF77A}">
      <dgm:prSet/>
      <dgm:spPr/>
      <dgm:t>
        <a:bodyPr/>
        <a:lstStyle/>
        <a:p>
          <a:endParaRPr lang="de-DE"/>
        </a:p>
      </dgm:t>
    </dgm:pt>
    <dgm:pt modelId="{4FEC6163-DCCB-40BE-8CF6-48669D0D4104}">
      <dgm:prSet phldrT="[Text]"/>
      <dgm:spPr/>
      <dgm:t>
        <a:bodyPr/>
        <a:lstStyle/>
        <a:p>
          <a:r>
            <a:rPr lang="de-DE" dirty="0"/>
            <a:t> </a:t>
          </a:r>
        </a:p>
      </dgm:t>
    </dgm:pt>
    <dgm:pt modelId="{F75A62DF-0AEE-4639-8321-A494BFC02BCB}" type="sibTrans" cxnId="{8C97ABCD-63BE-4979-9E55-DC9405619F83}">
      <dgm:prSet/>
      <dgm:spPr/>
      <dgm:t>
        <a:bodyPr/>
        <a:lstStyle/>
        <a:p>
          <a:endParaRPr lang="de-DE"/>
        </a:p>
      </dgm:t>
    </dgm:pt>
    <dgm:pt modelId="{B6665A20-D0AA-478F-953B-151EE4383CF2}" type="parTrans" cxnId="{8C97ABCD-63BE-4979-9E55-DC9405619F83}">
      <dgm:prSet/>
      <dgm:spPr/>
      <dgm:t>
        <a:bodyPr/>
        <a:lstStyle/>
        <a:p>
          <a:endParaRPr lang="de-DE"/>
        </a:p>
      </dgm:t>
    </dgm:pt>
    <dgm:pt modelId="{9F9600D8-CCDA-496F-B2BF-305518D42D22}" type="pres">
      <dgm:prSet presAssocID="{956045F5-B270-4A57-8097-B3DE3361806F}" presName="Name0" presStyleCnt="0">
        <dgm:presLayoutVars>
          <dgm:chMax val="4"/>
          <dgm:resizeHandles val="exact"/>
        </dgm:presLayoutVars>
      </dgm:prSet>
      <dgm:spPr/>
    </dgm:pt>
    <dgm:pt modelId="{4FDF6208-B79B-4717-88AF-3773CD799B70}" type="pres">
      <dgm:prSet presAssocID="{956045F5-B270-4A57-8097-B3DE3361806F}" presName="ellipse" presStyleLbl="trBgShp" presStyleIdx="0" presStyleCnt="1"/>
      <dgm:spPr/>
    </dgm:pt>
    <dgm:pt modelId="{C5AE362C-66B1-4140-ACB2-658D922C3DE7}" type="pres">
      <dgm:prSet presAssocID="{956045F5-B270-4A57-8097-B3DE3361806F}" presName="arrow1" presStyleLbl="fgShp" presStyleIdx="0" presStyleCnt="1"/>
      <dgm:spPr/>
    </dgm:pt>
    <dgm:pt modelId="{442A2A2D-9C46-4FDC-A7BD-762E3C38518D}" type="pres">
      <dgm:prSet presAssocID="{956045F5-B270-4A57-8097-B3DE3361806F}" presName="rectangle" presStyleLbl="revTx" presStyleIdx="0" presStyleCnt="1">
        <dgm:presLayoutVars>
          <dgm:bulletEnabled val="1"/>
        </dgm:presLayoutVars>
      </dgm:prSet>
      <dgm:spPr/>
    </dgm:pt>
    <dgm:pt modelId="{DEAF7A31-8611-4BDC-BB0C-89EAA7C7BF51}" type="pres">
      <dgm:prSet presAssocID="{B35681FB-BC49-47C3-8F56-943927A092A8}" presName="item1" presStyleLbl="node1" presStyleIdx="0" presStyleCnt="3">
        <dgm:presLayoutVars>
          <dgm:bulletEnabled val="1"/>
        </dgm:presLayoutVars>
      </dgm:prSet>
      <dgm:spPr/>
    </dgm:pt>
    <dgm:pt modelId="{1F6FE032-88A3-4A37-8608-48A7A636C90D}" type="pres">
      <dgm:prSet presAssocID="{1C33E357-21E9-4EB4-8009-2E8B49B9116F}" presName="item2" presStyleLbl="node1" presStyleIdx="1" presStyleCnt="3">
        <dgm:presLayoutVars>
          <dgm:bulletEnabled val="1"/>
        </dgm:presLayoutVars>
      </dgm:prSet>
      <dgm:spPr/>
    </dgm:pt>
    <dgm:pt modelId="{851B4B55-BC21-4159-8FD1-C28AC0E36A46}" type="pres">
      <dgm:prSet presAssocID="{4FEC6163-DCCB-40BE-8CF6-48669D0D4104}" presName="item3" presStyleLbl="node1" presStyleIdx="2" presStyleCnt="3">
        <dgm:presLayoutVars>
          <dgm:bulletEnabled val="1"/>
        </dgm:presLayoutVars>
      </dgm:prSet>
      <dgm:spPr/>
    </dgm:pt>
    <dgm:pt modelId="{CFC0DDF1-D605-4830-BF33-DB50414C2A61}" type="pres">
      <dgm:prSet presAssocID="{956045F5-B270-4A57-8097-B3DE3361806F}" presName="funnel" presStyleLbl="trAlignAcc1" presStyleIdx="0" presStyleCnt="1" custLinFactNeighborX="0" custLinFactNeighborY="-893"/>
      <dgm:spPr/>
    </dgm:pt>
  </dgm:ptLst>
  <dgm:cxnLst>
    <dgm:cxn modelId="{7E080D06-F4AD-4234-AE97-332838ACF77A}" srcId="{956045F5-B270-4A57-8097-B3DE3361806F}" destId="{1C33E357-21E9-4EB4-8009-2E8B49B9116F}" srcOrd="2" destOrd="0" parTransId="{E396F0DA-ABB9-4078-ABD7-643791226604}" sibTransId="{D675AA85-BFE5-4D90-B383-D7870B79C29D}"/>
    <dgm:cxn modelId="{A888870C-75CC-4854-92E2-D4F68B0F6C75}" type="presOf" srcId="{956045F5-B270-4A57-8097-B3DE3361806F}" destId="{9F9600D8-CCDA-496F-B2BF-305518D42D22}" srcOrd="0" destOrd="0" presId="urn:microsoft.com/office/officeart/2005/8/layout/funnel1"/>
    <dgm:cxn modelId="{CCBDE620-01E1-4E13-911F-DB4D9D624823}" type="presOf" srcId="{1C33E357-21E9-4EB4-8009-2E8B49B9116F}" destId="{DEAF7A31-8611-4BDC-BB0C-89EAA7C7BF51}" srcOrd="0" destOrd="0" presId="urn:microsoft.com/office/officeart/2005/8/layout/funnel1"/>
    <dgm:cxn modelId="{9F8C933B-C062-4FAB-BB54-A3EB8728E1FE}" type="presOf" srcId="{83E5054D-73A0-4E1A-ADE2-D45C0B8DB4D6}" destId="{851B4B55-BC21-4159-8FD1-C28AC0E36A46}" srcOrd="0" destOrd="0" presId="urn:microsoft.com/office/officeart/2005/8/layout/funnel1"/>
    <dgm:cxn modelId="{0A957C59-FE5B-43E6-9C2D-2B6F8961C214}" type="presOf" srcId="{4FEC6163-DCCB-40BE-8CF6-48669D0D4104}" destId="{442A2A2D-9C46-4FDC-A7BD-762E3C38518D}" srcOrd="0" destOrd="0" presId="urn:microsoft.com/office/officeart/2005/8/layout/funnel1"/>
    <dgm:cxn modelId="{DD79977C-31EF-494E-B59D-E19FA9FBE002}" srcId="{956045F5-B270-4A57-8097-B3DE3361806F}" destId="{B35681FB-BC49-47C3-8F56-943927A092A8}" srcOrd="1" destOrd="0" parTransId="{9818ED01-2F20-4B0E-915A-261E5C673CF4}" sibTransId="{B4C35881-0E9E-424D-9D7D-976F5875A9FA}"/>
    <dgm:cxn modelId="{971721AF-E759-4A56-8A25-9313AE488B12}" srcId="{956045F5-B270-4A57-8097-B3DE3361806F}" destId="{83E5054D-73A0-4E1A-ADE2-D45C0B8DB4D6}" srcOrd="0" destOrd="0" parTransId="{7DDD60A7-2969-4C76-B081-4034CA59F6D3}" sibTransId="{FE815010-9B7A-4CF0-A5F9-9E856161A9B6}"/>
    <dgm:cxn modelId="{8C97ABCD-63BE-4979-9E55-DC9405619F83}" srcId="{956045F5-B270-4A57-8097-B3DE3361806F}" destId="{4FEC6163-DCCB-40BE-8CF6-48669D0D4104}" srcOrd="3" destOrd="0" parTransId="{B6665A20-D0AA-478F-953B-151EE4383CF2}" sibTransId="{F75A62DF-0AEE-4639-8321-A494BFC02BCB}"/>
    <dgm:cxn modelId="{FDF007F0-7A37-4B13-87A6-9CB976CB6815}" type="presOf" srcId="{B35681FB-BC49-47C3-8F56-943927A092A8}" destId="{1F6FE032-88A3-4A37-8608-48A7A636C90D}" srcOrd="0" destOrd="0" presId="urn:microsoft.com/office/officeart/2005/8/layout/funnel1"/>
    <dgm:cxn modelId="{385F2A8E-C7C0-4FAC-AAC7-EE887DCA0D58}" type="presParOf" srcId="{9F9600D8-CCDA-496F-B2BF-305518D42D22}" destId="{4FDF6208-B79B-4717-88AF-3773CD799B70}" srcOrd="0" destOrd="0" presId="urn:microsoft.com/office/officeart/2005/8/layout/funnel1"/>
    <dgm:cxn modelId="{4CB768B4-BE77-438C-BE90-D2C049D15FAD}" type="presParOf" srcId="{9F9600D8-CCDA-496F-B2BF-305518D42D22}" destId="{C5AE362C-66B1-4140-ACB2-658D922C3DE7}" srcOrd="1" destOrd="0" presId="urn:microsoft.com/office/officeart/2005/8/layout/funnel1"/>
    <dgm:cxn modelId="{71E312C8-9AE0-4BF9-A09A-9096335BBC55}" type="presParOf" srcId="{9F9600D8-CCDA-496F-B2BF-305518D42D22}" destId="{442A2A2D-9C46-4FDC-A7BD-762E3C38518D}" srcOrd="2" destOrd="0" presId="urn:microsoft.com/office/officeart/2005/8/layout/funnel1"/>
    <dgm:cxn modelId="{13F0E623-0D27-4749-ADFE-2C38EAB49B21}" type="presParOf" srcId="{9F9600D8-CCDA-496F-B2BF-305518D42D22}" destId="{DEAF7A31-8611-4BDC-BB0C-89EAA7C7BF51}" srcOrd="3" destOrd="0" presId="urn:microsoft.com/office/officeart/2005/8/layout/funnel1"/>
    <dgm:cxn modelId="{59A85366-3EBD-4B36-AE13-28C12B57E85B}" type="presParOf" srcId="{9F9600D8-CCDA-496F-B2BF-305518D42D22}" destId="{1F6FE032-88A3-4A37-8608-48A7A636C90D}" srcOrd="4" destOrd="0" presId="urn:microsoft.com/office/officeart/2005/8/layout/funnel1"/>
    <dgm:cxn modelId="{4931075C-F50D-4123-BDAE-28707AAD9A93}" type="presParOf" srcId="{9F9600D8-CCDA-496F-B2BF-305518D42D22}" destId="{851B4B55-BC21-4159-8FD1-C28AC0E36A46}" srcOrd="5" destOrd="0" presId="urn:microsoft.com/office/officeart/2005/8/layout/funnel1"/>
    <dgm:cxn modelId="{32B88D2F-B25F-4ED3-83A7-4FE5A2840A8B}" type="presParOf" srcId="{9F9600D8-CCDA-496F-B2BF-305518D42D22}" destId="{CFC0DDF1-D605-4830-BF33-DB50414C2A61}" srcOrd="6" destOrd="0" presId="urn:microsoft.com/office/officeart/2005/8/layout/funnel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9EB3761F-287D-4C70-BD3A-C87686A023FA}" type="doc">
      <dgm:prSet loTypeId="urn:microsoft.com/office/officeart/2005/8/layout/hList6" loCatId="list" qsTypeId="urn:microsoft.com/office/officeart/2005/8/quickstyle/simple1" qsCatId="simple" csTypeId="urn:microsoft.com/office/officeart/2005/8/colors/accent3_3" csCatId="accent3" phldr="1"/>
      <dgm:spPr/>
      <dgm:t>
        <a:bodyPr/>
        <a:lstStyle/>
        <a:p>
          <a:endParaRPr lang="de-DE"/>
        </a:p>
      </dgm:t>
    </dgm:pt>
    <dgm:pt modelId="{1E3816CF-4CBB-4B3B-9187-18F373807C4C}">
      <dgm:prSet phldrT="[Text]"/>
      <dgm:spPr/>
      <dgm:t>
        <a:bodyPr/>
        <a:lstStyle/>
        <a:p>
          <a:r>
            <a:rPr lang="de-DE" b="1" dirty="0"/>
            <a:t>Verkehrspolitische Ziele erfordern eine Ausweitung der ÖPNV-Finanzierung</a:t>
          </a:r>
        </a:p>
      </dgm:t>
    </dgm:pt>
    <dgm:pt modelId="{EEC76F9D-4E36-4CD1-AE7A-E7C26DCDEBE5}" type="parTrans" cxnId="{17073CC0-AD39-4072-819E-0C6D6471830A}">
      <dgm:prSet/>
      <dgm:spPr/>
      <dgm:t>
        <a:bodyPr/>
        <a:lstStyle/>
        <a:p>
          <a:endParaRPr lang="de-DE"/>
        </a:p>
      </dgm:t>
    </dgm:pt>
    <dgm:pt modelId="{5F2B652C-4FC1-42EF-863C-1DC669FB001A}" type="sibTrans" cxnId="{17073CC0-AD39-4072-819E-0C6D6471830A}">
      <dgm:prSet/>
      <dgm:spPr/>
      <dgm:t>
        <a:bodyPr/>
        <a:lstStyle/>
        <a:p>
          <a:endParaRPr lang="de-DE"/>
        </a:p>
      </dgm:t>
    </dgm:pt>
    <dgm:pt modelId="{48AD4767-AA45-44B8-A6EA-861736610ED0}">
      <dgm:prSet phldrT="[Text]"/>
      <dgm:spPr/>
      <dgm:t>
        <a:bodyPr/>
        <a:lstStyle/>
        <a:p>
          <a:r>
            <a:rPr lang="de-DE" b="1" dirty="0"/>
            <a:t>Drittnutzerfinanzierungsansätze ermöglichen Beitrag zur ÖPNV-Finanzierung</a:t>
          </a:r>
        </a:p>
      </dgm:t>
    </dgm:pt>
    <dgm:pt modelId="{925B357A-6373-4FE8-8C41-DC6058419D78}" type="parTrans" cxnId="{8B386831-DE55-44BC-A2CC-E9A27616A647}">
      <dgm:prSet/>
      <dgm:spPr/>
      <dgm:t>
        <a:bodyPr/>
        <a:lstStyle/>
        <a:p>
          <a:endParaRPr lang="de-DE"/>
        </a:p>
      </dgm:t>
    </dgm:pt>
    <dgm:pt modelId="{73366AAA-41A7-4EE3-912F-5A4ABD21C1DF}" type="sibTrans" cxnId="{8B386831-DE55-44BC-A2CC-E9A27616A647}">
      <dgm:prSet/>
      <dgm:spPr/>
      <dgm:t>
        <a:bodyPr/>
        <a:lstStyle/>
        <a:p>
          <a:endParaRPr lang="de-DE"/>
        </a:p>
      </dgm:t>
    </dgm:pt>
    <dgm:pt modelId="{2E5FEDAB-145E-4876-85CA-765823B73401}">
      <dgm:prSet phldrT="[Text]"/>
      <dgm:spPr/>
      <dgm:t>
        <a:bodyPr/>
        <a:lstStyle/>
        <a:p>
          <a:r>
            <a:rPr lang="de-DE" b="1" dirty="0"/>
            <a:t>Umsetzung erfordert rechtliche Gestaltung auf Bundes-, Landes- und Kommunalebene</a:t>
          </a:r>
        </a:p>
      </dgm:t>
    </dgm:pt>
    <dgm:pt modelId="{E6580926-6B41-45DA-8257-11B204BE44AF}" type="parTrans" cxnId="{EFF00E2D-AEE3-48CA-9FCA-B456C725C3F1}">
      <dgm:prSet/>
      <dgm:spPr/>
      <dgm:t>
        <a:bodyPr/>
        <a:lstStyle/>
        <a:p>
          <a:endParaRPr lang="de-DE"/>
        </a:p>
      </dgm:t>
    </dgm:pt>
    <dgm:pt modelId="{7FF76EB0-613A-48D1-BBDB-F7D31CCFE3CD}" type="sibTrans" cxnId="{EFF00E2D-AEE3-48CA-9FCA-B456C725C3F1}">
      <dgm:prSet/>
      <dgm:spPr/>
      <dgm:t>
        <a:bodyPr/>
        <a:lstStyle/>
        <a:p>
          <a:endParaRPr lang="de-DE"/>
        </a:p>
      </dgm:t>
    </dgm:pt>
    <dgm:pt modelId="{9F16096E-61D6-453E-B85F-B60295E6D0D5}" type="pres">
      <dgm:prSet presAssocID="{9EB3761F-287D-4C70-BD3A-C87686A023FA}" presName="Name0" presStyleCnt="0">
        <dgm:presLayoutVars>
          <dgm:dir/>
          <dgm:resizeHandles val="exact"/>
        </dgm:presLayoutVars>
      </dgm:prSet>
      <dgm:spPr/>
    </dgm:pt>
    <dgm:pt modelId="{14C10011-838C-46DA-810A-D30CAFD4BAF6}" type="pres">
      <dgm:prSet presAssocID="{1E3816CF-4CBB-4B3B-9187-18F373807C4C}" presName="node" presStyleLbl="node1" presStyleIdx="0" presStyleCnt="3">
        <dgm:presLayoutVars>
          <dgm:bulletEnabled val="1"/>
        </dgm:presLayoutVars>
      </dgm:prSet>
      <dgm:spPr/>
    </dgm:pt>
    <dgm:pt modelId="{CF1B4690-C035-48A7-9F3B-8164CD17D9B3}" type="pres">
      <dgm:prSet presAssocID="{5F2B652C-4FC1-42EF-863C-1DC669FB001A}" presName="sibTrans" presStyleCnt="0"/>
      <dgm:spPr/>
    </dgm:pt>
    <dgm:pt modelId="{DC1C3611-84CD-4F00-92E8-2204D985E02B}" type="pres">
      <dgm:prSet presAssocID="{48AD4767-AA45-44B8-A6EA-861736610ED0}" presName="node" presStyleLbl="node1" presStyleIdx="1" presStyleCnt="3" custLinFactNeighborX="4344" custLinFactNeighborY="0">
        <dgm:presLayoutVars>
          <dgm:bulletEnabled val="1"/>
        </dgm:presLayoutVars>
      </dgm:prSet>
      <dgm:spPr/>
    </dgm:pt>
    <dgm:pt modelId="{CE8B181C-C5D1-48EC-A906-BCD21729604F}" type="pres">
      <dgm:prSet presAssocID="{73366AAA-41A7-4EE3-912F-5A4ABD21C1DF}" presName="sibTrans" presStyleCnt="0"/>
      <dgm:spPr/>
    </dgm:pt>
    <dgm:pt modelId="{63FD03BF-F996-491E-813D-D5AA3DB4A566}" type="pres">
      <dgm:prSet presAssocID="{2E5FEDAB-145E-4876-85CA-765823B73401}" presName="node" presStyleLbl="node1" presStyleIdx="2" presStyleCnt="3" custLinFactNeighborX="513">
        <dgm:presLayoutVars>
          <dgm:bulletEnabled val="1"/>
        </dgm:presLayoutVars>
      </dgm:prSet>
      <dgm:spPr/>
    </dgm:pt>
  </dgm:ptLst>
  <dgm:cxnLst>
    <dgm:cxn modelId="{10136F06-D302-43B6-AD33-5A129B4CEE21}" type="presOf" srcId="{1E3816CF-4CBB-4B3B-9187-18F373807C4C}" destId="{14C10011-838C-46DA-810A-D30CAFD4BAF6}" srcOrd="0" destOrd="0" presId="urn:microsoft.com/office/officeart/2005/8/layout/hList6"/>
    <dgm:cxn modelId="{EFF00E2D-AEE3-48CA-9FCA-B456C725C3F1}" srcId="{9EB3761F-287D-4C70-BD3A-C87686A023FA}" destId="{2E5FEDAB-145E-4876-85CA-765823B73401}" srcOrd="2" destOrd="0" parTransId="{E6580926-6B41-45DA-8257-11B204BE44AF}" sibTransId="{7FF76EB0-613A-48D1-BBDB-F7D31CCFE3CD}"/>
    <dgm:cxn modelId="{8B386831-DE55-44BC-A2CC-E9A27616A647}" srcId="{9EB3761F-287D-4C70-BD3A-C87686A023FA}" destId="{48AD4767-AA45-44B8-A6EA-861736610ED0}" srcOrd="1" destOrd="0" parTransId="{925B357A-6373-4FE8-8C41-DC6058419D78}" sibTransId="{73366AAA-41A7-4EE3-912F-5A4ABD21C1DF}"/>
    <dgm:cxn modelId="{1538FE7B-667F-46C2-94F6-6114CA1AB9D7}" type="presOf" srcId="{2E5FEDAB-145E-4876-85CA-765823B73401}" destId="{63FD03BF-F996-491E-813D-D5AA3DB4A566}" srcOrd="0" destOrd="0" presId="urn:microsoft.com/office/officeart/2005/8/layout/hList6"/>
    <dgm:cxn modelId="{B68B8EB5-273A-4429-B7EC-E65D5418F77C}" type="presOf" srcId="{48AD4767-AA45-44B8-A6EA-861736610ED0}" destId="{DC1C3611-84CD-4F00-92E8-2204D985E02B}" srcOrd="0" destOrd="0" presId="urn:microsoft.com/office/officeart/2005/8/layout/hList6"/>
    <dgm:cxn modelId="{17073CC0-AD39-4072-819E-0C6D6471830A}" srcId="{9EB3761F-287D-4C70-BD3A-C87686A023FA}" destId="{1E3816CF-4CBB-4B3B-9187-18F373807C4C}" srcOrd="0" destOrd="0" parTransId="{EEC76F9D-4E36-4CD1-AE7A-E7C26DCDEBE5}" sibTransId="{5F2B652C-4FC1-42EF-863C-1DC669FB001A}"/>
    <dgm:cxn modelId="{5309F9C5-D5BC-4870-B082-20C5AD19998F}" type="presOf" srcId="{9EB3761F-287D-4C70-BD3A-C87686A023FA}" destId="{9F16096E-61D6-453E-B85F-B60295E6D0D5}" srcOrd="0" destOrd="0" presId="urn:microsoft.com/office/officeart/2005/8/layout/hList6"/>
    <dgm:cxn modelId="{7AA75553-F86C-437C-8B66-55E89ADC8979}" type="presParOf" srcId="{9F16096E-61D6-453E-B85F-B60295E6D0D5}" destId="{14C10011-838C-46DA-810A-D30CAFD4BAF6}" srcOrd="0" destOrd="0" presId="urn:microsoft.com/office/officeart/2005/8/layout/hList6"/>
    <dgm:cxn modelId="{5FD65F5C-2FCC-4474-8111-F3990EFD7419}" type="presParOf" srcId="{9F16096E-61D6-453E-B85F-B60295E6D0D5}" destId="{CF1B4690-C035-48A7-9F3B-8164CD17D9B3}" srcOrd="1" destOrd="0" presId="urn:microsoft.com/office/officeart/2005/8/layout/hList6"/>
    <dgm:cxn modelId="{FAF559A0-F479-4D20-AE01-C1A1448A19C0}" type="presParOf" srcId="{9F16096E-61D6-453E-B85F-B60295E6D0D5}" destId="{DC1C3611-84CD-4F00-92E8-2204D985E02B}" srcOrd="2" destOrd="0" presId="urn:microsoft.com/office/officeart/2005/8/layout/hList6"/>
    <dgm:cxn modelId="{76CFA9D0-C465-4FE9-817E-C8434CC06E2B}" type="presParOf" srcId="{9F16096E-61D6-453E-B85F-B60295E6D0D5}" destId="{CE8B181C-C5D1-48EC-A906-BCD21729604F}" srcOrd="3" destOrd="0" presId="urn:microsoft.com/office/officeart/2005/8/layout/hList6"/>
    <dgm:cxn modelId="{2CC5EDDB-BA69-4402-AB05-C4D2444B7C9C}" type="presParOf" srcId="{9F16096E-61D6-453E-B85F-B60295E6D0D5}" destId="{63FD03BF-F996-491E-813D-D5AA3DB4A566}" srcOrd="4" destOrd="0" presId="urn:microsoft.com/office/officeart/2005/8/layout/hList6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B61B5F7-1AED-4255-8530-C5EDF7B937C1}">
      <dsp:nvSpPr>
        <dsp:cNvPr id="0" name=""/>
        <dsp:cNvSpPr/>
      </dsp:nvSpPr>
      <dsp:spPr>
        <a:xfrm>
          <a:off x="2646618" y="0"/>
          <a:ext cx="2289236" cy="2289585"/>
        </a:xfrm>
        <a:prstGeom prst="circularArrow">
          <a:avLst>
            <a:gd name="adj1" fmla="val 10980"/>
            <a:gd name="adj2" fmla="val 1142322"/>
            <a:gd name="adj3" fmla="val 4500000"/>
            <a:gd name="adj4" fmla="val 10800000"/>
            <a:gd name="adj5" fmla="val 12500"/>
          </a:avLst>
        </a:prstGeom>
        <a:solidFill>
          <a:schemeClr val="accent1"/>
        </a:solidFill>
        <a:ln w="12700" cap="flat" cmpd="sng" algn="ctr">
          <a:solidFill>
            <a:schemeClr val="accent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5D6FBF5-5D6E-416E-BC0A-44D0E9190AD2}">
      <dsp:nvSpPr>
        <dsp:cNvPr id="0" name=""/>
        <dsp:cNvSpPr/>
      </dsp:nvSpPr>
      <dsp:spPr>
        <a:xfrm>
          <a:off x="3152614" y="826609"/>
          <a:ext cx="1272084" cy="63589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200" b="1" kern="1200" dirty="0"/>
            <a:t>Ermittlung Finanzierungs-bedarf</a:t>
          </a:r>
        </a:p>
      </dsp:txBody>
      <dsp:txXfrm>
        <a:off x="3152614" y="826609"/>
        <a:ext cx="1272084" cy="635890"/>
      </dsp:txXfrm>
    </dsp:sp>
    <dsp:sp modelId="{8EEA13CE-EB52-4CA3-81F1-173EB6D0CA4B}">
      <dsp:nvSpPr>
        <dsp:cNvPr id="0" name=""/>
        <dsp:cNvSpPr/>
      </dsp:nvSpPr>
      <dsp:spPr>
        <a:xfrm>
          <a:off x="2010790" y="1315536"/>
          <a:ext cx="2289236" cy="2289585"/>
        </a:xfrm>
        <a:prstGeom prst="leftCircularArrow">
          <a:avLst>
            <a:gd name="adj1" fmla="val 10980"/>
            <a:gd name="adj2" fmla="val 1142322"/>
            <a:gd name="adj3" fmla="val 6300000"/>
            <a:gd name="adj4" fmla="val 18900000"/>
            <a:gd name="adj5" fmla="val 12500"/>
          </a:avLst>
        </a:prstGeom>
        <a:solidFill>
          <a:schemeClr val="accent6">
            <a:lumMod val="75000"/>
          </a:schemeClr>
        </a:solidFill>
        <a:ln w="12700" cap="flat" cmpd="sng" algn="ctr">
          <a:solidFill>
            <a:schemeClr val="accent6">
              <a:lumMod val="7500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08776EC-79D1-4854-A7A8-3E43526CD993}">
      <dsp:nvSpPr>
        <dsp:cNvPr id="0" name=""/>
        <dsp:cNvSpPr/>
      </dsp:nvSpPr>
      <dsp:spPr>
        <a:xfrm>
          <a:off x="2519366" y="2149755"/>
          <a:ext cx="1272084" cy="63589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200" b="1" kern="1200" dirty="0">
              <a:solidFill>
                <a:schemeClr val="tx1"/>
              </a:solidFill>
            </a:rPr>
            <a:t>Finanzierungs-instrumente</a:t>
          </a:r>
        </a:p>
      </dsp:txBody>
      <dsp:txXfrm>
        <a:off x="2519366" y="2149755"/>
        <a:ext cx="1272084" cy="635890"/>
      </dsp:txXfrm>
    </dsp:sp>
    <dsp:sp modelId="{59D44D3A-10D8-4D94-84D3-40952C7BE41A}">
      <dsp:nvSpPr>
        <dsp:cNvPr id="0" name=""/>
        <dsp:cNvSpPr/>
      </dsp:nvSpPr>
      <dsp:spPr>
        <a:xfrm>
          <a:off x="2809551" y="2788499"/>
          <a:ext cx="1966809" cy="1967597"/>
        </a:xfrm>
        <a:prstGeom prst="blockArc">
          <a:avLst>
            <a:gd name="adj1" fmla="val 13500000"/>
            <a:gd name="adj2" fmla="val 10800000"/>
            <a:gd name="adj3" fmla="val 12740"/>
          </a:avLst>
        </a:prstGeom>
        <a:solidFill>
          <a:schemeClr val="tx2"/>
        </a:solidFill>
        <a:ln w="12700" cap="flat" cmpd="sng" algn="ctr">
          <a:solidFill>
            <a:schemeClr val="tx2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7EFCAC1-949E-464A-B06A-66F3555CC9F4}">
      <dsp:nvSpPr>
        <dsp:cNvPr id="0" name=""/>
        <dsp:cNvSpPr/>
      </dsp:nvSpPr>
      <dsp:spPr>
        <a:xfrm>
          <a:off x="3155624" y="3474804"/>
          <a:ext cx="1272084" cy="63589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200" b="1" kern="1200" dirty="0"/>
            <a:t>Umsetzbarkeit der Maßnahme</a:t>
          </a:r>
        </a:p>
      </dsp:txBody>
      <dsp:txXfrm>
        <a:off x="3155624" y="3474804"/>
        <a:ext cx="1272084" cy="635890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BEE3F0C-A182-4DB8-88F1-84192B3351AD}">
      <dsp:nvSpPr>
        <dsp:cNvPr id="0" name=""/>
        <dsp:cNvSpPr/>
      </dsp:nvSpPr>
      <dsp:spPr>
        <a:xfrm rot="5400000">
          <a:off x="3340890" y="126017"/>
          <a:ext cx="1930656" cy="1679670"/>
        </a:xfrm>
        <a:prstGeom prst="hexagon">
          <a:avLst>
            <a:gd name="adj" fmla="val 25000"/>
            <a:gd name="vf" fmla="val 115470"/>
          </a:avLst>
        </a:prstGeom>
        <a:solidFill>
          <a:schemeClr val="accent6">
            <a:shade val="5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400" kern="1200" dirty="0">
              <a:solidFill>
                <a:schemeClr val="tx1"/>
              </a:solidFill>
            </a:rPr>
            <a:t>City-Maut</a:t>
          </a:r>
        </a:p>
      </dsp:txBody>
      <dsp:txXfrm rot="-5400000">
        <a:off x="3728132" y="301386"/>
        <a:ext cx="1156172" cy="1328935"/>
      </dsp:txXfrm>
    </dsp:sp>
    <dsp:sp modelId="{094E4B72-C355-4223-9300-AF1D5F05D698}">
      <dsp:nvSpPr>
        <dsp:cNvPr id="0" name=""/>
        <dsp:cNvSpPr/>
      </dsp:nvSpPr>
      <dsp:spPr>
        <a:xfrm>
          <a:off x="5197023" y="386656"/>
          <a:ext cx="2154612" cy="115839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1EFE54E-4F8A-4655-8DE2-A4CF2EC60108}">
      <dsp:nvSpPr>
        <dsp:cNvPr id="0" name=""/>
        <dsp:cNvSpPr/>
      </dsp:nvSpPr>
      <dsp:spPr>
        <a:xfrm rot="5400000">
          <a:off x="1526846" y="126017"/>
          <a:ext cx="1930656" cy="1679670"/>
        </a:xfrm>
        <a:prstGeom prst="hexagon">
          <a:avLst>
            <a:gd name="adj" fmla="val 25000"/>
            <a:gd name="vf" fmla="val 115470"/>
          </a:avLst>
        </a:prstGeom>
        <a:solidFill>
          <a:schemeClr val="accent6">
            <a:shade val="50000"/>
            <a:hueOff val="45532"/>
            <a:satOff val="6332"/>
            <a:lumOff val="13012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400" kern="1200" dirty="0">
              <a:solidFill>
                <a:schemeClr val="tx1"/>
              </a:solidFill>
            </a:rPr>
            <a:t>Gästebetten-steuer</a:t>
          </a:r>
        </a:p>
      </dsp:txBody>
      <dsp:txXfrm rot="-5400000">
        <a:off x="1914088" y="301386"/>
        <a:ext cx="1156172" cy="1328935"/>
      </dsp:txXfrm>
    </dsp:sp>
    <dsp:sp modelId="{75BCEBF7-241A-4BDF-A84C-41A2C3EA028A}">
      <dsp:nvSpPr>
        <dsp:cNvPr id="0" name=""/>
        <dsp:cNvSpPr/>
      </dsp:nvSpPr>
      <dsp:spPr>
        <a:xfrm rot="5400000">
          <a:off x="2430393" y="1764759"/>
          <a:ext cx="1930656" cy="1679670"/>
        </a:xfrm>
        <a:prstGeom prst="hexagon">
          <a:avLst>
            <a:gd name="adj" fmla="val 25000"/>
            <a:gd name="vf" fmla="val 115470"/>
          </a:avLst>
        </a:prstGeom>
        <a:solidFill>
          <a:schemeClr val="accent6">
            <a:shade val="50000"/>
            <a:hueOff val="91064"/>
            <a:satOff val="12663"/>
            <a:lumOff val="26024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400" kern="1200" dirty="0">
              <a:solidFill>
                <a:schemeClr val="tx1"/>
              </a:solidFill>
            </a:rPr>
            <a:t>Parkraum-</a:t>
          </a:r>
          <a:r>
            <a:rPr lang="de-DE" sz="1400" kern="1200" dirty="0" err="1">
              <a:solidFill>
                <a:schemeClr val="tx1"/>
              </a:solidFill>
            </a:rPr>
            <a:t>bewirtschaft</a:t>
          </a:r>
          <a:r>
            <a:rPr lang="de-DE" sz="1400" kern="1200" dirty="0">
              <a:solidFill>
                <a:schemeClr val="tx1"/>
              </a:solidFill>
            </a:rPr>
            <a:t>-</a:t>
          </a:r>
          <a:r>
            <a:rPr lang="de-DE" sz="1400" kern="1200" dirty="0" err="1">
              <a:solidFill>
                <a:schemeClr val="tx1"/>
              </a:solidFill>
            </a:rPr>
            <a:t>ung</a:t>
          </a:r>
          <a:endParaRPr lang="de-DE" sz="1400" kern="1200" dirty="0">
            <a:solidFill>
              <a:schemeClr val="tx1"/>
            </a:solidFill>
          </a:endParaRPr>
        </a:p>
      </dsp:txBody>
      <dsp:txXfrm rot="-5400000">
        <a:off x="2817635" y="1940128"/>
        <a:ext cx="1156172" cy="1328935"/>
      </dsp:txXfrm>
    </dsp:sp>
    <dsp:sp modelId="{94823CB8-36B1-4D56-8560-5561500A6390}">
      <dsp:nvSpPr>
        <dsp:cNvPr id="0" name=""/>
        <dsp:cNvSpPr/>
      </dsp:nvSpPr>
      <dsp:spPr>
        <a:xfrm>
          <a:off x="401273" y="2025397"/>
          <a:ext cx="2085108" cy="115839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C92EB3A-14A5-4648-B82C-61D8363A2193}">
      <dsp:nvSpPr>
        <dsp:cNvPr id="0" name=""/>
        <dsp:cNvSpPr/>
      </dsp:nvSpPr>
      <dsp:spPr>
        <a:xfrm rot="5400000">
          <a:off x="4244438" y="1764759"/>
          <a:ext cx="1930656" cy="1679670"/>
        </a:xfrm>
        <a:prstGeom prst="hexagon">
          <a:avLst>
            <a:gd name="adj" fmla="val 25000"/>
            <a:gd name="vf" fmla="val 115470"/>
          </a:avLst>
        </a:prstGeom>
        <a:solidFill>
          <a:schemeClr val="accent6">
            <a:shade val="50000"/>
            <a:hueOff val="136597"/>
            <a:satOff val="18995"/>
            <a:lumOff val="39036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400" kern="1200" dirty="0">
              <a:solidFill>
                <a:schemeClr val="tx1"/>
              </a:solidFill>
            </a:rPr>
            <a:t>Mieterticket</a:t>
          </a:r>
        </a:p>
      </dsp:txBody>
      <dsp:txXfrm rot="-5400000">
        <a:off x="4631680" y="1940128"/>
        <a:ext cx="1156172" cy="1328935"/>
      </dsp:txXfrm>
    </dsp:sp>
    <dsp:sp modelId="{AD0F7EA5-CA24-4684-B074-CCB33A591F5C}">
      <dsp:nvSpPr>
        <dsp:cNvPr id="0" name=""/>
        <dsp:cNvSpPr/>
      </dsp:nvSpPr>
      <dsp:spPr>
        <a:xfrm rot="5400000">
          <a:off x="3340890" y="3403500"/>
          <a:ext cx="1930656" cy="1679670"/>
        </a:xfrm>
        <a:prstGeom prst="hexagon">
          <a:avLst>
            <a:gd name="adj" fmla="val 25000"/>
            <a:gd name="vf" fmla="val 115470"/>
          </a:avLst>
        </a:prstGeom>
        <a:solidFill>
          <a:schemeClr val="accent6">
            <a:shade val="50000"/>
            <a:hueOff val="91064"/>
            <a:satOff val="12663"/>
            <a:lumOff val="26024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400" kern="1200" dirty="0" err="1">
              <a:solidFill>
                <a:schemeClr val="tx1"/>
              </a:solidFill>
            </a:rPr>
            <a:t>Veranstalt-ungsabgabe</a:t>
          </a:r>
          <a:endParaRPr lang="de-DE" sz="1400" kern="1200" dirty="0">
            <a:solidFill>
              <a:schemeClr val="tx1"/>
            </a:solidFill>
          </a:endParaRPr>
        </a:p>
      </dsp:txBody>
      <dsp:txXfrm rot="-5400000">
        <a:off x="3728132" y="3578869"/>
        <a:ext cx="1156172" cy="1328935"/>
      </dsp:txXfrm>
    </dsp:sp>
    <dsp:sp modelId="{1F5BF0BA-BFA1-450B-8FEC-4A1822145694}">
      <dsp:nvSpPr>
        <dsp:cNvPr id="0" name=""/>
        <dsp:cNvSpPr/>
      </dsp:nvSpPr>
      <dsp:spPr>
        <a:xfrm>
          <a:off x="5197023" y="3664138"/>
          <a:ext cx="2154612" cy="115839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DC5FC81-7504-4671-AE29-062C3A5DF418}">
      <dsp:nvSpPr>
        <dsp:cNvPr id="0" name=""/>
        <dsp:cNvSpPr/>
      </dsp:nvSpPr>
      <dsp:spPr>
        <a:xfrm rot="5400000">
          <a:off x="1526846" y="3403500"/>
          <a:ext cx="1930656" cy="1679670"/>
        </a:xfrm>
        <a:prstGeom prst="hexagon">
          <a:avLst>
            <a:gd name="adj" fmla="val 25000"/>
            <a:gd name="vf" fmla="val 115470"/>
          </a:avLst>
        </a:prstGeom>
        <a:solidFill>
          <a:schemeClr val="accent6">
            <a:shade val="50000"/>
            <a:hueOff val="45532"/>
            <a:satOff val="6332"/>
            <a:lumOff val="13012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400" kern="1200" dirty="0">
              <a:solidFill>
                <a:schemeClr val="tx1"/>
              </a:solidFill>
            </a:rPr>
            <a:t>Jobticket</a:t>
          </a:r>
        </a:p>
      </dsp:txBody>
      <dsp:txXfrm rot="-5400000">
        <a:off x="1914088" y="3578869"/>
        <a:ext cx="1156172" cy="1328935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BEE3F0C-A182-4DB8-88F1-84192B3351AD}">
      <dsp:nvSpPr>
        <dsp:cNvPr id="0" name=""/>
        <dsp:cNvSpPr/>
      </dsp:nvSpPr>
      <dsp:spPr>
        <a:xfrm rot="5400000">
          <a:off x="3340890" y="126017"/>
          <a:ext cx="1930656" cy="1679670"/>
        </a:xfrm>
        <a:prstGeom prst="hexagon">
          <a:avLst>
            <a:gd name="adj" fmla="val 25000"/>
            <a:gd name="vf" fmla="val 115470"/>
          </a:avLst>
        </a:prstGeom>
        <a:solidFill>
          <a:schemeClr val="accent6">
            <a:shade val="8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400" kern="1200" dirty="0">
              <a:solidFill>
                <a:schemeClr val="tx1"/>
              </a:solidFill>
            </a:rPr>
            <a:t>Kurtaxe</a:t>
          </a:r>
        </a:p>
      </dsp:txBody>
      <dsp:txXfrm rot="-5400000">
        <a:off x="3728132" y="301386"/>
        <a:ext cx="1156172" cy="1328935"/>
      </dsp:txXfrm>
    </dsp:sp>
    <dsp:sp modelId="{094E4B72-C355-4223-9300-AF1D5F05D698}">
      <dsp:nvSpPr>
        <dsp:cNvPr id="0" name=""/>
        <dsp:cNvSpPr/>
      </dsp:nvSpPr>
      <dsp:spPr>
        <a:xfrm>
          <a:off x="5197023" y="386656"/>
          <a:ext cx="2154612" cy="115839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1EFE54E-4F8A-4655-8DE2-A4CF2EC60108}">
      <dsp:nvSpPr>
        <dsp:cNvPr id="0" name=""/>
        <dsp:cNvSpPr/>
      </dsp:nvSpPr>
      <dsp:spPr>
        <a:xfrm rot="5400000">
          <a:off x="1526846" y="126017"/>
          <a:ext cx="1930656" cy="1679670"/>
        </a:xfrm>
        <a:prstGeom prst="hexagon">
          <a:avLst>
            <a:gd name="adj" fmla="val 25000"/>
            <a:gd name="vf" fmla="val 115470"/>
          </a:avLst>
        </a:prstGeom>
        <a:noFill/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1400" kern="1200" dirty="0">
            <a:solidFill>
              <a:schemeClr val="tx1"/>
            </a:solidFill>
          </a:endParaRPr>
        </a:p>
      </dsp:txBody>
      <dsp:txXfrm rot="-5400000">
        <a:off x="1914088" y="301386"/>
        <a:ext cx="1156172" cy="1328935"/>
      </dsp:txXfrm>
    </dsp:sp>
    <dsp:sp modelId="{75BCEBF7-241A-4BDF-A84C-41A2C3EA028A}">
      <dsp:nvSpPr>
        <dsp:cNvPr id="0" name=""/>
        <dsp:cNvSpPr/>
      </dsp:nvSpPr>
      <dsp:spPr>
        <a:xfrm rot="5400000">
          <a:off x="2430393" y="1764759"/>
          <a:ext cx="1930656" cy="1679670"/>
        </a:xfrm>
        <a:prstGeom prst="hexagon">
          <a:avLst>
            <a:gd name="adj" fmla="val 25000"/>
            <a:gd name="vf" fmla="val 115470"/>
          </a:avLst>
        </a:prstGeom>
        <a:solidFill>
          <a:schemeClr val="accent6">
            <a:shade val="80000"/>
            <a:hueOff val="41936"/>
            <a:satOff val="3849"/>
            <a:lumOff val="898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400" kern="1200" dirty="0">
              <a:solidFill>
                <a:schemeClr val="tx1"/>
              </a:solidFill>
            </a:rPr>
            <a:t>Arbeitgeber-abgabe </a:t>
          </a:r>
        </a:p>
      </dsp:txBody>
      <dsp:txXfrm rot="-5400000">
        <a:off x="2817635" y="1940128"/>
        <a:ext cx="1156172" cy="1328935"/>
      </dsp:txXfrm>
    </dsp:sp>
    <dsp:sp modelId="{94823CB8-36B1-4D56-8560-5561500A6390}">
      <dsp:nvSpPr>
        <dsp:cNvPr id="0" name=""/>
        <dsp:cNvSpPr/>
      </dsp:nvSpPr>
      <dsp:spPr>
        <a:xfrm>
          <a:off x="401273" y="2025397"/>
          <a:ext cx="2085108" cy="115839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C92EB3A-14A5-4648-B82C-61D8363A2193}">
      <dsp:nvSpPr>
        <dsp:cNvPr id="0" name=""/>
        <dsp:cNvSpPr/>
      </dsp:nvSpPr>
      <dsp:spPr>
        <a:xfrm rot="5400000">
          <a:off x="4244438" y="1764759"/>
          <a:ext cx="1930656" cy="1679670"/>
        </a:xfrm>
        <a:prstGeom prst="hexagon">
          <a:avLst>
            <a:gd name="adj" fmla="val 25000"/>
            <a:gd name="vf" fmla="val 115470"/>
          </a:avLst>
        </a:prstGeom>
        <a:solidFill>
          <a:schemeClr val="accent6">
            <a:shade val="80000"/>
            <a:hueOff val="62903"/>
            <a:satOff val="5773"/>
            <a:lumOff val="13469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400" kern="1200" dirty="0">
              <a:solidFill>
                <a:schemeClr val="tx1"/>
              </a:solidFill>
            </a:rPr>
            <a:t>Grundsteuer</a:t>
          </a:r>
        </a:p>
      </dsp:txBody>
      <dsp:txXfrm rot="-5400000">
        <a:off x="4631680" y="1940128"/>
        <a:ext cx="1156172" cy="1328935"/>
      </dsp:txXfrm>
    </dsp:sp>
    <dsp:sp modelId="{AD0F7EA5-CA24-4684-B074-CCB33A591F5C}">
      <dsp:nvSpPr>
        <dsp:cNvPr id="0" name=""/>
        <dsp:cNvSpPr/>
      </dsp:nvSpPr>
      <dsp:spPr>
        <a:xfrm rot="5400000">
          <a:off x="3340890" y="3403500"/>
          <a:ext cx="1930656" cy="1679670"/>
        </a:xfrm>
        <a:prstGeom prst="hexagon">
          <a:avLst>
            <a:gd name="adj" fmla="val 25000"/>
            <a:gd name="vf" fmla="val 115470"/>
          </a:avLst>
        </a:prstGeom>
        <a:solidFill>
          <a:schemeClr val="accent6">
            <a:shade val="80000"/>
            <a:hueOff val="83871"/>
            <a:satOff val="7698"/>
            <a:lumOff val="17959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400" kern="1200" dirty="0">
              <a:solidFill>
                <a:schemeClr val="tx1"/>
              </a:solidFill>
            </a:rPr>
            <a:t>Bürgerticket</a:t>
          </a:r>
        </a:p>
      </dsp:txBody>
      <dsp:txXfrm rot="-5400000">
        <a:off x="3728132" y="3578869"/>
        <a:ext cx="1156172" cy="1328935"/>
      </dsp:txXfrm>
    </dsp:sp>
    <dsp:sp modelId="{1F5BF0BA-BFA1-450B-8FEC-4A1822145694}">
      <dsp:nvSpPr>
        <dsp:cNvPr id="0" name=""/>
        <dsp:cNvSpPr/>
      </dsp:nvSpPr>
      <dsp:spPr>
        <a:xfrm>
          <a:off x="5197023" y="3664138"/>
          <a:ext cx="2154612" cy="115839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DC5FC81-7504-4671-AE29-062C3A5DF418}">
      <dsp:nvSpPr>
        <dsp:cNvPr id="0" name=""/>
        <dsp:cNvSpPr/>
      </dsp:nvSpPr>
      <dsp:spPr>
        <a:xfrm rot="5400000">
          <a:off x="1526846" y="3403500"/>
          <a:ext cx="1930656" cy="1679670"/>
        </a:xfrm>
        <a:prstGeom prst="hexagon">
          <a:avLst>
            <a:gd name="adj" fmla="val 25000"/>
            <a:gd name="vf" fmla="val 115470"/>
          </a:avLst>
        </a:prstGeom>
        <a:noFill/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1400" kern="1200" dirty="0">
            <a:solidFill>
              <a:schemeClr val="tx1"/>
            </a:solidFill>
          </a:endParaRPr>
        </a:p>
      </dsp:txBody>
      <dsp:txXfrm rot="-5400000">
        <a:off x="1914088" y="3578869"/>
        <a:ext cx="1156172" cy="1328935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BEE3F0C-A182-4DB8-88F1-84192B3351AD}">
      <dsp:nvSpPr>
        <dsp:cNvPr id="0" name=""/>
        <dsp:cNvSpPr/>
      </dsp:nvSpPr>
      <dsp:spPr>
        <a:xfrm rot="5400000">
          <a:off x="3340890" y="126017"/>
          <a:ext cx="1930656" cy="1679670"/>
        </a:xfrm>
        <a:prstGeom prst="hexagon">
          <a:avLst>
            <a:gd name="adj" fmla="val 25000"/>
            <a:gd name="vf" fmla="val 115470"/>
          </a:avLst>
        </a:prstGeom>
        <a:solidFill>
          <a:schemeClr val="accent6">
            <a:shade val="8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400" kern="1200" dirty="0">
              <a:solidFill>
                <a:schemeClr val="tx1"/>
              </a:solidFill>
            </a:rPr>
            <a:t>Einzel-handels-abgabe</a:t>
          </a:r>
        </a:p>
      </dsp:txBody>
      <dsp:txXfrm rot="-5400000">
        <a:off x="3728132" y="301386"/>
        <a:ext cx="1156172" cy="1328935"/>
      </dsp:txXfrm>
    </dsp:sp>
    <dsp:sp modelId="{094E4B72-C355-4223-9300-AF1D5F05D698}">
      <dsp:nvSpPr>
        <dsp:cNvPr id="0" name=""/>
        <dsp:cNvSpPr/>
      </dsp:nvSpPr>
      <dsp:spPr>
        <a:xfrm>
          <a:off x="5197023" y="386656"/>
          <a:ext cx="2154612" cy="115839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1EFE54E-4F8A-4655-8DE2-A4CF2EC60108}">
      <dsp:nvSpPr>
        <dsp:cNvPr id="0" name=""/>
        <dsp:cNvSpPr/>
      </dsp:nvSpPr>
      <dsp:spPr>
        <a:xfrm rot="5400000">
          <a:off x="1526846" y="126017"/>
          <a:ext cx="1930656" cy="1679670"/>
        </a:xfrm>
        <a:prstGeom prst="hexagon">
          <a:avLst>
            <a:gd name="adj" fmla="val 25000"/>
            <a:gd name="vf" fmla="val 115470"/>
          </a:avLst>
        </a:prstGeom>
        <a:solidFill>
          <a:schemeClr val="accent6">
            <a:shade val="80000"/>
            <a:hueOff val="20968"/>
            <a:satOff val="1924"/>
            <a:lumOff val="449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400" kern="1200" dirty="0">
              <a:solidFill>
                <a:schemeClr val="tx1"/>
              </a:solidFill>
            </a:rPr>
            <a:t>Erschließ-</a:t>
          </a:r>
          <a:r>
            <a:rPr lang="de-DE" sz="1400" kern="1200" dirty="0" err="1">
              <a:solidFill>
                <a:schemeClr val="tx1"/>
              </a:solidFill>
            </a:rPr>
            <a:t>ungsbeitrag</a:t>
          </a:r>
          <a:endParaRPr lang="de-DE" sz="1400" kern="1200" dirty="0">
            <a:solidFill>
              <a:schemeClr val="tx1"/>
            </a:solidFill>
          </a:endParaRPr>
        </a:p>
      </dsp:txBody>
      <dsp:txXfrm rot="-5400000">
        <a:off x="1914088" y="301386"/>
        <a:ext cx="1156172" cy="1328935"/>
      </dsp:txXfrm>
    </dsp:sp>
    <dsp:sp modelId="{75BCEBF7-241A-4BDF-A84C-41A2C3EA028A}">
      <dsp:nvSpPr>
        <dsp:cNvPr id="0" name=""/>
        <dsp:cNvSpPr/>
      </dsp:nvSpPr>
      <dsp:spPr>
        <a:xfrm rot="5400000">
          <a:off x="2430393" y="1764759"/>
          <a:ext cx="1930656" cy="1679670"/>
        </a:xfrm>
        <a:prstGeom prst="hexagon">
          <a:avLst>
            <a:gd name="adj" fmla="val 25000"/>
            <a:gd name="vf" fmla="val 115470"/>
          </a:avLst>
        </a:prstGeom>
        <a:solidFill>
          <a:schemeClr val="accent6">
            <a:shade val="80000"/>
            <a:hueOff val="41936"/>
            <a:satOff val="3849"/>
            <a:lumOff val="898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400" kern="1200" dirty="0">
              <a:solidFill>
                <a:schemeClr val="tx1"/>
              </a:solidFill>
            </a:rPr>
            <a:t>ÖPNV-Grundbeitrag</a:t>
          </a:r>
        </a:p>
      </dsp:txBody>
      <dsp:txXfrm rot="-5400000">
        <a:off x="2817635" y="1940128"/>
        <a:ext cx="1156172" cy="1328935"/>
      </dsp:txXfrm>
    </dsp:sp>
    <dsp:sp modelId="{94823CB8-36B1-4D56-8560-5561500A6390}">
      <dsp:nvSpPr>
        <dsp:cNvPr id="0" name=""/>
        <dsp:cNvSpPr/>
      </dsp:nvSpPr>
      <dsp:spPr>
        <a:xfrm>
          <a:off x="401273" y="2025397"/>
          <a:ext cx="2085108" cy="115839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C92EB3A-14A5-4648-B82C-61D8363A2193}">
      <dsp:nvSpPr>
        <dsp:cNvPr id="0" name=""/>
        <dsp:cNvSpPr/>
      </dsp:nvSpPr>
      <dsp:spPr>
        <a:xfrm rot="5400000">
          <a:off x="4244438" y="1764759"/>
          <a:ext cx="1930656" cy="1679670"/>
        </a:xfrm>
        <a:prstGeom prst="hexagon">
          <a:avLst>
            <a:gd name="adj" fmla="val 25000"/>
            <a:gd name="vf" fmla="val 115470"/>
          </a:avLst>
        </a:prstGeom>
        <a:noFill/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1400" kern="1200" dirty="0">
            <a:solidFill>
              <a:schemeClr val="tx1"/>
            </a:solidFill>
          </a:endParaRPr>
        </a:p>
      </dsp:txBody>
      <dsp:txXfrm rot="-5400000">
        <a:off x="4631680" y="1940128"/>
        <a:ext cx="1156172" cy="1328935"/>
      </dsp:txXfrm>
    </dsp:sp>
    <dsp:sp modelId="{AD0F7EA5-CA24-4684-B074-CCB33A591F5C}">
      <dsp:nvSpPr>
        <dsp:cNvPr id="0" name=""/>
        <dsp:cNvSpPr/>
      </dsp:nvSpPr>
      <dsp:spPr>
        <a:xfrm rot="5400000">
          <a:off x="3340890" y="3403500"/>
          <a:ext cx="1930656" cy="1679670"/>
        </a:xfrm>
        <a:prstGeom prst="hexagon">
          <a:avLst>
            <a:gd name="adj" fmla="val 25000"/>
            <a:gd name="vf" fmla="val 115470"/>
          </a:avLst>
        </a:prstGeom>
        <a:solidFill>
          <a:schemeClr val="accent6">
            <a:shade val="80000"/>
            <a:hueOff val="83871"/>
            <a:satOff val="7698"/>
            <a:lumOff val="17959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400" kern="1200" dirty="0">
              <a:solidFill>
                <a:schemeClr val="tx1"/>
              </a:solidFill>
            </a:rPr>
            <a:t>Stellplatz-ablöse</a:t>
          </a:r>
        </a:p>
      </dsp:txBody>
      <dsp:txXfrm rot="-5400000">
        <a:off x="3728132" y="3578869"/>
        <a:ext cx="1156172" cy="1328935"/>
      </dsp:txXfrm>
    </dsp:sp>
    <dsp:sp modelId="{1F5BF0BA-BFA1-450B-8FEC-4A1822145694}">
      <dsp:nvSpPr>
        <dsp:cNvPr id="0" name=""/>
        <dsp:cNvSpPr/>
      </dsp:nvSpPr>
      <dsp:spPr>
        <a:xfrm>
          <a:off x="5197023" y="3664138"/>
          <a:ext cx="2154612" cy="115839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DC5FC81-7504-4671-AE29-062C3A5DF418}">
      <dsp:nvSpPr>
        <dsp:cNvPr id="0" name=""/>
        <dsp:cNvSpPr/>
      </dsp:nvSpPr>
      <dsp:spPr>
        <a:xfrm rot="5400000">
          <a:off x="1526846" y="3403500"/>
          <a:ext cx="1930656" cy="1679670"/>
        </a:xfrm>
        <a:prstGeom prst="hexagon">
          <a:avLst>
            <a:gd name="adj" fmla="val 25000"/>
            <a:gd name="vf" fmla="val 115470"/>
          </a:avLst>
        </a:prstGeom>
        <a:solidFill>
          <a:schemeClr val="accent6">
            <a:shade val="80000"/>
            <a:hueOff val="104839"/>
            <a:satOff val="9622"/>
            <a:lumOff val="22449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400" kern="1200" dirty="0">
              <a:solidFill>
                <a:schemeClr val="tx1"/>
              </a:solidFill>
            </a:rPr>
            <a:t>Infrastruktur-zuschlag</a:t>
          </a:r>
        </a:p>
      </dsp:txBody>
      <dsp:txXfrm rot="-5400000">
        <a:off x="1914088" y="3578869"/>
        <a:ext cx="1156172" cy="1328935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FDF6208-B79B-4717-88AF-3773CD799B70}">
      <dsp:nvSpPr>
        <dsp:cNvPr id="0" name=""/>
        <dsp:cNvSpPr/>
      </dsp:nvSpPr>
      <dsp:spPr>
        <a:xfrm>
          <a:off x="872757" y="129345"/>
          <a:ext cx="2567004" cy="891486"/>
        </a:xfrm>
        <a:prstGeom prst="ellipse">
          <a:avLst/>
        </a:prstGeom>
        <a:solidFill>
          <a:schemeClr val="accent2">
            <a:tint val="50000"/>
            <a:alpha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5AE362C-66B1-4140-ACB2-658D922C3DE7}">
      <dsp:nvSpPr>
        <dsp:cNvPr id="0" name=""/>
        <dsp:cNvSpPr/>
      </dsp:nvSpPr>
      <dsp:spPr>
        <a:xfrm>
          <a:off x="1911499" y="2312294"/>
          <a:ext cx="497481" cy="318388"/>
        </a:xfrm>
        <a:prstGeom prst="downArrow">
          <a:avLst/>
        </a:prstGeom>
        <a:solidFill>
          <a:schemeClr val="accent3"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42A2A2D-9C46-4FDC-A7BD-762E3C38518D}">
      <dsp:nvSpPr>
        <dsp:cNvPr id="0" name=""/>
        <dsp:cNvSpPr/>
      </dsp:nvSpPr>
      <dsp:spPr>
        <a:xfrm>
          <a:off x="966284" y="2567004"/>
          <a:ext cx="2387911" cy="59697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9352" tIns="149352" rIns="149352" bIns="149352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100" kern="1200" dirty="0"/>
            <a:t> </a:t>
          </a:r>
        </a:p>
      </dsp:txBody>
      <dsp:txXfrm>
        <a:off x="966284" y="2567004"/>
        <a:ext cx="2387911" cy="596977"/>
      </dsp:txXfrm>
    </dsp:sp>
    <dsp:sp modelId="{DEAF7A31-8611-4BDC-BB0C-89EAA7C7BF51}">
      <dsp:nvSpPr>
        <dsp:cNvPr id="0" name=""/>
        <dsp:cNvSpPr/>
      </dsp:nvSpPr>
      <dsp:spPr>
        <a:xfrm>
          <a:off x="1806033" y="1089683"/>
          <a:ext cx="895466" cy="895466"/>
        </a:xfrm>
        <a:prstGeom prst="ellipse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0800" tIns="50800" rIns="50800" bIns="50800" numCol="1" spcCol="1270" anchor="ctr" anchorCtr="0">
          <a:noAutofit/>
        </a:bodyPr>
        <a:lstStyle/>
        <a:p>
          <a:pPr marL="0" lvl="0" indent="0" algn="ctr" defTabSz="1778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4000" kern="1200" dirty="0"/>
            <a:t> </a:t>
          </a:r>
        </a:p>
      </dsp:txBody>
      <dsp:txXfrm>
        <a:off x="1937171" y="1220821"/>
        <a:ext cx="633190" cy="633190"/>
      </dsp:txXfrm>
    </dsp:sp>
    <dsp:sp modelId="{1F6FE032-88A3-4A37-8608-48A7A636C90D}">
      <dsp:nvSpPr>
        <dsp:cNvPr id="0" name=""/>
        <dsp:cNvSpPr/>
      </dsp:nvSpPr>
      <dsp:spPr>
        <a:xfrm>
          <a:off x="1165276" y="417884"/>
          <a:ext cx="895466" cy="895466"/>
        </a:xfrm>
        <a:prstGeom prst="ellipse">
          <a:avLst/>
        </a:prstGeom>
        <a:solidFill>
          <a:schemeClr val="accent6">
            <a:lumMod val="75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0800" tIns="50800" rIns="50800" bIns="50800" numCol="1" spcCol="1270" anchor="ctr" anchorCtr="0">
          <a:noAutofit/>
        </a:bodyPr>
        <a:lstStyle/>
        <a:p>
          <a:pPr marL="0" lvl="0" indent="0" algn="ctr" defTabSz="1778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4000" kern="1200" dirty="0"/>
            <a:t> </a:t>
          </a:r>
        </a:p>
      </dsp:txBody>
      <dsp:txXfrm>
        <a:off x="1296414" y="549022"/>
        <a:ext cx="633190" cy="633190"/>
      </dsp:txXfrm>
    </dsp:sp>
    <dsp:sp modelId="{851B4B55-BC21-4159-8FD1-C28AC0E36A46}">
      <dsp:nvSpPr>
        <dsp:cNvPr id="0" name=""/>
        <dsp:cNvSpPr/>
      </dsp:nvSpPr>
      <dsp:spPr>
        <a:xfrm>
          <a:off x="2080642" y="201380"/>
          <a:ext cx="895466" cy="895466"/>
        </a:xfrm>
        <a:prstGeom prst="ellipse">
          <a:avLst/>
        </a:prstGeom>
        <a:solidFill>
          <a:schemeClr val="accent1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0800" tIns="50800" rIns="50800" bIns="50800" numCol="1" spcCol="1270" anchor="ctr" anchorCtr="0">
          <a:noAutofit/>
        </a:bodyPr>
        <a:lstStyle/>
        <a:p>
          <a:pPr marL="0" lvl="0" indent="0" algn="ctr" defTabSz="1778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4000" kern="1200" dirty="0"/>
            <a:t> </a:t>
          </a:r>
        </a:p>
      </dsp:txBody>
      <dsp:txXfrm>
        <a:off x="2211780" y="332518"/>
        <a:ext cx="633190" cy="633190"/>
      </dsp:txXfrm>
    </dsp:sp>
    <dsp:sp modelId="{CFC0DDF1-D605-4830-BF33-DB50414C2A61}">
      <dsp:nvSpPr>
        <dsp:cNvPr id="0" name=""/>
        <dsp:cNvSpPr/>
      </dsp:nvSpPr>
      <dsp:spPr>
        <a:xfrm>
          <a:off x="767291" y="0"/>
          <a:ext cx="2785896" cy="2228717"/>
        </a:xfrm>
        <a:prstGeom prst="funnel">
          <a:avLst/>
        </a:prstGeom>
        <a:solidFill>
          <a:schemeClr val="lt1">
            <a:alpha val="4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4C10011-838C-46DA-810A-D30CAFD4BAF6}">
      <dsp:nvSpPr>
        <dsp:cNvPr id="0" name=""/>
        <dsp:cNvSpPr/>
      </dsp:nvSpPr>
      <dsp:spPr>
        <a:xfrm rot="16200000">
          <a:off x="-628676" y="629652"/>
          <a:ext cx="3796109" cy="2536803"/>
        </a:xfrm>
        <a:prstGeom prst="flowChartManualOperation">
          <a:avLst/>
        </a:prstGeom>
        <a:solidFill>
          <a:schemeClr val="accent3">
            <a:shade val="8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0" rIns="74556" bIns="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200" b="1" kern="1200" dirty="0"/>
            <a:t>Verkehrspolitische Ziele erfordern eine Ausweitung der ÖPNV-Finanzierung</a:t>
          </a:r>
        </a:p>
      </dsp:txBody>
      <dsp:txXfrm rot="5400000">
        <a:off x="977" y="759221"/>
        <a:ext cx="2536803" cy="2277665"/>
      </dsp:txXfrm>
    </dsp:sp>
    <dsp:sp modelId="{DC1C3611-84CD-4F00-92E8-2204D985E02B}">
      <dsp:nvSpPr>
        <dsp:cNvPr id="0" name=""/>
        <dsp:cNvSpPr/>
      </dsp:nvSpPr>
      <dsp:spPr>
        <a:xfrm rot="16200000">
          <a:off x="2106651" y="629652"/>
          <a:ext cx="3796109" cy="2536803"/>
        </a:xfrm>
        <a:prstGeom prst="flowChartManualOperation">
          <a:avLst/>
        </a:prstGeom>
        <a:solidFill>
          <a:schemeClr val="accent3">
            <a:shade val="80000"/>
            <a:hueOff val="-200025"/>
            <a:satOff val="-34126"/>
            <a:lumOff val="1923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0" rIns="74556" bIns="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200" b="1" kern="1200" dirty="0"/>
            <a:t>Drittnutzerfinanzierungsansätze ermöglichen Beitrag zur ÖPNV-Finanzierung</a:t>
          </a:r>
        </a:p>
      </dsp:txBody>
      <dsp:txXfrm rot="5400000">
        <a:off x="2736304" y="759221"/>
        <a:ext cx="2536803" cy="2277665"/>
      </dsp:txXfrm>
    </dsp:sp>
    <dsp:sp modelId="{63FD03BF-F996-491E-813D-D5AA3DB4A566}">
      <dsp:nvSpPr>
        <dsp:cNvPr id="0" name=""/>
        <dsp:cNvSpPr/>
      </dsp:nvSpPr>
      <dsp:spPr>
        <a:xfrm rot="16200000">
          <a:off x="4826426" y="629652"/>
          <a:ext cx="3796109" cy="2536803"/>
        </a:xfrm>
        <a:prstGeom prst="flowChartManualOperation">
          <a:avLst/>
        </a:prstGeom>
        <a:solidFill>
          <a:schemeClr val="accent3">
            <a:shade val="80000"/>
            <a:hueOff val="-400051"/>
            <a:satOff val="-68252"/>
            <a:lumOff val="38461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0" rIns="74556" bIns="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200" b="1" kern="1200" dirty="0"/>
            <a:t>Umsetzung erfordert rechtliche Gestaltung auf Bundes-, Landes- und Kommunalebene</a:t>
          </a:r>
        </a:p>
      </dsp:txBody>
      <dsp:txXfrm rot="5400000">
        <a:off x="5456079" y="759221"/>
        <a:ext cx="2536803" cy="2277665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9/layout/CircleArrowProcess">
  <dgm:title val=""/>
  <dgm:desc val=""/>
  <dgm:catLst>
    <dgm:cat type="process" pri="16500"/>
    <dgm:cat type="cycle" pri="16000"/>
  </dgm:catLst>
  <dgm:samp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40" srcId="0" destId="10" srcOrd="0" destOrd="0"/>
        <dgm:cxn modelId="50" srcId="0" destId="20" srcOrd="1" destOrd="0"/>
        <dgm:cxn modelId="60" srcId="0" destId="30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30" srcId="0" destId="10" srcOrd="0" destOrd="0"/>
        <dgm:cxn modelId="4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50" srcId="0" destId="10" srcOrd="0" destOrd="0"/>
        <dgm:cxn modelId="60" srcId="0" destId="20" srcOrd="1" destOrd="0"/>
        <dgm:cxn modelId="70" srcId="0" destId="30" srcOrd="2" destOrd="0"/>
        <dgm:cxn modelId="80" srcId="0" destId="40" srcOrd="3" destOrd="0"/>
      </dgm:cxnLst>
      <dgm:bg/>
      <dgm:whole/>
    </dgm:dataModel>
  </dgm:clrData>
  <dgm:layoutNode name="Name0">
    <dgm:varLst>
      <dgm:chMax val="7"/>
      <dgm:chPref val="7"/>
      <dgm:dir/>
      <dgm:animLvl val="lvl"/>
    </dgm:varLst>
    <dgm:shape xmlns:r="http://schemas.openxmlformats.org/officeDocument/2006/relationships" r:blip="">
      <dgm:adjLst/>
    </dgm:shape>
    <dgm:choose name="Name1">
      <dgm:if name="Name2" func="var" arg="dir" op="equ" val="norm">
        <dgm:choose name="Name3">
          <dgm:if name="Name4" axis="ch" ptType="node" func="cnt" op="equ" val="1">
            <dgm:alg type="composite">
              <dgm:param type="ar" val="1.5999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l" for="ch" forName="Child1" refType="w" fact="0.625"/>
              <dgm:constr type="t" for="ch" forName="Child1" refType="h" fact="0.2981"/>
              <dgm:constr type="w" for="ch" forName="Child1" refType="w" fact="0.375"/>
              <dgm:constr type="h" for="ch" forName="Child1" refType="h" fact="0.4001"/>
              <dgm:constr type="l" for="ch" forName="Accent1" refType="w" fact="0"/>
              <dgm:constr type="t" for="ch" forName="Accent1" refType="h" fact="0"/>
              <dgm:constr type="w" for="ch" forName="Accent1" refType="w" fact="0.6249"/>
              <dgm:constr type="h" for="ch" forName="Accent1" refType="h"/>
              <dgm:constr type="l" for="ch" forName="Parent1" refType="w" fact="0.138"/>
              <dgm:constr type="t" for="ch" forName="Parent1" refType="h" fact="0.362"/>
              <dgm:constr type="w" for="ch" forName="Parent1" refType="w" fact="0.3487"/>
              <dgm:constr type="h" for="ch" forName="Parent1" refType="h" fact="0.2789"/>
            </dgm:constrLst>
          </dgm:if>
          <dgm:if name="Name5" axis="ch" ptType="node" func="cnt" op="equ" val="2">
            <dgm:alg type="composite">
              <dgm:param type="ar" val="1.2026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Parent2" refType="primFontSz" refFor="des" refForName="Parent1" op="equ"/>
              <dgm:constr type="primFontSz" for="des" forName="Child2" refType="primFontSz" refFor="des" refForName="Child1" op="equ"/>
              <dgm:constr type="l" for="ch" forName="Accent1" refType="w" fact="0.1144"/>
              <dgm:constr type="t" for="ch" forName="Accent1" refType="h" fact="0"/>
              <dgm:constr type="w" for="ch" forName="Accent1" refType="w" fact="0.5542"/>
              <dgm:constr type="h" for="ch" forName="Accent1" refType="h" fact="0.6665"/>
              <dgm:constr type="l" for="ch" forName="Parent1" refType="w" fact="0.2368"/>
              <dgm:constr type="t" for="ch" forName="Parent1" refType="h" fact="0.2413"/>
              <dgm:constr type="w" for="ch" forName="Parent1" refType="w" fact="0.3092"/>
              <dgm:constr type="h" for="ch" forName="Parent1" refType="h" fact="0.1859"/>
              <dgm:constr type="l" for="ch" forName="Parent2" refType="w" fact="0.0822"/>
              <dgm:constr type="t" for="ch" forName="Parent2" refType="h" fact="0.625"/>
              <dgm:constr type="w" for="ch" forName="Parent2" refType="w" fact="0.3092"/>
              <dgm:constr type="h" for="ch" forName="Parent2" refType="h" fact="0.1859"/>
              <dgm:constr type="l" for="ch" forName="Child1" refType="w" fact="0.6678"/>
              <dgm:constr type="t" for="ch" forName="Child1" refType="h" fact="0.1978"/>
              <dgm:constr type="w" for="ch" forName="Child1" refType="w" fact="0.3322"/>
              <dgm:constr type="h" for="ch" forName="Child1" refType="h" fact="0.265"/>
              <dgm:constr type="l" for="ch" forName="Child2" refType="w" fact="0.5164"/>
              <dgm:constr type="t" for="ch" forName="Child2" refType="h" fact="0.5855"/>
              <dgm:constr type="w" for="ch" forName="Child2" refType="w" fact="0.3322"/>
              <dgm:constr type="h" for="ch" forName="Child2" refType="h" fact="0.265"/>
              <dgm:constr type="l" for="ch" forName="Accent2" refType="w" fact="0"/>
              <dgm:constr type="t" for="ch" forName="Accent2" refType="h" fact="0.4272"/>
              <dgm:constr type="w" for="ch" forName="Accent2" refType="w" fact="0.4761"/>
              <dgm:constr type="h" for="ch" forName="Accent2" refType="h" fact="0.5728"/>
            </dgm:constrLst>
          </dgm:if>
          <dgm:if name="Name6" axis="ch" ptType="node" func="cnt" op="equ" val="3">
            <dgm:alg type="composite">
              <dgm:param type="ar" val="0.9039"/>
            </dgm:alg>
            <dgm:shape xmlns:r="http://schemas.openxmlformats.org/officeDocument/2006/relationships" r:blip="">
              <dgm:adjLst/>
            </dgm:shape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l" for="ch" forName="Accent1" refType="w" fact="0.1479"/>
              <dgm:constr type="t" for="ch" forName="Accent1" refType="h" fact="0"/>
              <dgm:constr type="w" for="ch" forName="Accent1" refType="w" fact="0.5325"/>
              <dgm:constr type="h" for="ch" forName="Accent1" refType="h" fact="0.4814"/>
              <dgm:constr type="l" for="ch" forName="Accent2" refType="w" fact="0"/>
              <dgm:constr type="t" for="ch" forName="Accent2" refType="h" fact="0.2766"/>
              <dgm:constr type="w" for="ch" forName="Accent2" refType="w" fact="0.5325"/>
              <dgm:constr type="h" for="ch" forName="Accent2" refType="h" fact="0.4814"/>
              <dgm:constr type="l" for="ch" forName="Parent1" refType="w" fact="0.2656"/>
              <dgm:constr type="t" for="ch" forName="Parent1" refType="h" fact="0.1738"/>
              <dgm:constr type="w" for="ch" forName="Parent1" refType="w" fact="0.2959"/>
              <dgm:constr type="h" for="ch" forName="Parent1" refType="h" fact="0.1337"/>
              <dgm:constr type="l" for="ch" forName="Accent3" refType="w" fact="0.1858"/>
              <dgm:constr type="t" for="ch" forName="Accent3" refType="h" fact="0.5863"/>
              <dgm:constr type="w" for="ch" forName="Accent3" refType="w" fact="0.4575"/>
              <dgm:constr type="h" for="ch" forName="Accent3" refType="h" fact="0.4137"/>
              <dgm:constr type="l" for="ch" forName="Parent2" refType="w" fact="0.1183"/>
              <dgm:constr type="t" for="ch" forName="Parent2" refType="h" fact="0.452"/>
              <dgm:constr type="w" for="ch" forName="Parent2" refType="w" fact="0.2959"/>
              <dgm:constr type="h" for="ch" forName="Parent2" refType="h" fact="0.1337"/>
              <dgm:constr type="l" for="ch" forName="Parent3" refType="w" fact="0.2663"/>
              <dgm:constr type="t" for="ch" forName="Parent3" refType="h" fact="0.7306"/>
              <dgm:constr type="w" for="ch" forName="Parent3" refType="w" fact="0.2959"/>
              <dgm:constr type="h" for="ch" forName="Parent3" refType="h" fact="0.1337"/>
              <dgm:constr type="l" for="ch" forName="Child2" refType="w" fact="0.5325"/>
              <dgm:constr type="t" for="ch" forName="Child2" refType="h" fact="0.4217"/>
              <dgm:constr type="w" for="ch" forName="Child2" refType="w" fact="0.3195"/>
              <dgm:constr type="h" for="ch" forName="Child2" refType="h" fact="0.1926"/>
              <dgm:constr type="l" for="ch" forName="Child1" refType="w" fact="0.6805"/>
              <dgm:constr type="t" for="ch" forName="Child1" refType="h" fact="0.1435"/>
              <dgm:constr type="w" for="ch" forName="Child1" refType="w" fact="0.3195"/>
              <dgm:constr type="h" for="ch" forName="Child1" refType="h" fact="0.1926"/>
              <dgm:constr type="l" for="ch" forName="Child3" refType="w" fact="0.6805"/>
              <dgm:constr type="t" for="ch" forName="Child3" refType="h" fact="0.6998"/>
              <dgm:constr type="w" for="ch" forName="Child3" refType="w" fact="0.3195"/>
              <dgm:constr type="h" for="ch" forName="Child3" refType="h" fact="0.1926"/>
            </dgm:constrLst>
          </dgm:if>
          <dgm:if name="Name7" axis="ch" ptType="node" func="cnt" op="equ" val="4">
            <dgm:alg type="composite">
              <dgm:param type="ar" val="0.7073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l" for="ch" forName="Accent1" refType="w" fact="0.1481"/>
              <dgm:constr type="t" for="ch" forName="Accent1" refType="h" fact="0"/>
              <dgm:constr type="w" for="ch" forName="Accent1" refType="w" fact="0.5331"/>
              <dgm:constr type="h" for="ch" forName="Accent1" refType="h" fact="0.3771"/>
              <dgm:constr type="l" for="ch" forName="Accent2" refType="w" fact="0"/>
              <dgm:constr type="t" for="ch" forName="Accent2" refType="h" fact="0.2167"/>
              <dgm:constr type="w" for="ch" forName="Accent2" refType="w" fact="0.5331"/>
              <dgm:constr type="h" for="ch" forName="Accent2" refType="h" fact="0.3771"/>
              <dgm:constr type="l" for="ch" forName="Accent3" refType="w" fact="0.1481"/>
              <dgm:constr type="t" for="ch" forName="Accent3" refType="h" fact="0.4342"/>
              <dgm:constr type="w" for="ch" forName="Accent3" refType="w" fact="0.5331"/>
              <dgm:constr type="h" for="ch" forName="Accent3" refType="h" fact="0.3771"/>
              <dgm:constr type="l" for="ch" forName="Parent1" refType="w" fact="0.2658"/>
              <dgm:constr type="t" for="ch" forName="Parent1" refType="h" fact="0.1365"/>
              <dgm:constr type="w" for="ch" forName="Parent1" refType="w" fact="0.2975"/>
              <dgm:constr type="h" for="ch" forName="Parent1" refType="h" fact="0.1052"/>
              <dgm:constr type="l" for="ch" forName="Parent2" refType="w" fact="0.1171"/>
              <dgm:constr type="t" for="ch" forName="Parent2" refType="h" fact="0.3536"/>
              <dgm:constr type="w" for="ch" forName="Parent2" refType="w" fact="0.2975"/>
              <dgm:constr type="h" for="ch" forName="Parent2" refType="h" fact="0.1052"/>
              <dgm:constr type="l" for="ch" forName="Parent3" refType="w" fact="0.2658"/>
              <dgm:constr type="t" for="ch" forName="Parent3" refType="h" fact="0.5707"/>
              <dgm:constr type="w" for="ch" forName="Parent3" refType="w" fact="0.2975"/>
              <dgm:constr type="h" for="ch" forName="Parent3" refType="h" fact="0.1052"/>
              <dgm:constr type="l" for="ch" forName="Parent4" refType="w" fact="0.1171"/>
              <dgm:constr type="t" for="ch" forName="Parent4" refType="h" fact="0.7878"/>
              <dgm:constr type="w" for="ch" forName="Parent4" refType="w" fact="0.2975"/>
              <dgm:constr type="h" for="ch" forName="Parent4" refType="h" fact="0.1052"/>
              <dgm:constr type="l" for="ch" forName="Child1" refType="w" fact="0.6804"/>
              <dgm:constr type="t" for="ch" forName="Child1" refType="h" fact="0.1119"/>
              <dgm:constr type="w" for="ch" forName="Child1" refType="w" fact="0.3196"/>
              <dgm:constr type="h" for="ch" forName="Child1" refType="h" fact="0.15"/>
              <dgm:constr type="l" for="ch" forName="Child2" refType="w" fact="0.5348"/>
              <dgm:constr type="t" for="ch" forName="Child2" refType="h" fact="0.3312"/>
              <dgm:constr type="w" for="ch" forName="Child2" refType="w" fact="0.3196"/>
              <dgm:constr type="h" for="ch" forName="Child2" refType="h" fact="0.15"/>
              <dgm:constr type="l" for="ch" forName="Child3" refType="w" fact="0.6804"/>
              <dgm:constr type="t" for="ch" forName="Child3" refType="h" fact="0.5461"/>
              <dgm:constr type="w" for="ch" forName="Child3" refType="w" fact="0.3196"/>
              <dgm:constr type="h" for="ch" forName="Child3" refType="h" fact="0.15"/>
              <dgm:constr type="l" for="ch" forName="Child4" refType="w" fact="0.5348"/>
              <dgm:constr type="t" for="ch" forName="Child4" refType="h" fact="0.7632"/>
              <dgm:constr type="w" for="ch" forName="Child4" refType="w" fact="0.3196"/>
              <dgm:constr type="h" for="ch" forName="Child4" refType="h" fact="0.15"/>
              <dgm:constr type="l" for="ch" forName="Accent4" refType="w" fact="0.038"/>
              <dgm:constr type="t" for="ch" forName="Accent4" refType="h" fact="0.6759"/>
              <dgm:constr type="w" for="ch" forName="Accent4" refType="w" fact="0.458"/>
              <dgm:constr type="h" for="ch" forName="Accent4" refType="h" fact="0.3241"/>
            </dgm:constrLst>
          </dgm:if>
          <dgm:if name="Name8" axis="ch" ptType="node" func="cnt" op="equ" val="5">
            <dgm:alg type="composite">
              <dgm:param type="ar" val="0.5811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l" for="ch" forName="Accent1" refType="w" fact="0.1481"/>
              <dgm:constr type="t" for="ch" forName="Accent1" refType="h" fact="0"/>
              <dgm:constr type="w" for="ch" forName="Accent1" refType="w" fact="0.5331"/>
              <dgm:constr type="h" for="ch" forName="Accent1" refType="h" fact="0.3098"/>
              <dgm:constr type="l" for="ch" forName="Accent2" refType="w" fact="0"/>
              <dgm:constr type="t" for="ch" forName="Accent2" refType="h" fact="0.178"/>
              <dgm:constr type="w" for="ch" forName="Accent2" refType="w" fact="0.5331"/>
              <dgm:constr type="h" for="ch" forName="Accent2" refType="h" fact="0.3098"/>
              <dgm:constr type="l" for="ch" forName="Accent3" refType="w" fact="0.1481"/>
              <dgm:constr type="t" for="ch" forName="Accent3" refType="h" fact="0.3568"/>
              <dgm:constr type="w" for="ch" forName="Accent3" refType="w" fact="0.5331"/>
              <dgm:constr type="h" for="ch" forName="Accent3" refType="h" fact="0.3098"/>
              <dgm:constr type="l" for="ch" forName="Accent4" refType="w" fact="0"/>
              <dgm:constr type="t" for="ch" forName="Accent4" refType="h" fact="0.5351"/>
              <dgm:constr type="w" for="ch" forName="Accent4" refType="w" fact="0.5331"/>
              <dgm:constr type="h" for="ch" forName="Accent4" refType="h" fact="0.3098"/>
              <dgm:constr type="l" for="ch" forName="Accent5" refType="w" fact="0.186"/>
              <dgm:constr type="t" for="ch" forName="Accent5" refType="h" fact="0.7337"/>
              <dgm:constr type="w" for="ch" forName="Accent5" refType="w" fact="0.458"/>
              <dgm:constr type="h" for="ch" forName="Accent5" refType="h" fact="0.2663"/>
              <dgm:constr type="l" for="ch" forName="Parent1" refType="w" fact="0.2658"/>
              <dgm:constr type="t" for="ch" forName="Parent1" refType="h" fact="0.1122"/>
              <dgm:constr type="w" for="ch" forName="Parent1" refType="w" fact="0.2975"/>
              <dgm:constr type="h" for="ch" forName="Parent1" refType="h" fact="0.0864"/>
              <dgm:constr type="l" for="ch" forName="Parent2" refType="w" fact="0.1171"/>
              <dgm:constr type="t" for="ch" forName="Parent2" refType="h" fact="0.2906"/>
              <dgm:constr type="w" for="ch" forName="Parent2" refType="w" fact="0.2975"/>
              <dgm:constr type="h" for="ch" forName="Parent2" refType="h" fact="0.0864"/>
              <dgm:constr type="l" for="ch" forName="Parent3" refType="w" fact="0.2658"/>
              <dgm:constr type="t" for="ch" forName="Parent3" refType="h" fact="0.4689"/>
              <dgm:constr type="w" for="ch" forName="Parent3" refType="w" fact="0.2975"/>
              <dgm:constr type="h" for="ch" forName="Parent3" refType="h" fact="0.0864"/>
              <dgm:constr type="l" for="ch" forName="Parent4" refType="w" fact="0.1171"/>
              <dgm:constr type="t" for="ch" forName="Parent4" refType="h" fact="0.6473"/>
              <dgm:constr type="w" for="ch" forName="Parent4" refType="w" fact="0.2975"/>
              <dgm:constr type="h" for="ch" forName="Parent4" refType="h" fact="0.0864"/>
              <dgm:constr type="l" for="ch" forName="Parent5" refType="w" fact="0.2658"/>
              <dgm:constr type="t" for="ch" forName="Parent5" refType="h" fact="0.8257"/>
              <dgm:constr type="w" for="ch" forName="Parent5" refType="w" fact="0.2975"/>
              <dgm:constr type="h" for="ch" forName="Parent5" refType="h" fact="0.0864"/>
              <dgm:constr type="l" for="ch" forName="Child1" refType="w" fact="0.6804"/>
              <dgm:constr type="t" for="ch" forName="Child1" refType="h" fact="0.0919"/>
              <dgm:constr type="w" for="ch" forName="Child1" refType="w" fact="0.3196"/>
              <dgm:constr type="h" for="ch" forName="Child1" refType="h" fact="0.1232"/>
              <dgm:constr type="l" for="ch" forName="Child2" refType="w" fact="0.5348"/>
              <dgm:constr type="t" for="ch" forName="Child2" refType="h" fact="0.2722"/>
              <dgm:constr type="w" for="ch" forName="Child2" refType="w" fact="0.3196"/>
              <dgm:constr type="h" for="ch" forName="Child2" refType="h" fact="0.1232"/>
              <dgm:constr type="l" for="ch" forName="Child3" refType="w" fact="0.6804"/>
              <dgm:constr type="t" for="ch" forName="Child3" refType="h" fact="0.4487"/>
              <dgm:constr type="w" for="ch" forName="Child3" refType="w" fact="0.3196"/>
              <dgm:constr type="h" for="ch" forName="Child3" refType="h" fact="0.1232"/>
              <dgm:constr type="l" for="ch" forName="Child4" refType="w" fact="0.5348"/>
              <dgm:constr type="t" for="ch" forName="Child4" refType="h" fact="0.6271"/>
              <dgm:constr type="w" for="ch" forName="Child4" refType="w" fact="0.3196"/>
              <dgm:constr type="h" for="ch" forName="Child4" refType="h" fact="0.1232"/>
              <dgm:constr type="l" for="ch" forName="Child5" refType="w" fact="0.6804"/>
              <dgm:constr type="t" for="ch" forName="Child5" refType="h" fact="0.8073"/>
              <dgm:constr type="w" for="ch" forName="Child5" refType="w" fact="0.3196"/>
              <dgm:constr type="h" for="ch" forName="Child5" refType="h" fact="0.1232"/>
            </dgm:constrLst>
          </dgm:if>
          <dgm:if name="Name9" axis="ch" ptType="node" func="cnt" op="equ" val="6">
            <dgm:alg type="composite">
              <dgm:param type="ar" val="0.4931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l" for="ch" forName="Accent1" refType="w" fact="0.1481"/>
              <dgm:constr type="t" for="ch" forName="Accent1" refType="h" fact="0"/>
              <dgm:constr type="w" for="ch" forName="Accent1" refType="w" fact="0.5331"/>
              <dgm:constr type="h" for="ch" forName="Accent1" refType="h" fact="0.2629"/>
              <dgm:constr type="l" for="ch" forName="Accent2" refType="w" fact="0"/>
              <dgm:constr type="t" for="ch" forName="Accent2" refType="h" fact="0.1511"/>
              <dgm:constr type="w" for="ch" forName="Accent2" refType="w" fact="0.5331"/>
              <dgm:constr type="h" for="ch" forName="Accent2" refType="h" fact="0.2629"/>
              <dgm:constr type="l" for="ch" forName="Accent3" refType="w" fact="0.1481"/>
              <dgm:constr type="t" for="ch" forName="Accent3" refType="h" fact="0.3027"/>
              <dgm:constr type="w" for="ch" forName="Accent3" refType="w" fact="0.5331"/>
              <dgm:constr type="h" for="ch" forName="Accent3" refType="h" fact="0.2629"/>
              <dgm:constr type="l" for="ch" forName="Accent4" refType="w" fact="0"/>
              <dgm:constr type="t" for="ch" forName="Accent4" refType="h" fact="0.4541"/>
              <dgm:constr type="w" for="ch" forName="Accent4" refType="w" fact="0.5331"/>
              <dgm:constr type="h" for="ch" forName="Accent4" refType="h" fact="0.2629"/>
              <dgm:constr type="l" for="ch" forName="Parent1" refType="w" fact="0.2658"/>
              <dgm:constr type="t" for="ch" forName="Parent1" refType="h" fact="0.0952"/>
              <dgm:constr type="w" for="ch" forName="Parent1" refType="w" fact="0.2975"/>
              <dgm:constr type="h" for="ch" forName="Parent1" refType="h" fact="0.0733"/>
              <dgm:constr type="l" for="ch" forName="Parent2" refType="w" fact="0.1171"/>
              <dgm:constr type="t" for="ch" forName="Parent2" refType="h" fact="0.2466"/>
              <dgm:constr type="w" for="ch" forName="Parent2" refType="w" fact="0.2975"/>
              <dgm:constr type="h" for="ch" forName="Parent2" refType="h" fact="0.0733"/>
              <dgm:constr type="l" for="ch" forName="Parent3" refType="w" fact="0.2658"/>
              <dgm:constr type="t" for="ch" forName="Parent3" refType="h" fact="0.3979"/>
              <dgm:constr type="w" for="ch" forName="Parent3" refType="w" fact="0.2975"/>
              <dgm:constr type="h" for="ch" forName="Parent3" refType="h" fact="0.0733"/>
              <dgm:constr type="l" for="ch" forName="Parent4" refType="w" fact="0.1171"/>
              <dgm:constr type="t" for="ch" forName="Parent4" refType="h" fact="0.5493"/>
              <dgm:constr type="w" for="ch" forName="Parent4" refType="w" fact="0.2975"/>
              <dgm:constr type="h" for="ch" forName="Parent4" refType="h" fact="0.0733"/>
              <dgm:constr type="l" for="ch" forName="Child1" refType="w" fact="0.6804"/>
              <dgm:constr type="t" for="ch" forName="Child1" refType="h" fact="0.078"/>
              <dgm:constr type="w" for="ch" forName="Child1" refType="w" fact="0.3196"/>
              <dgm:constr type="h" for="ch" forName="Child1" refType="h" fact="0.1046"/>
              <dgm:constr type="l" for="ch" forName="Child2" refType="w" fact="0.5348"/>
              <dgm:constr type="t" for="ch" forName="Child2" refType="h" fact="0.231"/>
              <dgm:constr type="w" for="ch" forName="Child2" refType="w" fact="0.3196"/>
              <dgm:constr type="h" for="ch" forName="Child2" refType="h" fact="0.1046"/>
              <dgm:constr type="l" for="ch" forName="Child3" refType="w" fact="0.6804"/>
              <dgm:constr type="t" for="ch" forName="Child3" refType="h" fact="0.3808"/>
              <dgm:constr type="w" for="ch" forName="Child3" refType="w" fact="0.3196"/>
              <dgm:constr type="h" for="ch" forName="Child3" refType="h" fact="0.1046"/>
              <dgm:constr type="l" for="ch" forName="Child4" refType="w" fact="0.5348"/>
              <dgm:constr type="t" for="ch" forName="Child4" refType="h" fact="0.5322"/>
              <dgm:constr type="w" for="ch" forName="Child4" refType="w" fact="0.3196"/>
              <dgm:constr type="h" for="ch" forName="Child4" refType="h" fact="0.1046"/>
              <dgm:constr type="l" for="ch" forName="Accent5" refType="w" fact="0.1481"/>
              <dgm:constr type="t" for="ch" forName="Accent5" refType="h" fact="0.6053"/>
              <dgm:constr type="w" for="ch" forName="Accent5" refType="w" fact="0.5331"/>
              <dgm:constr type="h" for="ch" forName="Accent5" refType="h" fact="0.2629"/>
              <dgm:constr type="l" for="ch" forName="Accent6" refType="w" fact="0.038"/>
              <dgm:constr type="t" for="ch" forName="Accent6" refType="h" fact="0.774"/>
              <dgm:constr type="w" for="ch" forName="Accent6" refType="w" fact="0.458"/>
              <dgm:constr type="h" for="ch" forName="Accent6" refType="h" fact="0.226"/>
              <dgm:constr type="l" for="ch" forName="Parent5" refType="w" fact="0.2658"/>
              <dgm:constr type="t" for="ch" forName="Parent5" refType="h" fact="0.7005"/>
              <dgm:constr type="w" for="ch" forName="Parent5" refType="w" fact="0.2975"/>
              <dgm:constr type="h" for="ch" forName="Parent5" refType="h" fact="0.0733"/>
              <dgm:constr type="l" for="ch" forName="Parent6" refType="w" fact="0.1171"/>
              <dgm:constr type="t" for="ch" forName="Parent6" refType="h" fact="0.8519"/>
              <dgm:constr type="w" for="ch" forName="Parent6" refType="w" fact="0.2975"/>
              <dgm:constr type="h" for="ch" forName="Parent6" refType="h" fact="0.0733"/>
              <dgm:constr type="l" for="ch" forName="Child5" refType="w" fact="0.6804"/>
              <dgm:constr type="t" for="ch" forName="Child5" refType="h" fact="0.6833"/>
              <dgm:constr type="w" for="ch" forName="Child5" refType="w" fact="0.3196"/>
              <dgm:constr type="h" for="ch" forName="Child5" refType="h" fact="0.1046"/>
              <dgm:constr type="l" for="ch" forName="Child6" refType="w" fact="0.5348"/>
              <dgm:constr type="t" for="ch" forName="Child6" refType="h" fact="0.8347"/>
              <dgm:constr type="w" for="ch" forName="Child6" refType="w" fact="0.3196"/>
              <dgm:constr type="h" for="ch" forName="Child6" refType="h" fact="0.1046"/>
            </dgm:constrLst>
          </dgm:if>
          <dgm:else name="Name10">
            <dgm:alg type="composite">
              <dgm:param type="ar" val="0.4284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l" for="ch" forName="Accent1" refType="w" fact="0.1481"/>
              <dgm:constr type="t" for="ch" forName="Accent1" refType="h" fact="0"/>
              <dgm:constr type="w" for="ch" forName="Accent1" refType="w" fact="0.5331"/>
              <dgm:constr type="h" for="ch" forName="Accent1" refType="h" fact="0.2284"/>
              <dgm:constr type="l" for="ch" forName="Accent2" refType="w" fact="0"/>
              <dgm:constr type="t" for="ch" forName="Accent2" refType="h" fact="0.1312"/>
              <dgm:constr type="w" for="ch" forName="Accent2" refType="w" fact="0.5331"/>
              <dgm:constr type="h" for="ch" forName="Accent2" refType="h" fact="0.2284"/>
              <dgm:constr type="l" for="ch" forName="Accent3" refType="w" fact="0.1481"/>
              <dgm:constr type="t" for="ch" forName="Accent3" refType="h" fact="0.263"/>
              <dgm:constr type="w" for="ch" forName="Accent3" refType="w" fact="0.5331"/>
              <dgm:constr type="h" for="ch" forName="Accent3" refType="h" fact="0.2284"/>
              <dgm:constr type="l" for="ch" forName="Accent4" refType="w" fact="0"/>
              <dgm:constr type="t" for="ch" forName="Accent4" refType="h" fact="0.3945"/>
              <dgm:constr type="w" for="ch" forName="Accent4" refType="w" fact="0.5331"/>
              <dgm:constr type="h" for="ch" forName="Accent4" refType="h" fact="0.2284"/>
              <dgm:constr type="l" for="ch" forName="Parent1" refType="w" fact="0.2658"/>
              <dgm:constr type="t" for="ch" forName="Parent1" refType="h" fact="0.0827"/>
              <dgm:constr type="w" for="ch" forName="Parent1" refType="w" fact="0.2975"/>
              <dgm:constr type="h" for="ch" forName="Parent1" refType="h" fact="0.0637"/>
              <dgm:constr type="l" for="ch" forName="Parent2" refType="w" fact="0.1171"/>
              <dgm:constr type="t" for="ch" forName="Parent2" refType="h" fact="0.2142"/>
              <dgm:constr type="w" for="ch" forName="Parent2" refType="w" fact="0.2975"/>
              <dgm:constr type="h" for="ch" forName="Parent2" refType="h" fact="0.0637"/>
              <dgm:constr type="l" for="ch" forName="Parent3" refType="w" fact="0.2658"/>
              <dgm:constr type="t" for="ch" forName="Parent3" refType="h" fact="0.3457"/>
              <dgm:constr type="w" for="ch" forName="Parent3" refType="w" fact="0.2975"/>
              <dgm:constr type="h" for="ch" forName="Parent3" refType="h" fact="0.0637"/>
              <dgm:constr type="l" for="ch" forName="Parent4" refType="w" fact="0.1171"/>
              <dgm:constr type="t" for="ch" forName="Parent4" refType="h" fact="0.4772"/>
              <dgm:constr type="w" for="ch" forName="Parent4" refType="w" fact="0.2975"/>
              <dgm:constr type="h" for="ch" forName="Parent4" refType="h" fact="0.0637"/>
              <dgm:constr type="l" for="ch" forName="Child1" refType="w" fact="0.6804"/>
              <dgm:constr type="t" for="ch" forName="Child1" refType="h" fact="0.0678"/>
              <dgm:constr type="w" for="ch" forName="Child1" refType="w" fact="0.3196"/>
              <dgm:constr type="h" for="ch" forName="Child1" refType="h" fact="0.0908"/>
              <dgm:constr type="l" for="ch" forName="Child2" refType="w" fact="0.5348"/>
              <dgm:constr type="t" for="ch" forName="Child2" refType="h" fact="0.2006"/>
              <dgm:constr type="w" for="ch" forName="Child2" refType="w" fact="0.3196"/>
              <dgm:constr type="h" for="ch" forName="Child2" refType="h" fact="0.0908"/>
              <dgm:constr type="l" for="ch" forName="Child3" refType="w" fact="0.6804"/>
              <dgm:constr type="t" for="ch" forName="Child3" refType="h" fact="0.3308"/>
              <dgm:constr type="w" for="ch" forName="Child3" refType="w" fact="0.3196"/>
              <dgm:constr type="h" for="ch" forName="Child3" refType="h" fact="0.0908"/>
              <dgm:constr type="l" for="ch" forName="Child4" refType="w" fact="0.5348"/>
              <dgm:constr type="t" for="ch" forName="Child4" refType="h" fact="0.4623"/>
              <dgm:constr type="w" for="ch" forName="Child4" refType="w" fact="0.3196"/>
              <dgm:constr type="h" for="ch" forName="Child4" refType="h" fact="0.0908"/>
              <dgm:constr type="l" for="ch" forName="Accent5" refType="w" fact="0.1481"/>
              <dgm:constr type="t" for="ch" forName="Accent5" refType="h" fact="0.5258"/>
              <dgm:constr type="w" for="ch" forName="Accent5" refType="w" fact="0.5331"/>
              <dgm:constr type="h" for="ch" forName="Accent5" refType="h" fact="0.2284"/>
              <dgm:constr type="l" for="ch" forName="Accent6" refType="w" fact="0"/>
              <dgm:constr type="t" for="ch" forName="Accent6" refType="h" fact="0.6573"/>
              <dgm:constr type="w" for="ch" forName="Accent6" refType="w" fact="0.5331"/>
              <dgm:constr type="h" for="ch" forName="Accent6" refType="h" fact="0.2284"/>
              <dgm:constr type="l" for="ch" forName="Accent7" refType="w" fact="0.186"/>
              <dgm:constr type="t" for="ch" forName="Accent7" refType="h" fact="0.8037"/>
              <dgm:constr type="w" for="ch" forName="Accent7" refType="w" fact="0.458"/>
              <dgm:constr type="h" for="ch" forName="Accent7" refType="h" fact="0.1963"/>
              <dgm:constr type="l" for="ch" forName="Parent5" refType="w" fact="0.2658"/>
              <dgm:constr type="t" for="ch" forName="Parent5" refType="h" fact="0.6085"/>
              <dgm:constr type="w" for="ch" forName="Parent5" refType="w" fact="0.2975"/>
              <dgm:constr type="h" for="ch" forName="Parent5" refType="h" fact="0.0637"/>
              <dgm:constr type="l" for="ch" forName="Parent6" refType="w" fact="0.1171"/>
              <dgm:constr type="t" for="ch" forName="Parent6" refType="h" fact="0.74"/>
              <dgm:constr type="w" for="ch" forName="Parent6" refType="w" fact="0.2975"/>
              <dgm:constr type="h" for="ch" forName="Parent6" refType="h" fact="0.0637"/>
              <dgm:constr type="l" for="ch" forName="Parent7" refType="w" fact="0.2658"/>
              <dgm:constr type="t" for="ch" forName="Parent7" refType="h" fact="0.8715"/>
              <dgm:constr type="w" for="ch" forName="Parent7" refType="w" fact="0.2975"/>
              <dgm:constr type="h" for="ch" forName="Parent7" refType="h" fact="0.0637"/>
              <dgm:constr type="l" for="ch" forName="Child5" refType="w" fact="0.6804"/>
              <dgm:constr type="t" for="ch" forName="Child5" refType="h" fact="0.5936"/>
              <dgm:constr type="w" for="ch" forName="Child5" refType="w" fact="0.3196"/>
              <dgm:constr type="h" for="ch" forName="Child5" refType="h" fact="0.0908"/>
              <dgm:constr type="l" for="ch" forName="Child6" refType="w" fact="0.5348"/>
              <dgm:constr type="t" for="ch" forName="Child6" refType="h" fact="0.7251"/>
              <dgm:constr type="w" for="ch" forName="Child6" refType="w" fact="0.3196"/>
              <dgm:constr type="h" for="ch" forName="Child6" refType="h" fact="0.0908"/>
              <dgm:constr type="l" for="ch" forName="Child7" refType="w" fact="0.6804"/>
              <dgm:constr type="t" for="ch" forName="Child7" refType="h" fact="0.8579"/>
              <dgm:constr type="w" for="ch" forName="Child7" refType="w" fact="0.3196"/>
              <dgm:constr type="h" for="ch" forName="Child7" refType="h" fact="0.0908"/>
            </dgm:constrLst>
          </dgm:else>
        </dgm:choose>
      </dgm:if>
      <dgm:else name="Name11">
        <dgm:choose name="Name12">
          <dgm:if name="Name13" axis="ch" ptType="node" func="cnt" op="equ" val="1">
            <dgm:alg type="composite">
              <dgm:param type="ar" val="1.5999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l" for="ch" forName="Child1" refType="w" fact="0.625"/>
              <dgm:constr type="t" for="ch" forName="Child1" refType="h" fact="0.2981"/>
              <dgm:constr type="w" for="ch" forName="Child1" refType="w" fact="0.375"/>
              <dgm:constr type="h" for="ch" forName="Child1" refType="h" fact="0.4001"/>
              <dgm:constr type="l" for="ch" forName="Accent1" refType="w" fact="0"/>
              <dgm:constr type="t" for="ch" forName="Accent1" refType="h" fact="0"/>
              <dgm:constr type="w" for="ch" forName="Accent1" refType="w" fact="0.6249"/>
              <dgm:constr type="h" for="ch" forName="Accent1" refType="h"/>
              <dgm:constr type="l" for="ch" forName="Parent1" refType="w" fact="0.138"/>
              <dgm:constr type="t" for="ch" forName="Parent1" refType="h" fact="0.362"/>
              <dgm:constr type="w" for="ch" forName="Parent1" refType="w" fact="0.3487"/>
              <dgm:constr type="h" for="ch" forName="Parent1" refType="h" fact="0.2789"/>
            </dgm:constrLst>
          </dgm:if>
          <dgm:if name="Name14" axis="ch" ptType="node" func="cnt" op="equ" val="2">
            <dgm:alg type="composite">
              <dgm:param type="ar" val="1.2026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Parent2" refType="primFontSz" refFor="des" refForName="Parent1" op="equ"/>
              <dgm:constr type="primFontSz" for="des" forName="Child2" refType="primFontSz" refFor="des" refForName="Child1" op="equ"/>
              <dgm:constr type="l" for="ch" forName="Accent1" refType="w" fact="-0.0407"/>
              <dgm:constr type="t" for="ch" forName="Accent1" refType="h" fact="0"/>
              <dgm:constr type="w" for="ch" forName="Accent1" refType="w" fact="0.5542"/>
              <dgm:constr type="h" for="ch" forName="Accent1" refType="h" fact="0.6665"/>
              <dgm:constr type="l" for="ch" forName="Accent2" refType="w" fact="0.1533"/>
              <dgm:constr type="t" for="ch" forName="Accent2" refType="h" fact="0.4272"/>
              <dgm:constr type="w" for="ch" forName="Accent2" refType="w" fact="0.4761"/>
              <dgm:constr type="h" for="ch" forName="Accent2" refType="h" fact="0.5728"/>
              <dgm:constr type="l" for="ch" forName="Parent1" refType="w" fact="0.0822"/>
              <dgm:constr type="t" for="ch" forName="Parent1" refType="h" fact="0.2413"/>
              <dgm:constr type="w" for="ch" forName="Parent1" refType="w" fact="0.3092"/>
              <dgm:constr type="h" for="ch" forName="Parent1" refType="h" fact="0.1859"/>
              <dgm:constr type="l" for="ch" forName="Parent2" refType="w" fact="0.2368"/>
              <dgm:constr type="t" for="ch" forName="Parent2" refType="h" fact="0.625"/>
              <dgm:constr type="w" for="ch" forName="Parent2" refType="w" fact="0.3092"/>
              <dgm:constr type="h" for="ch" forName="Parent2" refType="h" fact="0.1859"/>
              <dgm:constr type="l" for="ch" forName="Child1" refType="w" fact="0.5164"/>
              <dgm:constr type="t" for="ch" forName="Child1" refType="h" fact="0.1978"/>
              <dgm:constr type="w" for="ch" forName="Child1" refType="w" fact="0.3322"/>
              <dgm:constr type="h" for="ch" forName="Child1" refType="h" fact="0.265"/>
              <dgm:constr type="l" for="ch" forName="Child2" refType="w" fact="0.6678"/>
              <dgm:constr type="t" for="ch" forName="Child2" refType="h" fact="0.5855"/>
              <dgm:constr type="w" for="ch" forName="Child2" refType="w" fact="0.3322"/>
              <dgm:constr type="h" for="ch" forName="Child2" refType="h" fact="0.265"/>
            </dgm:constrLst>
          </dgm:if>
          <dgm:if name="Name15" axis="ch" ptType="node" func="cnt" op="equ" val="3">
            <dgm:alg type="composite">
              <dgm:param type="ar" val="0.9039"/>
            </dgm:alg>
            <dgm:shape xmlns:r="http://schemas.openxmlformats.org/officeDocument/2006/relationships" r:blip="">
              <dgm:adjLst/>
            </dgm:shape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l" for="ch" forName="Accent1" refType="w" fact="0"/>
              <dgm:constr type="t" for="ch" forName="Accent1" refType="h" fact="0"/>
              <dgm:constr type="w" for="ch" forName="Accent1" refType="w" fact="0.5325"/>
              <dgm:constr type="h" for="ch" forName="Accent1" refType="h" fact="0.4814"/>
              <dgm:constr type="l" for="ch" forName="Accent2" refType="w" fact="0.1479"/>
              <dgm:constr type="t" for="ch" forName="Accent2" refType="h" fact="0.2766"/>
              <dgm:constr type="w" for="ch" forName="Accent2" refType="w" fact="0.5325"/>
              <dgm:constr type="h" for="ch" forName="Accent2" refType="h" fact="0.4814"/>
              <dgm:constr type="l" for="ch" forName="Accent3" refType="w" fact="0.0378"/>
              <dgm:constr type="t" for="ch" forName="Accent3" refType="h" fact="0.5863"/>
              <dgm:constr type="w" for="ch" forName="Accent3" refType="w" fact="0.4575"/>
              <dgm:constr type="h" for="ch" forName="Accent3" refType="h" fact="0.4137"/>
              <dgm:constr type="l" for="ch" forName="Parent1" refType="w" fact="0.1183"/>
              <dgm:constr type="t" for="ch" forName="Parent1" refType="h" fact="0.1738"/>
              <dgm:constr type="w" for="ch" forName="Parent1" refType="w" fact="0.2959"/>
              <dgm:constr type="h" for="ch" forName="Parent1" refType="h" fact="0.1337"/>
              <dgm:constr type="l" for="ch" forName="Parent2" refType="w" fact="0.2656"/>
              <dgm:constr type="t" for="ch" forName="Parent2" refType="h" fact="0.452"/>
              <dgm:constr type="w" for="ch" forName="Parent2" refType="w" fact="0.2959"/>
              <dgm:constr type="h" for="ch" forName="Parent2" refType="h" fact="0.1337"/>
              <dgm:constr type="l" for="ch" forName="Parent3" refType="w" fact="0.1183"/>
              <dgm:constr type="t" for="ch" forName="Parent3" refType="h" fact="0.7306"/>
              <dgm:constr type="w" for="ch" forName="Parent3" refType="w" fact="0.2959"/>
              <dgm:constr type="h" for="ch" forName="Parent3" refType="h" fact="0.1337"/>
              <dgm:constr type="l" for="ch" forName="Child1" refType="w" fact="0.5325"/>
              <dgm:constr type="t" for="ch" forName="Child1" refType="h" fact="0.1435"/>
              <dgm:constr type="w" for="ch" forName="Child1" refType="w" fact="0.3195"/>
              <dgm:constr type="h" for="ch" forName="Child1" refType="h" fact="0.1926"/>
              <dgm:constr type="l" for="ch" forName="Child2" refType="w" fact="0.6805"/>
              <dgm:constr type="t" for="ch" forName="Child2" refType="h" fact="0.4217"/>
              <dgm:constr type="w" for="ch" forName="Child2" refType="w" fact="0.3195"/>
              <dgm:constr type="h" for="ch" forName="Child2" refType="h" fact="0.1926"/>
              <dgm:constr type="l" for="ch" forName="Child3" refType="w" fact="0.5325"/>
              <dgm:constr type="t" for="ch" forName="Child3" refType="h" fact="0.6998"/>
              <dgm:constr type="w" for="ch" forName="Child3" refType="w" fact="0.3195"/>
              <dgm:constr type="h" for="ch" forName="Child3" refType="h" fact="0.1926"/>
            </dgm:constrLst>
          </dgm:if>
          <dgm:if name="Name16" axis="ch" ptType="node" func="cnt" op="equ" val="4">
            <dgm:alg type="composite">
              <dgm:param type="ar" val="0.7073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l" for="ch" forName="Accent1" refType="w" fact="0"/>
              <dgm:constr type="t" for="ch" forName="Accent1" refType="h" fact="0"/>
              <dgm:constr type="w" for="ch" forName="Accent1" refType="w" fact="0.5331"/>
              <dgm:constr type="h" for="ch" forName="Accent1" refType="h" fact="0.3771"/>
              <dgm:constr type="l" for="ch" forName="Accent2" refType="w" fact="0.1481"/>
              <dgm:constr type="t" for="ch" forName="Accent2" refType="h" fact="0.2167"/>
              <dgm:constr type="w" for="ch" forName="Accent2" refType="w" fact="0.5331"/>
              <dgm:constr type="h" for="ch" forName="Accent2" refType="h" fact="0.3771"/>
              <dgm:constr type="l" for="ch" forName="Accent3" refType="w" fact="0"/>
              <dgm:constr type="t" for="ch" forName="Accent3" refType="h" fact="0.4342"/>
              <dgm:constr type="w" for="ch" forName="Accent3" refType="w" fact="0.5331"/>
              <dgm:constr type="h" for="ch" forName="Accent3" refType="h" fact="0.3771"/>
              <dgm:constr type="l" for="ch" forName="Accent4" refType="w" fact="0.186"/>
              <dgm:constr type="t" for="ch" forName="Accent4" refType="h" fact="0.6759"/>
              <dgm:constr type="w" for="ch" forName="Accent4" refType="w" fact="0.458"/>
              <dgm:constr type="h" for="ch" forName="Accent4" refType="h" fact="0.3241"/>
              <dgm:constr type="l" for="ch" forName="Parent1" refType="w" fact="0.1171"/>
              <dgm:constr type="t" for="ch" forName="Parent1" refType="h" fact="0.1365"/>
              <dgm:constr type="w" for="ch" forName="Parent1" refType="w" fact="0.2975"/>
              <dgm:constr type="h" for="ch" forName="Parent1" refType="h" fact="0.1052"/>
              <dgm:constr type="l" for="ch" forName="Parent2" refType="w" fact="0.2658"/>
              <dgm:constr type="t" for="ch" forName="Parent2" refType="h" fact="0.3536"/>
              <dgm:constr type="w" for="ch" forName="Parent2" refType="w" fact="0.2975"/>
              <dgm:constr type="h" for="ch" forName="Parent2" refType="h" fact="0.1052"/>
              <dgm:constr type="l" for="ch" forName="Parent3" refType="w" fact="0.1171"/>
              <dgm:constr type="t" for="ch" forName="Parent3" refType="h" fact="0.5707"/>
              <dgm:constr type="w" for="ch" forName="Parent3" refType="w" fact="0.2975"/>
              <dgm:constr type="h" for="ch" forName="Parent3" refType="h" fact="0.1052"/>
              <dgm:constr type="l" for="ch" forName="Parent4" refType="w" fact="0.2658"/>
              <dgm:constr type="t" for="ch" forName="Parent4" refType="h" fact="0.7878"/>
              <dgm:constr type="w" for="ch" forName="Parent4" refType="w" fact="0.2975"/>
              <dgm:constr type="h" for="ch" forName="Parent4" refType="h" fact="0.1052"/>
              <dgm:constr type="l" for="ch" forName="Child1" refType="w" fact="0.5348"/>
              <dgm:constr type="t" for="ch" forName="Child1" refType="h" fact="0.1119"/>
              <dgm:constr type="w" for="ch" forName="Child1" refType="w" fact="0.3196"/>
              <dgm:constr type="h" for="ch" forName="Child1" refType="h" fact="0.15"/>
              <dgm:constr type="l" for="ch" forName="Child2" refType="w" fact="0.6804"/>
              <dgm:constr type="t" for="ch" forName="Child2" refType="h" fact="0.3312"/>
              <dgm:constr type="w" for="ch" forName="Child2" refType="w" fact="0.3196"/>
              <dgm:constr type="h" for="ch" forName="Child2" refType="h" fact="0.15"/>
              <dgm:constr type="l" for="ch" forName="Child3" refType="w" fact="0.5348"/>
              <dgm:constr type="t" for="ch" forName="Child3" refType="h" fact="0.5461"/>
              <dgm:constr type="w" for="ch" forName="Child3" refType="w" fact="0.3196"/>
              <dgm:constr type="h" for="ch" forName="Child3" refType="h" fact="0.15"/>
              <dgm:constr type="l" for="ch" forName="Child4" refType="w" fact="0.6804"/>
              <dgm:constr type="t" for="ch" forName="Child4" refType="h" fact="0.7632"/>
              <dgm:constr type="w" for="ch" forName="Child4" refType="w" fact="0.3196"/>
              <dgm:constr type="h" for="ch" forName="Child4" refType="h" fact="0.15"/>
            </dgm:constrLst>
          </dgm:if>
          <dgm:if name="Name17" axis="ch" ptType="node" func="cnt" op="equ" val="5">
            <dgm:alg type="composite">
              <dgm:param type="ar" val="0.5811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l" for="ch" forName="Accent1" refType="w" fact="0"/>
              <dgm:constr type="t" for="ch" forName="Accent1" refType="h" fact="0"/>
              <dgm:constr type="w" for="ch" forName="Accent1" refType="w" fact="0.5331"/>
              <dgm:constr type="h" for="ch" forName="Accent1" refType="h" fact="0.3098"/>
              <dgm:constr type="l" for="ch" forName="Accent2" refType="w" fact="0.1481"/>
              <dgm:constr type="t" for="ch" forName="Accent2" refType="h" fact="0.178"/>
              <dgm:constr type="w" for="ch" forName="Accent2" refType="w" fact="0.5331"/>
              <dgm:constr type="h" for="ch" forName="Accent2" refType="h" fact="0.3098"/>
              <dgm:constr type="l" for="ch" forName="Accent3" refType="w" fact="0"/>
              <dgm:constr type="t" for="ch" forName="Accent3" refType="h" fact="0.3568"/>
              <dgm:constr type="w" for="ch" forName="Accent3" refType="w" fact="0.5331"/>
              <dgm:constr type="h" for="ch" forName="Accent3" refType="h" fact="0.3098"/>
              <dgm:constr type="l" for="ch" forName="Accent4" refType="w" fact="0.1481"/>
              <dgm:constr type="t" for="ch" forName="Accent4" refType="h" fact="0.5351"/>
              <dgm:constr type="w" for="ch" forName="Accent4" refType="w" fact="0.5331"/>
              <dgm:constr type="h" for="ch" forName="Accent4" refType="h" fact="0.3098"/>
              <dgm:constr type="l" for="ch" forName="Accent5" refType="w" fact="0.0378"/>
              <dgm:constr type="t" for="ch" forName="Accent5" refType="h" fact="0.7337"/>
              <dgm:constr type="w" for="ch" forName="Accent5" refType="w" fact="0.458"/>
              <dgm:constr type="h" for="ch" forName="Accent5" refType="h" fact="0.2663"/>
              <dgm:constr type="l" for="ch" forName="Parent1" refType="w" fact="0.1171"/>
              <dgm:constr type="t" for="ch" forName="Parent1" refType="h" fact="0.1122"/>
              <dgm:constr type="w" for="ch" forName="Parent1" refType="w" fact="0.2975"/>
              <dgm:constr type="h" for="ch" forName="Parent1" refType="h" fact="0.0864"/>
              <dgm:constr type="l" for="ch" forName="Parent2" refType="w" fact="0.2658"/>
              <dgm:constr type="t" for="ch" forName="Parent2" refType="h" fact="0.2906"/>
              <dgm:constr type="w" for="ch" forName="Parent2" refType="w" fact="0.2975"/>
              <dgm:constr type="h" for="ch" forName="Parent2" refType="h" fact="0.0864"/>
              <dgm:constr type="l" for="ch" forName="Parent3" refType="w" fact="0.1171"/>
              <dgm:constr type="t" for="ch" forName="Parent3" refType="h" fact="0.4689"/>
              <dgm:constr type="w" for="ch" forName="Parent3" refType="w" fact="0.2975"/>
              <dgm:constr type="h" for="ch" forName="Parent3" refType="h" fact="0.0864"/>
              <dgm:constr type="l" for="ch" forName="Parent4" refType="w" fact="0.2658"/>
              <dgm:constr type="t" for="ch" forName="Parent4" refType="h" fact="0.6473"/>
              <dgm:constr type="w" for="ch" forName="Parent4" refType="w" fact="0.2975"/>
              <dgm:constr type="h" for="ch" forName="Parent4" refType="h" fact="0.0864"/>
              <dgm:constr type="l" for="ch" forName="Parent5" refType="w" fact="0.1171"/>
              <dgm:constr type="t" for="ch" forName="Parent5" refType="h" fact="0.8257"/>
              <dgm:constr type="w" for="ch" forName="Parent5" refType="w" fact="0.2975"/>
              <dgm:constr type="h" for="ch" forName="Parent5" refType="h" fact="0.0864"/>
              <dgm:constr type="l" for="ch" forName="Child1" refType="w" fact="0.5348"/>
              <dgm:constr type="t" for="ch" forName="Child1" refType="h" fact="0.0919"/>
              <dgm:constr type="w" for="ch" forName="Child1" refType="w" fact="0.3196"/>
              <dgm:constr type="h" for="ch" forName="Child1" refType="h" fact="0.1232"/>
              <dgm:constr type="l" for="ch" forName="Child2" refType="w" fact="0.6804"/>
              <dgm:constr type="t" for="ch" forName="Child2" refType="h" fact="0.2722"/>
              <dgm:constr type="w" for="ch" forName="Child2" refType="w" fact="0.3196"/>
              <dgm:constr type="h" for="ch" forName="Child2" refType="h" fact="0.1232"/>
              <dgm:constr type="l" for="ch" forName="Child3" refType="w" fact="0.5348"/>
              <dgm:constr type="t" for="ch" forName="Child3" refType="h" fact="0.4487"/>
              <dgm:constr type="w" for="ch" forName="Child3" refType="w" fact="0.3196"/>
              <dgm:constr type="h" for="ch" forName="Child3" refType="h" fact="0.1232"/>
              <dgm:constr type="l" for="ch" forName="Child4" refType="w" fact="0.6804"/>
              <dgm:constr type="t" for="ch" forName="Child4" refType="h" fact="0.6271"/>
              <dgm:constr type="w" for="ch" forName="Child4" refType="w" fact="0.3196"/>
              <dgm:constr type="h" for="ch" forName="Child4" refType="h" fact="0.1232"/>
              <dgm:constr type="l" for="ch" forName="Child5" refType="w" fact="0.5348"/>
              <dgm:constr type="t" for="ch" forName="Child5" refType="h" fact="0.8073"/>
              <dgm:constr type="w" for="ch" forName="Child5" refType="w" fact="0.3196"/>
              <dgm:constr type="h" for="ch" forName="Child5" refType="h" fact="0.1232"/>
            </dgm:constrLst>
          </dgm:if>
          <dgm:if name="Name18" axis="ch" ptType="node" func="cnt" op="equ" val="6">
            <dgm:alg type="composite">
              <dgm:param type="ar" val="0.4931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l" for="ch" forName="Accent1" refType="w" fact="0"/>
              <dgm:constr type="t" for="ch" forName="Accent1" refType="h" fact="0"/>
              <dgm:constr type="w" for="ch" forName="Accent1" refType="w" fact="0.5331"/>
              <dgm:constr type="h" for="ch" forName="Accent1" refType="h" fact="0.2629"/>
              <dgm:constr type="l" for="ch" forName="Accent2" refType="w" fact="0.1481"/>
              <dgm:constr type="t" for="ch" forName="Accent2" refType="h" fact="0.1511"/>
              <dgm:constr type="w" for="ch" forName="Accent2" refType="w" fact="0.5331"/>
              <dgm:constr type="h" for="ch" forName="Accent2" refType="h" fact="0.2629"/>
              <dgm:constr type="l" for="ch" forName="Accent3" refType="w" fact="0"/>
              <dgm:constr type="t" for="ch" forName="Accent3" refType="h" fact="0.3027"/>
              <dgm:constr type="w" for="ch" forName="Accent3" refType="w" fact="0.5331"/>
              <dgm:constr type="h" for="ch" forName="Accent3" refType="h" fact="0.2629"/>
              <dgm:constr type="l" for="ch" forName="Accent4" refType="w" fact="0.1481"/>
              <dgm:constr type="t" for="ch" forName="Accent4" refType="h" fact="0.4541"/>
              <dgm:constr type="w" for="ch" forName="Accent4" refType="w" fact="0.5331"/>
              <dgm:constr type="h" for="ch" forName="Accent4" refType="h" fact="0.2629"/>
              <dgm:constr type="l" for="ch" forName="Accent5" refType="w" fact="0"/>
              <dgm:constr type="t" for="ch" forName="Accent5" refType="h" fact="0.6053"/>
              <dgm:constr type="w" for="ch" forName="Accent5" refType="w" fact="0.5331"/>
              <dgm:constr type="h" for="ch" forName="Accent5" refType="h" fact="0.2629"/>
              <dgm:constr type="l" for="ch" forName="Accent6" refType="w" fact="0.186"/>
              <dgm:constr type="t" for="ch" forName="Accent6" refType="h" fact="0.774"/>
              <dgm:constr type="w" for="ch" forName="Accent6" refType="w" fact="0.458"/>
              <dgm:constr type="h" for="ch" forName="Accent6" refType="h" fact="0.226"/>
              <dgm:constr type="l" for="ch" forName="Parent1" refType="w" fact="0.1171"/>
              <dgm:constr type="t" for="ch" forName="Parent1" refType="h" fact="0.0952"/>
              <dgm:constr type="w" for="ch" forName="Parent1" refType="w" fact="0.2975"/>
              <dgm:constr type="h" for="ch" forName="Parent1" refType="h" fact="0.0733"/>
              <dgm:constr type="l" for="ch" forName="Parent2" refType="w" fact="0.2658"/>
              <dgm:constr type="t" for="ch" forName="Parent2" refType="h" fact="0.2466"/>
              <dgm:constr type="w" for="ch" forName="Parent2" refType="w" fact="0.2975"/>
              <dgm:constr type="h" for="ch" forName="Parent2" refType="h" fact="0.0733"/>
              <dgm:constr type="l" for="ch" forName="Parent3" refType="w" fact="0.1171"/>
              <dgm:constr type="t" for="ch" forName="Parent3" refType="h" fact="0.3979"/>
              <dgm:constr type="w" for="ch" forName="Parent3" refType="w" fact="0.2975"/>
              <dgm:constr type="h" for="ch" forName="Parent3" refType="h" fact="0.0733"/>
              <dgm:constr type="l" for="ch" forName="Parent4" refType="w" fact="0.2658"/>
              <dgm:constr type="t" for="ch" forName="Parent4" refType="h" fact="0.5493"/>
              <dgm:constr type="w" for="ch" forName="Parent4" refType="w" fact="0.2975"/>
              <dgm:constr type="h" for="ch" forName="Parent4" refType="h" fact="0.0733"/>
              <dgm:constr type="l" for="ch" forName="Parent5" refType="w" fact="0.1171"/>
              <dgm:constr type="t" for="ch" forName="Parent5" refType="h" fact="0.7005"/>
              <dgm:constr type="w" for="ch" forName="Parent5" refType="w" fact="0.2975"/>
              <dgm:constr type="h" for="ch" forName="Parent5" refType="h" fact="0.0733"/>
              <dgm:constr type="l" for="ch" forName="Parent6" refType="w" fact="0.2658"/>
              <dgm:constr type="t" for="ch" forName="Parent6" refType="h" fact="0.8519"/>
              <dgm:constr type="w" for="ch" forName="Parent6" refType="w" fact="0.2975"/>
              <dgm:constr type="h" for="ch" forName="Parent6" refType="h" fact="0.0733"/>
              <dgm:constr type="l" for="ch" forName="Child1" refType="w" fact="0.5348"/>
              <dgm:constr type="t" for="ch" forName="Child1" refType="h" fact="0.078"/>
              <dgm:constr type="w" for="ch" forName="Child1" refType="w" fact="0.3196"/>
              <dgm:constr type="h" for="ch" forName="Child1" refType="h" fact="0.1046"/>
              <dgm:constr type="l" for="ch" forName="Child2" refType="w" fact="0.6804"/>
              <dgm:constr type="t" for="ch" forName="Child2" refType="h" fact="0.231"/>
              <dgm:constr type="w" for="ch" forName="Child2" refType="w" fact="0.3196"/>
              <dgm:constr type="h" for="ch" forName="Child2" refType="h" fact="0.1046"/>
              <dgm:constr type="l" for="ch" forName="Child3" refType="w" fact="0.5348"/>
              <dgm:constr type="t" for="ch" forName="Child3" refType="h" fact="0.3808"/>
              <dgm:constr type="w" for="ch" forName="Child3" refType="w" fact="0.3196"/>
              <dgm:constr type="h" for="ch" forName="Child3" refType="h" fact="0.1046"/>
              <dgm:constr type="l" for="ch" forName="Child4" refType="w" fact="0.6804"/>
              <dgm:constr type="t" for="ch" forName="Child4" refType="h" fact="0.5322"/>
              <dgm:constr type="w" for="ch" forName="Child4" refType="w" fact="0.3196"/>
              <dgm:constr type="h" for="ch" forName="Child4" refType="h" fact="0.1046"/>
              <dgm:constr type="l" for="ch" forName="Child5" refType="w" fact="0.5348"/>
              <dgm:constr type="t" for="ch" forName="Child5" refType="h" fact="0.6833"/>
              <dgm:constr type="w" for="ch" forName="Child5" refType="w" fact="0.3196"/>
              <dgm:constr type="h" for="ch" forName="Child5" refType="h" fact="0.1046"/>
              <dgm:constr type="l" for="ch" forName="Child6" refType="w" fact="0.6804"/>
              <dgm:constr type="t" for="ch" forName="Child6" refType="h" fact="0.8347"/>
              <dgm:constr type="w" for="ch" forName="Child6" refType="w" fact="0.3196"/>
              <dgm:constr type="h" for="ch" forName="Child6" refType="h" fact="0.1046"/>
            </dgm:constrLst>
          </dgm:if>
          <dgm:else name="Name19">
            <dgm:alg type="composite">
              <dgm:param type="ar" val="0.4284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l" for="ch" forName="Accent1" refType="w" fact="0"/>
              <dgm:constr type="t" for="ch" forName="Accent1" refType="h" fact="0"/>
              <dgm:constr type="w" for="ch" forName="Accent1" refType="w" fact="0.5331"/>
              <dgm:constr type="h" for="ch" forName="Accent1" refType="h" fact="0.2284"/>
              <dgm:constr type="l" for="ch" forName="Accent2" refType="w" fact="0.1481"/>
              <dgm:constr type="t" for="ch" forName="Accent2" refType="h" fact="0.1312"/>
              <dgm:constr type="w" for="ch" forName="Accent2" refType="w" fact="0.5331"/>
              <dgm:constr type="h" for="ch" forName="Accent2" refType="h" fact="0.2284"/>
              <dgm:constr type="l" for="ch" forName="Accent3" refType="w" fact="0"/>
              <dgm:constr type="t" for="ch" forName="Accent3" refType="h" fact="0.263"/>
              <dgm:constr type="w" for="ch" forName="Accent3" refType="w" fact="0.5331"/>
              <dgm:constr type="h" for="ch" forName="Accent3" refType="h" fact="0.2284"/>
              <dgm:constr type="l" for="ch" forName="Accent4" refType="w" fact="0.1481"/>
              <dgm:constr type="t" for="ch" forName="Accent4" refType="h" fact="0.3945"/>
              <dgm:constr type="w" for="ch" forName="Accent4" refType="w" fact="0.5331"/>
              <dgm:constr type="h" for="ch" forName="Accent4" refType="h" fact="0.2284"/>
              <dgm:constr type="l" for="ch" forName="Accent5" refType="w" fact="0"/>
              <dgm:constr type="t" for="ch" forName="Accent5" refType="h" fact="0.5258"/>
              <dgm:constr type="w" for="ch" forName="Accent5" refType="w" fact="0.5331"/>
              <dgm:constr type="h" for="ch" forName="Accent5" refType="h" fact="0.2284"/>
              <dgm:constr type="l" for="ch" forName="Accent6" refType="w" fact="0.1481"/>
              <dgm:constr type="t" for="ch" forName="Accent6" refType="h" fact="0.6573"/>
              <dgm:constr type="w" for="ch" forName="Accent6" refType="w" fact="0.5331"/>
              <dgm:constr type="h" for="ch" forName="Accent6" refType="h" fact="0.2284"/>
              <dgm:constr type="l" for="ch" forName="Accent7" refType="w" fact="0.0378"/>
              <dgm:constr type="t" for="ch" forName="Accent7" refType="h" fact="0.8037"/>
              <dgm:constr type="w" for="ch" forName="Accent7" refType="w" fact="0.458"/>
              <dgm:constr type="h" for="ch" forName="Accent7" refType="h" fact="0.1963"/>
              <dgm:constr type="l" for="ch" forName="Parent1" refType="w" fact="0.1171"/>
              <dgm:constr type="t" for="ch" forName="Parent1" refType="h" fact="0.0827"/>
              <dgm:constr type="w" for="ch" forName="Parent1" refType="w" fact="0.2975"/>
              <dgm:constr type="h" for="ch" forName="Parent1" refType="h" fact="0.0637"/>
              <dgm:constr type="l" for="ch" forName="Parent2" refType="w" fact="0.2658"/>
              <dgm:constr type="t" for="ch" forName="Parent2" refType="h" fact="0.2142"/>
              <dgm:constr type="w" for="ch" forName="Parent2" refType="w" fact="0.2975"/>
              <dgm:constr type="h" for="ch" forName="Parent2" refType="h" fact="0.0637"/>
              <dgm:constr type="l" for="ch" forName="Parent3" refType="w" fact="0.1171"/>
              <dgm:constr type="t" for="ch" forName="Parent3" refType="h" fact="0.3457"/>
              <dgm:constr type="w" for="ch" forName="Parent3" refType="w" fact="0.2975"/>
              <dgm:constr type="h" for="ch" forName="Parent3" refType="h" fact="0.0637"/>
              <dgm:constr type="l" for="ch" forName="Parent4" refType="w" fact="0.2658"/>
              <dgm:constr type="t" for="ch" forName="Parent4" refType="h" fact="0.4772"/>
              <dgm:constr type="w" for="ch" forName="Parent4" refType="w" fact="0.2975"/>
              <dgm:constr type="h" for="ch" forName="Parent4" refType="h" fact="0.0637"/>
              <dgm:constr type="l" for="ch" forName="Parent5" refType="w" fact="0.1171"/>
              <dgm:constr type="t" for="ch" forName="Parent5" refType="h" fact="0.6085"/>
              <dgm:constr type="w" for="ch" forName="Parent5" refType="w" fact="0.2975"/>
              <dgm:constr type="h" for="ch" forName="Parent5" refType="h" fact="0.0637"/>
              <dgm:constr type="l" for="ch" forName="Parent6" refType="w" fact="0.2658"/>
              <dgm:constr type="t" for="ch" forName="Parent6" refType="h" fact="0.74"/>
              <dgm:constr type="w" for="ch" forName="Parent6" refType="w" fact="0.2975"/>
              <dgm:constr type="h" for="ch" forName="Parent6" refType="h" fact="0.0637"/>
              <dgm:constr type="l" for="ch" forName="Parent7" refType="w" fact="0.1171"/>
              <dgm:constr type="t" for="ch" forName="Parent7" refType="h" fact="0.8715"/>
              <dgm:constr type="w" for="ch" forName="Parent7" refType="w" fact="0.2975"/>
              <dgm:constr type="h" for="ch" forName="Parent7" refType="h" fact="0.0637"/>
              <dgm:constr type="l" for="ch" forName="Child1" refType="w" fact="0.5348"/>
              <dgm:constr type="t" for="ch" forName="Child1" refType="h" fact="0.0678"/>
              <dgm:constr type="w" for="ch" forName="Child1" refType="w" fact="0.3196"/>
              <dgm:constr type="h" for="ch" forName="Child1" refType="h" fact="0.0908"/>
              <dgm:constr type="l" for="ch" forName="Child2" refType="w" fact="0.6804"/>
              <dgm:constr type="t" for="ch" forName="Child2" refType="h" fact="0.2006"/>
              <dgm:constr type="w" for="ch" forName="Child2" refType="w" fact="0.3196"/>
              <dgm:constr type="h" for="ch" forName="Child2" refType="h" fact="0.0908"/>
              <dgm:constr type="l" for="ch" forName="Child3" refType="w" fact="0.5348"/>
              <dgm:constr type="t" for="ch" forName="Child3" refType="h" fact="0.3308"/>
              <dgm:constr type="w" for="ch" forName="Child3" refType="w" fact="0.3196"/>
              <dgm:constr type="h" for="ch" forName="Child3" refType="h" fact="0.0908"/>
              <dgm:constr type="l" for="ch" forName="Child4" refType="w" fact="0.6804"/>
              <dgm:constr type="t" for="ch" forName="Child4" refType="h" fact="0.4623"/>
              <dgm:constr type="w" for="ch" forName="Child4" refType="w" fact="0.3196"/>
              <dgm:constr type="h" for="ch" forName="Child4" refType="h" fact="0.0908"/>
              <dgm:constr type="l" for="ch" forName="Child5" refType="w" fact="0.5348"/>
              <dgm:constr type="t" for="ch" forName="Child5" refType="h" fact="0.5936"/>
              <dgm:constr type="w" for="ch" forName="Child5" refType="w" fact="0.3196"/>
              <dgm:constr type="h" for="ch" forName="Child5" refType="h" fact="0.0908"/>
              <dgm:constr type="l" for="ch" forName="Child6" refType="w" fact="0.6804"/>
              <dgm:constr type="t" for="ch" forName="Child6" refType="h" fact="0.7251"/>
              <dgm:constr type="w" for="ch" forName="Child6" refType="w" fact="0.3196"/>
              <dgm:constr type="h" for="ch" forName="Child6" refType="h" fact="0.0908"/>
              <dgm:constr type="l" for="ch" forName="Child7" refType="w" fact="0.5348"/>
              <dgm:constr type="t" for="ch" forName="Child7" refType="h" fact="0.8579"/>
              <dgm:constr type="w" for="ch" forName="Child7" refType="w" fact="0.3196"/>
              <dgm:constr type="h" for="ch" forName="Child7" refType="h" fact="0.0908"/>
            </dgm:constrLst>
          </dgm:else>
        </dgm:choose>
      </dgm:else>
    </dgm:choose>
    <dgm:forEach name="wrapper" axis="self" ptType="parTrans">
      <dgm:forEach name="accentRepeat" axis="self">
        <dgm:layoutNode name="Accent" styleLbl="node1">
          <dgm:alg type="sp"/>
          <dgm:choose name="Name20">
            <dgm:if name="Name21" func="var" arg="dir" op="equ" val="norm">
              <dgm:choose name="Name22">
                <dgm:if name="Name23" axis="precedSib" ptType="node" func="cnt" op="equ" val="0">
                  <dgm:choose name="Name24">
                    <dgm:if name="Name25" axis="followSib" ptType="node" func="cnt" op="equ" val="0">
                      <dgm:shape xmlns:r="http://schemas.openxmlformats.org/officeDocument/2006/relationships" type="circularArrow" r:blip="">
                        <dgm:adjLst>
                          <dgm:adj idx="1" val="0.1098"/>
                          <dgm:adj idx="2" val="19.0387"/>
                          <dgm:adj idx="3" val="150"/>
                          <dgm:adj idx="4" val="180"/>
                          <dgm:adj idx="5" val="0.125"/>
                        </dgm:adjLst>
                      </dgm:shape>
                    </dgm:if>
                    <dgm:else name="Name26">
                      <dgm:shape xmlns:r="http://schemas.openxmlformats.org/officeDocument/2006/relationships" type="circularArrow" r:blip="">
                        <dgm:adjLst>
                          <dgm:adj idx="1" val="0.1098"/>
                          <dgm:adj idx="2" val="19.0387"/>
                          <dgm:adj idx="3" val="75"/>
                          <dgm:adj idx="4" val="180"/>
                          <dgm:adj idx="5" val="0.125"/>
                        </dgm:adjLst>
                      </dgm:shape>
                    </dgm:else>
                  </dgm:choose>
                </dgm:if>
                <dgm:else name="Name27">
                  <dgm:choose name="Name28">
                    <dgm:if name="Name29" axis="followSib" ptType="node" func="cnt" op="equ" val="0">
                      <dgm:choose name="Name30">
                        <dgm:if name="Name31" axis="precedSib" ptType="node" func="cnt" op="equ" val="1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if name="Name32" axis="precedSib" ptType="node" func="cnt" op="equ" val="2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if name="Name33" axis="precedSib" ptType="node" func="cnt" op="equ" val="3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if name="Name34" axis="precedSib" ptType="node" func="cnt" op="equ" val="4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if name="Name35" axis="precedSib" ptType="node" func="cnt" op="equ" val="5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if name="Name36" axis="precedSib" ptType="node" func="cnt" op="equ" val="6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else name="Name37"/>
                      </dgm:choose>
                    </dgm:if>
                    <dgm:else name="Name38">
                      <dgm:choose name="Name39">
                        <dgm:if name="Name40" axis="precedSib" ptType="node" func="cnt" op="equ" val="0">
                          <dgm:shape xmlns:r="http://schemas.openxmlformats.org/officeDocument/2006/relationships" type="blockArc" r:blip="">
                            <dgm:adjLst>
                              <dgm:adj idx="1" val="-133.1632"/>
                              <dgm:adj idx="2" val="65"/>
                              <dgm:adj idx="3" val="0.13"/>
                            </dgm:adjLst>
                          </dgm:shape>
                        </dgm:if>
                        <dgm:if name="Name41" axis="precedSib" ptType="node" func="cnt" op="equ" val="1">
                          <dgm:shape xmlns:r="http://schemas.openxmlformats.org/officeDocument/2006/relationships" type="leftCircularArrow" r:blip="">
                            <dgm:adjLst>
                              <dgm:adj idx="1" val="0.1098"/>
                              <dgm:adj idx="2" val="19.0387"/>
                              <dgm:adj idx="3" val="105"/>
                              <dgm:adj idx="4" val="-45"/>
                              <dgm:adj idx="5" val="0.125"/>
                            </dgm:adjLst>
                          </dgm:shape>
                        </dgm:if>
                        <dgm:if name="Name42" axis="precedSib" ptType="node" func="cnt" op="equ" val="2">
                          <dgm:shape xmlns:r="http://schemas.openxmlformats.org/officeDocument/2006/relationships" type="circularArrow" r:blip="">
                            <dgm:adjLst>
                              <dgm:adj idx="1" val="0.1098"/>
                              <dgm:adj idx="2" val="19.0387"/>
                              <dgm:adj idx="3" val="75"/>
                              <dgm:adj idx="4" val="-135"/>
                              <dgm:adj idx="5" val="0.125"/>
                            </dgm:adjLst>
                          </dgm:shape>
                        </dgm:if>
                        <dgm:if name="Name43" axis="precedSib" ptType="node" func="cnt" op="equ" val="3">
                          <dgm:shape xmlns:r="http://schemas.openxmlformats.org/officeDocument/2006/relationships" type="leftCircularArrow" r:blip="">
                            <dgm:adjLst>
                              <dgm:adj idx="1" val="0.1098"/>
                              <dgm:adj idx="2" val="19.0387"/>
                              <dgm:adj idx="3" val="105"/>
                              <dgm:adj idx="4" val="-45"/>
                              <dgm:adj idx="5" val="0.125"/>
                            </dgm:adjLst>
                          </dgm:shape>
                        </dgm:if>
                        <dgm:if name="Name44" axis="precedSib" ptType="node" func="cnt" op="equ" val="4">
                          <dgm:shape xmlns:r="http://schemas.openxmlformats.org/officeDocument/2006/relationships" type="circularArrow" r:blip="">
                            <dgm:adjLst>
                              <dgm:adj idx="1" val="0.1098"/>
                              <dgm:adj idx="2" val="19.0387"/>
                              <dgm:adj idx="3" val="75"/>
                              <dgm:adj idx="4" val="-135"/>
                              <dgm:adj idx="5" val="0.125"/>
                            </dgm:adjLst>
                          </dgm:shape>
                        </dgm:if>
                        <dgm:if name="Name45" axis="precedSib" ptType="node" func="cnt" op="equ" val="5">
                          <dgm:shape xmlns:r="http://schemas.openxmlformats.org/officeDocument/2006/relationships" type="leftCircularArrow" r:blip="">
                            <dgm:adjLst>
                              <dgm:adj idx="1" val="0.1098"/>
                              <dgm:adj idx="2" val="19.0387"/>
                              <dgm:adj idx="3" val="105"/>
                              <dgm:adj idx="4" val="-45"/>
                              <dgm:adj idx="5" val="0.125"/>
                            </dgm:adjLst>
                          </dgm:shape>
                        </dgm:if>
                        <dgm:if name="Name46" axis="precedSib" ptType="node" func="cnt" op="equ" val="6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else name="Name47"/>
                      </dgm:choose>
                    </dgm:else>
                  </dgm:choose>
                </dgm:else>
              </dgm:choose>
            </dgm:if>
            <dgm:else name="Name48">
              <dgm:choose name="Name49">
                <dgm:if name="Name50" axis="precedSib" ptType="node" func="cnt" op="equ" val="0">
                  <dgm:choose name="Name51">
                    <dgm:if name="Name52" axis="followSib" ptType="node" func="cnt" op="equ" val="0">
                      <dgm:shape xmlns:r="http://schemas.openxmlformats.org/officeDocument/2006/relationships" type="leftCircularArrow" r:blip="">
                        <dgm:adjLst>
                          <dgm:adj idx="1" val="0.1098"/>
                          <dgm:adj idx="2" val="19.0387"/>
                          <dgm:adj idx="3" val="30"/>
                          <dgm:adj idx="4" val="0"/>
                          <dgm:adj idx="5" val="0.125"/>
                        </dgm:adjLst>
                      </dgm:shape>
                    </dgm:if>
                    <dgm:else name="Name53">
                      <dgm:shape xmlns:r="http://schemas.openxmlformats.org/officeDocument/2006/relationships" type="leftCircularArrow" r:blip="">
                        <dgm:adjLst>
                          <dgm:adj idx="1" val="0.1098"/>
                          <dgm:adj idx="2" val="19.0387"/>
                          <dgm:adj idx="3" val="105"/>
                          <dgm:adj idx="4" val="0"/>
                          <dgm:adj idx="5" val="0.125"/>
                        </dgm:adjLst>
                      </dgm:shape>
                    </dgm:else>
                  </dgm:choose>
                </dgm:if>
                <dgm:else name="Name54">
                  <dgm:choose name="Name55">
                    <dgm:if name="Name56" axis="followSib" ptType="node" func="cnt" op="equ" val="0">
                      <dgm:choose name="Name57">
                        <dgm:if name="Name58" axis="precedSib" ptType="node" func="cnt" op="equ" val="1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if name="Name59" axis="precedSib" ptType="node" func="cnt" op="equ" val="2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if name="Name60" axis="precedSib" ptType="node" func="cnt" op="equ" val="3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if name="Name61" axis="precedSib" ptType="node" func="cnt" op="equ" val="4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if name="Name62" axis="precedSib" ptType="node" func="cnt" op="equ" val="5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if name="Name63" axis="precedSib" ptType="node" func="cnt" op="equ" val="6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else name="Name64"/>
                      </dgm:choose>
                    </dgm:if>
                    <dgm:else name="Name65">
                      <dgm:choose name="Name66">
                        <dgm:if name="Name67" axis="precedSib" ptType="node" func="cnt" op="equ" val="0">
                          <dgm:shape xmlns:r="http://schemas.openxmlformats.org/officeDocument/2006/relationships" type="blockArc" r:blip="">
                            <dgm:adjLst>
                              <dgm:adj idx="1" val="-133.1632"/>
                              <dgm:adj idx="2" val="65"/>
                              <dgm:adj idx="3" val="0.13"/>
                            </dgm:adjLst>
                          </dgm:shape>
                        </dgm:if>
                        <dgm:if name="Name68" axis="precedSib" ptType="node" func="cnt" op="equ" val="1">
                          <dgm:shape xmlns:r="http://schemas.openxmlformats.org/officeDocument/2006/relationships" type="circularArrow" r:blip="">
                            <dgm:adjLst>
                              <dgm:adj idx="1" val="0.1098"/>
                              <dgm:adj idx="2" val="19.0387"/>
                              <dgm:adj idx="3" val="75"/>
                              <dgm:adj idx="4" val="-135"/>
                              <dgm:adj idx="5" val="0.125"/>
                            </dgm:adjLst>
                          </dgm:shape>
                        </dgm:if>
                        <dgm:if name="Name69" axis="precedSib" ptType="node" func="cnt" op="equ" val="2">
                          <dgm:shape xmlns:r="http://schemas.openxmlformats.org/officeDocument/2006/relationships" type="leftCircularArrow" r:blip="">
                            <dgm:adjLst>
                              <dgm:adj idx="1" val="0.1098"/>
                              <dgm:adj idx="2" val="19.0387"/>
                              <dgm:adj idx="3" val="105"/>
                              <dgm:adj idx="4" val="-45"/>
                              <dgm:adj idx="5" val="0.125"/>
                            </dgm:adjLst>
                          </dgm:shape>
                        </dgm:if>
                        <dgm:if name="Name70" axis="precedSib" ptType="node" func="cnt" op="equ" val="3">
                          <dgm:shape xmlns:r="http://schemas.openxmlformats.org/officeDocument/2006/relationships" type="circularArrow" r:blip="">
                            <dgm:adjLst>
                              <dgm:adj idx="1" val="0.1098"/>
                              <dgm:adj idx="2" val="19.0387"/>
                              <dgm:adj idx="3" val="75"/>
                              <dgm:adj idx="4" val="-135"/>
                              <dgm:adj idx="5" val="0.125"/>
                            </dgm:adjLst>
                          </dgm:shape>
                        </dgm:if>
                        <dgm:if name="Name71" axis="precedSib" ptType="node" func="cnt" op="equ" val="4">
                          <dgm:shape xmlns:r="http://schemas.openxmlformats.org/officeDocument/2006/relationships" type="leftCircularArrow" r:blip="">
                            <dgm:adjLst>
                              <dgm:adj idx="1" val="0.1098"/>
                              <dgm:adj idx="2" val="19.0387"/>
                              <dgm:adj idx="3" val="105"/>
                              <dgm:adj idx="4" val="-45"/>
                              <dgm:adj idx="5" val="0.125"/>
                            </dgm:adjLst>
                          </dgm:shape>
                        </dgm:if>
                        <dgm:if name="Name72" axis="precedSib" ptType="node" func="cnt" op="equ" val="5">
                          <dgm:shape xmlns:r="http://schemas.openxmlformats.org/officeDocument/2006/relationships" type="circularArrow" r:blip="">
                            <dgm:adjLst>
                              <dgm:adj idx="1" val="0.1098"/>
                              <dgm:adj idx="2" val="19.0387"/>
                              <dgm:adj idx="3" val="75"/>
                              <dgm:adj idx="4" val="-135"/>
                              <dgm:adj idx="5" val="0.125"/>
                            </dgm:adjLst>
                          </dgm:shape>
                        </dgm:if>
                        <dgm:if name="Name73" axis="precedSib" ptType="node" func="cnt" op="equ" val="6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else name="Name74"/>
                      </dgm:choose>
                    </dgm:else>
                  </dgm:choose>
                </dgm:else>
              </dgm:choose>
            </dgm:else>
          </dgm:choose>
          <dgm:presOf/>
        </dgm:layoutNode>
      </dgm:forEach>
    </dgm:forEach>
    <dgm:forEach name="Name75" axis="ch" ptType="node" cnt="1">
      <dgm:layoutNode name="Accent1">
        <dgm:alg type="sp"/>
        <dgm:shape xmlns:r="http://schemas.openxmlformats.org/officeDocument/2006/relationships" r:blip="">
          <dgm:adjLst/>
        </dgm:shape>
        <dgm:presOf/>
        <dgm:constrLst/>
        <dgm:forEach name="Name76" ref="accentRepeat"/>
      </dgm:layoutNode>
      <dgm:choose name="Name77">
        <dgm:if name="Name78" axis="ch" ptType="node" func="cnt" op="gte" val="1">
          <dgm:layoutNode name="Child1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79"/>
      </dgm:choose>
      <dgm:layoutNode name="Parent1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  <dgm:forEach name="Name80" axis="ch" ptType="node" st="2" cnt="1">
      <dgm:layoutNode name="Accent2">
        <dgm:alg type="sp"/>
        <dgm:shape xmlns:r="http://schemas.openxmlformats.org/officeDocument/2006/relationships" r:blip="">
          <dgm:adjLst/>
        </dgm:shape>
        <dgm:presOf/>
        <dgm:constrLst/>
        <dgm:forEach name="Name81" ref="accentRepeat"/>
      </dgm:layoutNode>
      <dgm:choose name="Name82">
        <dgm:if name="Name83" axis="ch" ptType="node" func="cnt" op="gte" val="1">
          <dgm:layoutNode name="Child2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84"/>
      </dgm:choose>
      <dgm:layoutNode name="Parent2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  <dgm:forEach name="Name85" axis="ch" ptType="node" st="3" cnt="1">
      <dgm:layoutNode name="Accent3">
        <dgm:alg type="sp"/>
        <dgm:shape xmlns:r="http://schemas.openxmlformats.org/officeDocument/2006/relationships" r:blip="">
          <dgm:adjLst/>
        </dgm:shape>
        <dgm:presOf/>
        <dgm:constrLst/>
        <dgm:forEach name="Name86" ref="accentRepeat"/>
      </dgm:layoutNode>
      <dgm:choose name="Name87">
        <dgm:if name="Name88" axis="ch" ptType="node" func="cnt" op="gte" val="1">
          <dgm:layoutNode name="Child3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89"/>
      </dgm:choose>
      <dgm:layoutNode name="Parent3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  <dgm:forEach name="Name90" axis="ch" ptType="node" st="4" cnt="1">
      <dgm:layoutNode name="Accent4">
        <dgm:alg type="sp"/>
        <dgm:shape xmlns:r="http://schemas.openxmlformats.org/officeDocument/2006/relationships" r:blip="">
          <dgm:adjLst/>
        </dgm:shape>
        <dgm:presOf/>
        <dgm:constrLst/>
        <dgm:forEach name="Name91" ref="accentRepeat"/>
      </dgm:layoutNode>
      <dgm:choose name="Name92">
        <dgm:if name="Name93" axis="ch" ptType="node" func="cnt" op="gte" val="1">
          <dgm:layoutNode name="Child4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94"/>
      </dgm:choose>
      <dgm:layoutNode name="Parent4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  <dgm:forEach name="Name95" axis="ch" ptType="node" st="5" cnt="1">
      <dgm:layoutNode name="Accent5">
        <dgm:alg type="sp"/>
        <dgm:shape xmlns:r="http://schemas.openxmlformats.org/officeDocument/2006/relationships" r:blip="">
          <dgm:adjLst/>
        </dgm:shape>
        <dgm:presOf/>
        <dgm:constrLst/>
        <dgm:forEach name="Name96" ref="accentRepeat"/>
      </dgm:layoutNode>
      <dgm:choose name="Name97">
        <dgm:if name="Name98" axis="ch" ptType="node" func="cnt" op="gte" val="1">
          <dgm:layoutNode name="Child5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99"/>
      </dgm:choose>
      <dgm:layoutNode name="Parent5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  <dgm:forEach name="Name100" axis="ch" ptType="node" st="6" cnt="1">
      <dgm:layoutNode name="Accent6">
        <dgm:alg type="sp"/>
        <dgm:shape xmlns:r="http://schemas.openxmlformats.org/officeDocument/2006/relationships" r:blip="">
          <dgm:adjLst/>
        </dgm:shape>
        <dgm:presOf/>
        <dgm:constrLst/>
        <dgm:forEach name="Name101" ref="accentRepeat"/>
      </dgm:layoutNode>
      <dgm:choose name="Name102">
        <dgm:if name="Name103" axis="ch" ptType="node" func="cnt" op="gte" val="1">
          <dgm:layoutNode name="Child6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104"/>
      </dgm:choose>
      <dgm:layoutNode name="Parent6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  <dgm:forEach name="Name105" axis="ch" ptType="node" st="7" cnt="1">
      <dgm:layoutNode name="Accent7">
        <dgm:alg type="sp"/>
        <dgm:shape xmlns:r="http://schemas.openxmlformats.org/officeDocument/2006/relationships" r:blip="">
          <dgm:adjLst/>
        </dgm:shape>
        <dgm:presOf/>
        <dgm:constrLst/>
        <dgm:forEach name="Name106" ref="accentRepeat"/>
      </dgm:layoutNode>
      <dgm:choose name="Name107">
        <dgm:if name="Name108" axis="ch" ptType="node" func="cnt" op="gte" val="1">
          <dgm:layoutNode name="Child7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109"/>
      </dgm:choose>
      <dgm:layoutNode name="Parent7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8/layout/AlternatingHexagons">
  <dgm:title val=""/>
  <dgm:desc val=""/>
  <dgm:catLst>
    <dgm:cat type="list" pri="15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  <dgm:cxn modelId="60" srcId="0" destId="30" srcOrd="1" destOrd="0"/>
        <dgm:cxn modelId="32" srcId="30" destId="3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60" srcId="0" destId="10" srcOrd="0" destOrd="0"/>
        <dgm:cxn modelId="7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  <dgm:cxn modelId="90" srcId="0" destId="40" srcOrd="3" destOrd="0"/>
      </dgm:cxnLst>
      <dgm:bg/>
      <dgm:whole/>
    </dgm:dataModel>
  </dgm:clrData>
  <dgm:layoutNode name="Name0">
    <dgm:varLst>
      <dgm:chMax/>
      <dgm:chPref/>
      <dgm:dir/>
      <dgm:animLvl val="lvl"/>
    </dgm:varLst>
    <dgm:alg type="lin">
      <dgm:param type="linDir" val="fromT"/>
    </dgm:alg>
    <dgm:shape xmlns:r="http://schemas.openxmlformats.org/officeDocument/2006/relationships" r:blip="">
      <dgm:adjLst/>
    </dgm:shape>
    <dgm:constrLst>
      <dgm:constr type="primFontSz" for="des" forName="Parent1" val="65"/>
      <dgm:constr type="primFontSz" for="des" forName="Childtext1" refType="primFontSz" refFor="des" refForName="Parent1" op="lte"/>
      <dgm:constr type="w" for="ch" forName="composite" refType="w"/>
      <dgm:constr type="h" for="ch" forName="composite" refType="h"/>
      <dgm:constr type="h" for="ch" forName="spaceBetweenRectangles" refType="w" refFor="ch" refForName="composite" fact="-0.042"/>
      <dgm:constr type="sp" refType="h" refFor="ch" refForName="composite" op="equ" fact="0.1"/>
    </dgm:constrLst>
    <dgm:forEach name="nodesForEach" axis="ch" ptType="node">
      <dgm:layoutNode name="composite">
        <dgm:alg type="composite">
          <dgm:param type="ar" val="3.6"/>
        </dgm:alg>
        <dgm:shape xmlns:r="http://schemas.openxmlformats.org/officeDocument/2006/relationships" r:blip="">
          <dgm:adjLst/>
        </dgm:shape>
        <dgm:choose name="Name1">
          <dgm:if name="Name2" func="var" arg="dir" op="equ" val="norm">
            <dgm:choose name="Name3">
              <dgm:if name="Name4" axis="self" ptType="node" func="posOdd" op="equ" val="1">
                <dgm:constrLst>
                  <dgm:constr type="l" for="ch" forName="Accent1" refType="w" fact="0.18"/>
                  <dgm:constr type="t" for="ch" forName="Accent1" refType="h" fact="0"/>
                  <dgm:constr type="h" for="ch" forName="Accent1" refType="h"/>
                  <dgm:constr type="w" for="ch" forName="Accent1" refType="h" fact="0.87"/>
                  <dgm:constr type="l" for="ch" forName="Accent1Text" refType="w" fact="0.18"/>
                  <dgm:constr type="t" for="ch" forName="Accent1Text" refType="h" fact="0"/>
                  <dgm:constr type="h" for="ch" forName="Accent1Text" refType="h"/>
                  <dgm:constr type="w" for="ch" forName="Accent1Text" refType="h" fact="0.87"/>
                  <dgm:constr type="l" for="ch" forName="Parent1" refType="w" fact="0.441"/>
                  <dgm:constr type="t" for="ch" forName="Parent1" refType="h" fact="0"/>
                  <dgm:constr type="h" for="ch" forName="Parent1" refType="h"/>
                  <dgm:constr type="w" for="ch" forName="Parent1" refType="h" fact="0.87"/>
                  <dgm:constr type="l" for="ch" forName="Childtext1" refType="w" fact="0.69"/>
                  <dgm:constr type="t" for="ch" forName="Childtext1" refType="h" fact="0.2"/>
                  <dgm:constr type="w" for="ch" forName="Childtext1" refType="w" fact="0.31"/>
                  <dgm:constr type="h" for="ch" forName="Childtext1" refType="h" fact="0.6"/>
                  <dgm:constr type="l" for="ch" forName="BalanceSpacing" refType="w" fact="0"/>
                  <dgm:constr type="t" for="ch" forName="BalanceSpacing" refType="h" fact="0"/>
                  <dgm:constr type="w" for="ch" forName="BalanceSpacing" refType="w"/>
                  <dgm:constr type="h" for="ch" forName="BalanceSpacing" refType="h" fact="0.1"/>
                  <dgm:constr type="l" for="ch" forName="BalanceSpacing1" refType="w" fact="0.69"/>
                  <dgm:constr type="t" for="ch" forName="BalanceSpacing1" refType="h" fact="0.2"/>
                  <dgm:constr type="w" for="ch" forName="BalanceSpacing1" refType="w" fact="0.31"/>
                  <dgm:constr type="h" for="ch" forName="BalanceSpacing1" refType="h" fact="0.6"/>
                </dgm:constrLst>
              </dgm:if>
              <dgm:else name="Name5">
                <dgm:constrLst>
                  <dgm:constr type="l" for="ch" forName="Accent1" refType="w" fact="0.571"/>
                  <dgm:constr type="t" for="ch" forName="Accent1" refType="h" fact="0"/>
                  <dgm:constr type="h" for="ch" forName="Accent1" refType="h"/>
                  <dgm:constr type="w" for="ch" forName="Accent1" refType="h" fact="0.87"/>
                  <dgm:constr type="l" for="ch" forName="Accent1Text" refType="w" fact="0.571"/>
                  <dgm:constr type="t" for="ch" forName="Accent1Text" refType="h" fact="0"/>
                  <dgm:constr type="h" for="ch" forName="Accent1Text" refType="h"/>
                  <dgm:constr type="w" for="ch" forName="Accent1Text" refType="h" fact="0.87"/>
                  <dgm:constr type="l" for="ch" forName="Parent1" refType="w" fact="0.31"/>
                  <dgm:constr type="t" for="ch" forName="Parent1" refType="h" fact="0"/>
                  <dgm:constr type="h" for="ch" forName="Parent1" refType="h"/>
                  <dgm:constr type="w" for="ch" forName="Parent1" refType="h" fact="0.87"/>
                  <dgm:constr type="l" for="ch" forName="Childtext1" refType="w" fact="0"/>
                  <dgm:constr type="t" for="ch" forName="Childtext1" refType="h" fact="0.2"/>
                  <dgm:constr type="w" for="ch" forName="Childtext1" refType="w" fact="0.3"/>
                  <dgm:constr type="h" for="ch" forName="Childtext1" refType="h" fact="0.6"/>
                  <dgm:constr type="l" for="ch" forName="BalanceSpacing" refType="w" fact="0.82"/>
                  <dgm:constr type="t" for="ch" forName="BalanceSpacing" refType="h" fact="0"/>
                  <dgm:constr type="w" for="ch" forName="BalanceSpacing" refType="w" fact="0.18"/>
                  <dgm:constr type="h" for="ch" forName="BalanceSpacing" refType="h"/>
                  <dgm:constr type="l" for="ch" forName="BalanceSpacing1" refType="w" fact="0"/>
                  <dgm:constr type="t" for="ch" forName="BalanceSpacing1" refType="h" fact="0.2"/>
                  <dgm:constr type="w" for="ch" forName="BalanceSpacing1" refType="w" fact="0.3"/>
                  <dgm:constr type="h" for="ch" forName="BalanceSpacing1" refType="h" fact="0.6"/>
                </dgm:constrLst>
              </dgm:else>
            </dgm:choose>
          </dgm:if>
          <dgm:else name="Name6">
            <dgm:choose name="Name7">
              <dgm:if name="Name8" axis="self" ptType="node" func="posOdd" op="equ" val="1">
                <dgm:constrLst>
                  <dgm:constr type="l" for="ch" forName="Accent1" refType="w" fact="0.571"/>
                  <dgm:constr type="t" for="ch" forName="Accent1" refType="h" fact="0"/>
                  <dgm:constr type="h" for="ch" forName="Accent1" refType="h"/>
                  <dgm:constr type="w" for="ch" forName="Accent1" refType="h" fact="0.87"/>
                  <dgm:constr type="l" for="ch" forName="Accent1Text" refType="w" fact="0.571"/>
                  <dgm:constr type="t" for="ch" forName="Accent1Text" refType="h" fact="0"/>
                  <dgm:constr type="h" for="ch" forName="Accent1Text" refType="h"/>
                  <dgm:constr type="w" for="ch" forName="Accent1Text" refType="h" fact="0.87"/>
                  <dgm:constr type="l" for="ch" forName="Parent1" refType="w" fact="0.31"/>
                  <dgm:constr type="t" for="ch" forName="Parent1" refType="h" fact="0"/>
                  <dgm:constr type="h" for="ch" forName="Parent1" refType="h"/>
                  <dgm:constr type="w" for="ch" forName="Parent1" refType="h" fact="0.87"/>
                  <dgm:constr type="l" for="ch" forName="Childtext1" refType="w" fact="0"/>
                  <dgm:constr type="t" for="ch" forName="Childtext1" refType="h" fact="0.2"/>
                  <dgm:constr type="w" for="ch" forName="Childtext1" refType="w" fact="0.3"/>
                  <dgm:constr type="h" for="ch" forName="Childtext1" refType="h" fact="0.6"/>
                  <dgm:constr type="l" for="ch" forName="BalanceSpacing" refType="w" fact="0.82"/>
                  <dgm:constr type="t" for="ch" forName="BalanceSpacing" refType="h" fact="0"/>
                  <dgm:constr type="w" for="ch" forName="BalanceSpacing" refType="w" fact="0.18"/>
                  <dgm:constr type="h" for="ch" forName="BalanceSpacing" refType="h"/>
                </dgm:constrLst>
              </dgm:if>
              <dgm:else name="Name9">
                <dgm:constrLst>
                  <dgm:constr type="l" for="ch" forName="Accent1" refType="w" fact="0.18"/>
                  <dgm:constr type="t" for="ch" forName="Accent1" refType="h" fact="0"/>
                  <dgm:constr type="h" for="ch" forName="Accent1" refType="h"/>
                  <dgm:constr type="w" for="ch" forName="Accent1" refType="h" fact="0.87"/>
                  <dgm:constr type="l" for="ch" forName="Accent1Text" refType="w" fact="0.18"/>
                  <dgm:constr type="t" for="ch" forName="Accent1Text" refType="h" fact="0"/>
                  <dgm:constr type="h" for="ch" forName="Accent1Text" refType="h"/>
                  <dgm:constr type="w" for="ch" forName="Accent1Text" refType="h" fact="0.87"/>
                  <dgm:constr type="l" for="ch" forName="Parent1" refType="w" fact="0.441"/>
                  <dgm:constr type="t" for="ch" forName="Parent1" refType="h" fact="0"/>
                  <dgm:constr type="h" for="ch" forName="Parent1" refType="h"/>
                  <dgm:constr type="w" for="ch" forName="Parent1" refType="h" fact="0.87"/>
                  <dgm:constr type="l" for="ch" forName="Childtext1" refType="w" fact="0.69"/>
                  <dgm:constr type="t" for="ch" forName="Childtext1" refType="h" fact="0.2"/>
                  <dgm:constr type="w" for="ch" forName="Childtext1" refType="w" fact="0.31"/>
                  <dgm:constr type="h" for="ch" forName="Childtext1" refType="h" fact="0.6"/>
                  <dgm:constr type="l" for="ch" forName="BalanceSpacing" refType="w" fact="0"/>
                  <dgm:constr type="t" for="ch" forName="BalanceSpacing" refType="h" fact="0"/>
                  <dgm:constr type="w" for="ch" forName="BalanceSpacing" refType="w" fact="0.18"/>
                  <dgm:constr type="h" for="ch" forName="BalanceSpacing" refType="h"/>
                </dgm:constrLst>
              </dgm:else>
            </dgm:choose>
          </dgm:else>
        </dgm:choose>
        <dgm:layoutNode name="Parent1" styleLbl="node1">
          <dgm:varLst>
            <dgm:chMax val="1"/>
            <dgm:chPref val="1"/>
            <dgm:bulletEnabled val="1"/>
          </dgm:varLst>
          <dgm:alg type="tx"/>
          <dgm:shape xmlns:r="http://schemas.openxmlformats.org/officeDocument/2006/relationships" rot="90" type="hexagon" r:blip="">
            <dgm:adjLst>
              <dgm:adj idx="1" val="0.25"/>
              <dgm:adj idx="2" val="1.1547"/>
            </dgm:adjLst>
          </dgm:shape>
          <dgm:presOf axis="self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Childtext1" styleLbl="revTx">
          <dgm:varLst>
            <dgm:chMax val="0"/>
            <dgm:chPref val="0"/>
            <dgm:bulletEnabled val="1"/>
          </dgm:varLst>
          <dgm:choose name="Name10">
            <dgm:if name="Name11" func="var" arg="dir" op="equ" val="norm">
              <dgm:choose name="Name12">
                <dgm:if name="Name13" axis="self" ptType="node" func="posOdd" op="equ" val="1">
                  <dgm:alg type="tx">
                    <dgm:param type="parTxLTRAlign" val="l"/>
                  </dgm:alg>
                </dgm:if>
                <dgm:else name="Name14">
                  <dgm:alg type="tx">
                    <dgm:param type="parTxLTRAlign" val="r"/>
                  </dgm:alg>
                </dgm:else>
              </dgm:choose>
            </dgm:if>
            <dgm:else name="Name15">
              <dgm:choose name="Name16">
                <dgm:if name="Name17" axis="self" ptType="node" func="posOdd" op="equ" val="1">
                  <dgm:alg type="tx">
                    <dgm:param type="parTxLTRAlign" val="r"/>
                  </dgm:alg>
                </dgm:if>
                <dgm:else name="Name18">
                  <dgm:alg type="tx">
                    <dgm:param type="parTxLTRAlign" val="l"/>
                  </dgm:alg>
                </dgm:else>
              </dgm:choose>
            </dgm:else>
          </dgm:choose>
          <dgm:shape xmlns:r="http://schemas.openxmlformats.org/officeDocument/2006/relationships" type="rect" r:blip="">
            <dgm:adjLst/>
          </dgm:shape>
          <dgm:presOf axis="des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BalanceSpacing">
          <dgm:alg type="sp"/>
          <dgm:shape xmlns:r="http://schemas.openxmlformats.org/officeDocument/2006/relationships" r:blip="">
            <dgm:adjLst/>
          </dgm:shape>
        </dgm:layoutNode>
        <dgm:layoutNode name="BalanceSpacing1">
          <dgm:alg type="sp"/>
          <dgm:shape xmlns:r="http://schemas.openxmlformats.org/officeDocument/2006/relationships" r:blip="">
            <dgm:adjLst/>
          </dgm:shape>
        </dgm:layoutNode>
        <dgm:forEach name="Name19" axis="followSib" ptType="sibTrans" hideLastTrans="0" cnt="1">
          <dgm:layoutNode name="Accent1Text" styleLbl="node1">
            <dgm:alg type="tx"/>
            <dgm:shape xmlns:r="http://schemas.openxmlformats.org/officeDocument/2006/relationships" rot="90" type="hexagon" r:blip="">
              <dgm:adjLst>
                <dgm:adj idx="1" val="0.25"/>
                <dgm:adj idx="2" val="1.1547"/>
              </dgm:adjLst>
            </dgm:shape>
            <dgm:presOf axis="self" ptType="sibTrans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forEach>
      </dgm:layoutNode>
      <dgm:forEach name="Name2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8/layout/AlternatingHexagons">
  <dgm:title val=""/>
  <dgm:desc val=""/>
  <dgm:catLst>
    <dgm:cat type="list" pri="15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  <dgm:cxn modelId="60" srcId="0" destId="30" srcOrd="1" destOrd="0"/>
        <dgm:cxn modelId="32" srcId="30" destId="3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60" srcId="0" destId="10" srcOrd="0" destOrd="0"/>
        <dgm:cxn modelId="7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  <dgm:cxn modelId="90" srcId="0" destId="40" srcOrd="3" destOrd="0"/>
      </dgm:cxnLst>
      <dgm:bg/>
      <dgm:whole/>
    </dgm:dataModel>
  </dgm:clrData>
  <dgm:layoutNode name="Name0">
    <dgm:varLst>
      <dgm:chMax/>
      <dgm:chPref/>
      <dgm:dir/>
      <dgm:animLvl val="lvl"/>
    </dgm:varLst>
    <dgm:alg type="lin">
      <dgm:param type="linDir" val="fromT"/>
    </dgm:alg>
    <dgm:shape xmlns:r="http://schemas.openxmlformats.org/officeDocument/2006/relationships" r:blip="">
      <dgm:adjLst/>
    </dgm:shape>
    <dgm:constrLst>
      <dgm:constr type="primFontSz" for="des" forName="Parent1" val="65"/>
      <dgm:constr type="primFontSz" for="des" forName="Childtext1" refType="primFontSz" refFor="des" refForName="Parent1" op="lte"/>
      <dgm:constr type="w" for="ch" forName="composite" refType="w"/>
      <dgm:constr type="h" for="ch" forName="composite" refType="h"/>
      <dgm:constr type="h" for="ch" forName="spaceBetweenRectangles" refType="w" refFor="ch" refForName="composite" fact="-0.042"/>
      <dgm:constr type="sp" refType="h" refFor="ch" refForName="composite" op="equ" fact="0.1"/>
    </dgm:constrLst>
    <dgm:forEach name="nodesForEach" axis="ch" ptType="node">
      <dgm:layoutNode name="composite">
        <dgm:alg type="composite">
          <dgm:param type="ar" val="3.6"/>
        </dgm:alg>
        <dgm:shape xmlns:r="http://schemas.openxmlformats.org/officeDocument/2006/relationships" r:blip="">
          <dgm:adjLst/>
        </dgm:shape>
        <dgm:choose name="Name1">
          <dgm:if name="Name2" func="var" arg="dir" op="equ" val="norm">
            <dgm:choose name="Name3">
              <dgm:if name="Name4" axis="self" ptType="node" func="posOdd" op="equ" val="1">
                <dgm:constrLst>
                  <dgm:constr type="l" for="ch" forName="Accent1" refType="w" fact="0.18"/>
                  <dgm:constr type="t" for="ch" forName="Accent1" refType="h" fact="0"/>
                  <dgm:constr type="h" for="ch" forName="Accent1" refType="h"/>
                  <dgm:constr type="w" for="ch" forName="Accent1" refType="h" fact="0.87"/>
                  <dgm:constr type="l" for="ch" forName="Accent1Text" refType="w" fact="0.18"/>
                  <dgm:constr type="t" for="ch" forName="Accent1Text" refType="h" fact="0"/>
                  <dgm:constr type="h" for="ch" forName="Accent1Text" refType="h"/>
                  <dgm:constr type="w" for="ch" forName="Accent1Text" refType="h" fact="0.87"/>
                  <dgm:constr type="l" for="ch" forName="Parent1" refType="w" fact="0.441"/>
                  <dgm:constr type="t" for="ch" forName="Parent1" refType="h" fact="0"/>
                  <dgm:constr type="h" for="ch" forName="Parent1" refType="h"/>
                  <dgm:constr type="w" for="ch" forName="Parent1" refType="h" fact="0.87"/>
                  <dgm:constr type="l" for="ch" forName="Childtext1" refType="w" fact="0.69"/>
                  <dgm:constr type="t" for="ch" forName="Childtext1" refType="h" fact="0.2"/>
                  <dgm:constr type="w" for="ch" forName="Childtext1" refType="w" fact="0.31"/>
                  <dgm:constr type="h" for="ch" forName="Childtext1" refType="h" fact="0.6"/>
                  <dgm:constr type="l" for="ch" forName="BalanceSpacing" refType="w" fact="0"/>
                  <dgm:constr type="t" for="ch" forName="BalanceSpacing" refType="h" fact="0"/>
                  <dgm:constr type="w" for="ch" forName="BalanceSpacing" refType="w"/>
                  <dgm:constr type="h" for="ch" forName="BalanceSpacing" refType="h" fact="0.1"/>
                  <dgm:constr type="l" for="ch" forName="BalanceSpacing1" refType="w" fact="0.69"/>
                  <dgm:constr type="t" for="ch" forName="BalanceSpacing1" refType="h" fact="0.2"/>
                  <dgm:constr type="w" for="ch" forName="BalanceSpacing1" refType="w" fact="0.31"/>
                  <dgm:constr type="h" for="ch" forName="BalanceSpacing1" refType="h" fact="0.6"/>
                </dgm:constrLst>
              </dgm:if>
              <dgm:else name="Name5">
                <dgm:constrLst>
                  <dgm:constr type="l" for="ch" forName="Accent1" refType="w" fact="0.571"/>
                  <dgm:constr type="t" for="ch" forName="Accent1" refType="h" fact="0"/>
                  <dgm:constr type="h" for="ch" forName="Accent1" refType="h"/>
                  <dgm:constr type="w" for="ch" forName="Accent1" refType="h" fact="0.87"/>
                  <dgm:constr type="l" for="ch" forName="Accent1Text" refType="w" fact="0.571"/>
                  <dgm:constr type="t" for="ch" forName="Accent1Text" refType="h" fact="0"/>
                  <dgm:constr type="h" for="ch" forName="Accent1Text" refType="h"/>
                  <dgm:constr type="w" for="ch" forName="Accent1Text" refType="h" fact="0.87"/>
                  <dgm:constr type="l" for="ch" forName="Parent1" refType="w" fact="0.31"/>
                  <dgm:constr type="t" for="ch" forName="Parent1" refType="h" fact="0"/>
                  <dgm:constr type="h" for="ch" forName="Parent1" refType="h"/>
                  <dgm:constr type="w" for="ch" forName="Parent1" refType="h" fact="0.87"/>
                  <dgm:constr type="l" for="ch" forName="Childtext1" refType="w" fact="0"/>
                  <dgm:constr type="t" for="ch" forName="Childtext1" refType="h" fact="0.2"/>
                  <dgm:constr type="w" for="ch" forName="Childtext1" refType="w" fact="0.3"/>
                  <dgm:constr type="h" for="ch" forName="Childtext1" refType="h" fact="0.6"/>
                  <dgm:constr type="l" for="ch" forName="BalanceSpacing" refType="w" fact="0.82"/>
                  <dgm:constr type="t" for="ch" forName="BalanceSpacing" refType="h" fact="0"/>
                  <dgm:constr type="w" for="ch" forName="BalanceSpacing" refType="w" fact="0.18"/>
                  <dgm:constr type="h" for="ch" forName="BalanceSpacing" refType="h"/>
                  <dgm:constr type="l" for="ch" forName="BalanceSpacing1" refType="w" fact="0"/>
                  <dgm:constr type="t" for="ch" forName="BalanceSpacing1" refType="h" fact="0.2"/>
                  <dgm:constr type="w" for="ch" forName="BalanceSpacing1" refType="w" fact="0.3"/>
                  <dgm:constr type="h" for="ch" forName="BalanceSpacing1" refType="h" fact="0.6"/>
                </dgm:constrLst>
              </dgm:else>
            </dgm:choose>
          </dgm:if>
          <dgm:else name="Name6">
            <dgm:choose name="Name7">
              <dgm:if name="Name8" axis="self" ptType="node" func="posOdd" op="equ" val="1">
                <dgm:constrLst>
                  <dgm:constr type="l" for="ch" forName="Accent1" refType="w" fact="0.571"/>
                  <dgm:constr type="t" for="ch" forName="Accent1" refType="h" fact="0"/>
                  <dgm:constr type="h" for="ch" forName="Accent1" refType="h"/>
                  <dgm:constr type="w" for="ch" forName="Accent1" refType="h" fact="0.87"/>
                  <dgm:constr type="l" for="ch" forName="Accent1Text" refType="w" fact="0.571"/>
                  <dgm:constr type="t" for="ch" forName="Accent1Text" refType="h" fact="0"/>
                  <dgm:constr type="h" for="ch" forName="Accent1Text" refType="h"/>
                  <dgm:constr type="w" for="ch" forName="Accent1Text" refType="h" fact="0.87"/>
                  <dgm:constr type="l" for="ch" forName="Parent1" refType="w" fact="0.31"/>
                  <dgm:constr type="t" for="ch" forName="Parent1" refType="h" fact="0"/>
                  <dgm:constr type="h" for="ch" forName="Parent1" refType="h"/>
                  <dgm:constr type="w" for="ch" forName="Parent1" refType="h" fact="0.87"/>
                  <dgm:constr type="l" for="ch" forName="Childtext1" refType="w" fact="0"/>
                  <dgm:constr type="t" for="ch" forName="Childtext1" refType="h" fact="0.2"/>
                  <dgm:constr type="w" for="ch" forName="Childtext1" refType="w" fact="0.3"/>
                  <dgm:constr type="h" for="ch" forName="Childtext1" refType="h" fact="0.6"/>
                  <dgm:constr type="l" for="ch" forName="BalanceSpacing" refType="w" fact="0.82"/>
                  <dgm:constr type="t" for="ch" forName="BalanceSpacing" refType="h" fact="0"/>
                  <dgm:constr type="w" for="ch" forName="BalanceSpacing" refType="w" fact="0.18"/>
                  <dgm:constr type="h" for="ch" forName="BalanceSpacing" refType="h"/>
                </dgm:constrLst>
              </dgm:if>
              <dgm:else name="Name9">
                <dgm:constrLst>
                  <dgm:constr type="l" for="ch" forName="Accent1" refType="w" fact="0.18"/>
                  <dgm:constr type="t" for="ch" forName="Accent1" refType="h" fact="0"/>
                  <dgm:constr type="h" for="ch" forName="Accent1" refType="h"/>
                  <dgm:constr type="w" for="ch" forName="Accent1" refType="h" fact="0.87"/>
                  <dgm:constr type="l" for="ch" forName="Accent1Text" refType="w" fact="0.18"/>
                  <dgm:constr type="t" for="ch" forName="Accent1Text" refType="h" fact="0"/>
                  <dgm:constr type="h" for="ch" forName="Accent1Text" refType="h"/>
                  <dgm:constr type="w" for="ch" forName="Accent1Text" refType="h" fact="0.87"/>
                  <dgm:constr type="l" for="ch" forName="Parent1" refType="w" fact="0.441"/>
                  <dgm:constr type="t" for="ch" forName="Parent1" refType="h" fact="0"/>
                  <dgm:constr type="h" for="ch" forName="Parent1" refType="h"/>
                  <dgm:constr type="w" for="ch" forName="Parent1" refType="h" fact="0.87"/>
                  <dgm:constr type="l" for="ch" forName="Childtext1" refType="w" fact="0.69"/>
                  <dgm:constr type="t" for="ch" forName="Childtext1" refType="h" fact="0.2"/>
                  <dgm:constr type="w" for="ch" forName="Childtext1" refType="w" fact="0.31"/>
                  <dgm:constr type="h" for="ch" forName="Childtext1" refType="h" fact="0.6"/>
                  <dgm:constr type="l" for="ch" forName="BalanceSpacing" refType="w" fact="0"/>
                  <dgm:constr type="t" for="ch" forName="BalanceSpacing" refType="h" fact="0"/>
                  <dgm:constr type="w" for="ch" forName="BalanceSpacing" refType="w" fact="0.18"/>
                  <dgm:constr type="h" for="ch" forName="BalanceSpacing" refType="h"/>
                </dgm:constrLst>
              </dgm:else>
            </dgm:choose>
          </dgm:else>
        </dgm:choose>
        <dgm:layoutNode name="Parent1" styleLbl="node1">
          <dgm:varLst>
            <dgm:chMax val="1"/>
            <dgm:chPref val="1"/>
            <dgm:bulletEnabled val="1"/>
          </dgm:varLst>
          <dgm:alg type="tx"/>
          <dgm:shape xmlns:r="http://schemas.openxmlformats.org/officeDocument/2006/relationships" rot="90" type="hexagon" r:blip="">
            <dgm:adjLst>
              <dgm:adj idx="1" val="0.25"/>
              <dgm:adj idx="2" val="1.1547"/>
            </dgm:adjLst>
          </dgm:shape>
          <dgm:presOf axis="self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Childtext1" styleLbl="revTx">
          <dgm:varLst>
            <dgm:chMax val="0"/>
            <dgm:chPref val="0"/>
            <dgm:bulletEnabled val="1"/>
          </dgm:varLst>
          <dgm:choose name="Name10">
            <dgm:if name="Name11" func="var" arg="dir" op="equ" val="norm">
              <dgm:choose name="Name12">
                <dgm:if name="Name13" axis="self" ptType="node" func="posOdd" op="equ" val="1">
                  <dgm:alg type="tx">
                    <dgm:param type="parTxLTRAlign" val="l"/>
                  </dgm:alg>
                </dgm:if>
                <dgm:else name="Name14">
                  <dgm:alg type="tx">
                    <dgm:param type="parTxLTRAlign" val="r"/>
                  </dgm:alg>
                </dgm:else>
              </dgm:choose>
            </dgm:if>
            <dgm:else name="Name15">
              <dgm:choose name="Name16">
                <dgm:if name="Name17" axis="self" ptType="node" func="posOdd" op="equ" val="1">
                  <dgm:alg type="tx">
                    <dgm:param type="parTxLTRAlign" val="r"/>
                  </dgm:alg>
                </dgm:if>
                <dgm:else name="Name18">
                  <dgm:alg type="tx">
                    <dgm:param type="parTxLTRAlign" val="l"/>
                  </dgm:alg>
                </dgm:else>
              </dgm:choose>
            </dgm:else>
          </dgm:choose>
          <dgm:shape xmlns:r="http://schemas.openxmlformats.org/officeDocument/2006/relationships" type="rect" r:blip="">
            <dgm:adjLst/>
          </dgm:shape>
          <dgm:presOf axis="des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BalanceSpacing">
          <dgm:alg type="sp"/>
          <dgm:shape xmlns:r="http://schemas.openxmlformats.org/officeDocument/2006/relationships" r:blip="">
            <dgm:adjLst/>
          </dgm:shape>
        </dgm:layoutNode>
        <dgm:layoutNode name="BalanceSpacing1">
          <dgm:alg type="sp"/>
          <dgm:shape xmlns:r="http://schemas.openxmlformats.org/officeDocument/2006/relationships" r:blip="">
            <dgm:adjLst/>
          </dgm:shape>
        </dgm:layoutNode>
        <dgm:forEach name="Name19" axis="followSib" ptType="sibTrans" hideLastTrans="0" cnt="1">
          <dgm:layoutNode name="Accent1Text" styleLbl="node1">
            <dgm:alg type="tx"/>
            <dgm:shape xmlns:r="http://schemas.openxmlformats.org/officeDocument/2006/relationships" rot="90" type="hexagon" r:blip="">
              <dgm:adjLst>
                <dgm:adj idx="1" val="0.25"/>
                <dgm:adj idx="2" val="1.1547"/>
              </dgm:adjLst>
            </dgm:shape>
            <dgm:presOf axis="self" ptType="sibTrans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forEach>
      </dgm:layoutNode>
      <dgm:forEach name="Name2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8/layout/AlternatingHexagons">
  <dgm:title val=""/>
  <dgm:desc val=""/>
  <dgm:catLst>
    <dgm:cat type="list" pri="15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  <dgm:cxn modelId="60" srcId="0" destId="30" srcOrd="1" destOrd="0"/>
        <dgm:cxn modelId="32" srcId="30" destId="3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60" srcId="0" destId="10" srcOrd="0" destOrd="0"/>
        <dgm:cxn modelId="7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  <dgm:cxn modelId="90" srcId="0" destId="40" srcOrd="3" destOrd="0"/>
      </dgm:cxnLst>
      <dgm:bg/>
      <dgm:whole/>
    </dgm:dataModel>
  </dgm:clrData>
  <dgm:layoutNode name="Name0">
    <dgm:varLst>
      <dgm:chMax/>
      <dgm:chPref/>
      <dgm:dir/>
      <dgm:animLvl val="lvl"/>
    </dgm:varLst>
    <dgm:alg type="lin">
      <dgm:param type="linDir" val="fromT"/>
    </dgm:alg>
    <dgm:shape xmlns:r="http://schemas.openxmlformats.org/officeDocument/2006/relationships" r:blip="">
      <dgm:adjLst/>
    </dgm:shape>
    <dgm:constrLst>
      <dgm:constr type="primFontSz" for="des" forName="Parent1" val="65"/>
      <dgm:constr type="primFontSz" for="des" forName="Childtext1" refType="primFontSz" refFor="des" refForName="Parent1" op="lte"/>
      <dgm:constr type="w" for="ch" forName="composite" refType="w"/>
      <dgm:constr type="h" for="ch" forName="composite" refType="h"/>
      <dgm:constr type="h" for="ch" forName="spaceBetweenRectangles" refType="w" refFor="ch" refForName="composite" fact="-0.042"/>
      <dgm:constr type="sp" refType="h" refFor="ch" refForName="composite" op="equ" fact="0.1"/>
    </dgm:constrLst>
    <dgm:forEach name="nodesForEach" axis="ch" ptType="node">
      <dgm:layoutNode name="composite">
        <dgm:alg type="composite">
          <dgm:param type="ar" val="3.6"/>
        </dgm:alg>
        <dgm:shape xmlns:r="http://schemas.openxmlformats.org/officeDocument/2006/relationships" r:blip="">
          <dgm:adjLst/>
        </dgm:shape>
        <dgm:choose name="Name1">
          <dgm:if name="Name2" func="var" arg="dir" op="equ" val="norm">
            <dgm:choose name="Name3">
              <dgm:if name="Name4" axis="self" ptType="node" func="posOdd" op="equ" val="1">
                <dgm:constrLst>
                  <dgm:constr type="l" for="ch" forName="Accent1" refType="w" fact="0.18"/>
                  <dgm:constr type="t" for="ch" forName="Accent1" refType="h" fact="0"/>
                  <dgm:constr type="h" for="ch" forName="Accent1" refType="h"/>
                  <dgm:constr type="w" for="ch" forName="Accent1" refType="h" fact="0.87"/>
                  <dgm:constr type="l" for="ch" forName="Accent1Text" refType="w" fact="0.18"/>
                  <dgm:constr type="t" for="ch" forName="Accent1Text" refType="h" fact="0"/>
                  <dgm:constr type="h" for="ch" forName="Accent1Text" refType="h"/>
                  <dgm:constr type="w" for="ch" forName="Accent1Text" refType="h" fact="0.87"/>
                  <dgm:constr type="l" for="ch" forName="Parent1" refType="w" fact="0.441"/>
                  <dgm:constr type="t" for="ch" forName="Parent1" refType="h" fact="0"/>
                  <dgm:constr type="h" for="ch" forName="Parent1" refType="h"/>
                  <dgm:constr type="w" for="ch" forName="Parent1" refType="h" fact="0.87"/>
                  <dgm:constr type="l" for="ch" forName="Childtext1" refType="w" fact="0.69"/>
                  <dgm:constr type="t" for="ch" forName="Childtext1" refType="h" fact="0.2"/>
                  <dgm:constr type="w" for="ch" forName="Childtext1" refType="w" fact="0.31"/>
                  <dgm:constr type="h" for="ch" forName="Childtext1" refType="h" fact="0.6"/>
                  <dgm:constr type="l" for="ch" forName="BalanceSpacing" refType="w" fact="0"/>
                  <dgm:constr type="t" for="ch" forName="BalanceSpacing" refType="h" fact="0"/>
                  <dgm:constr type="w" for="ch" forName="BalanceSpacing" refType="w"/>
                  <dgm:constr type="h" for="ch" forName="BalanceSpacing" refType="h" fact="0.1"/>
                  <dgm:constr type="l" for="ch" forName="BalanceSpacing1" refType="w" fact="0.69"/>
                  <dgm:constr type="t" for="ch" forName="BalanceSpacing1" refType="h" fact="0.2"/>
                  <dgm:constr type="w" for="ch" forName="BalanceSpacing1" refType="w" fact="0.31"/>
                  <dgm:constr type="h" for="ch" forName="BalanceSpacing1" refType="h" fact="0.6"/>
                </dgm:constrLst>
              </dgm:if>
              <dgm:else name="Name5">
                <dgm:constrLst>
                  <dgm:constr type="l" for="ch" forName="Accent1" refType="w" fact="0.571"/>
                  <dgm:constr type="t" for="ch" forName="Accent1" refType="h" fact="0"/>
                  <dgm:constr type="h" for="ch" forName="Accent1" refType="h"/>
                  <dgm:constr type="w" for="ch" forName="Accent1" refType="h" fact="0.87"/>
                  <dgm:constr type="l" for="ch" forName="Accent1Text" refType="w" fact="0.571"/>
                  <dgm:constr type="t" for="ch" forName="Accent1Text" refType="h" fact="0"/>
                  <dgm:constr type="h" for="ch" forName="Accent1Text" refType="h"/>
                  <dgm:constr type="w" for="ch" forName="Accent1Text" refType="h" fact="0.87"/>
                  <dgm:constr type="l" for="ch" forName="Parent1" refType="w" fact="0.31"/>
                  <dgm:constr type="t" for="ch" forName="Parent1" refType="h" fact="0"/>
                  <dgm:constr type="h" for="ch" forName="Parent1" refType="h"/>
                  <dgm:constr type="w" for="ch" forName="Parent1" refType="h" fact="0.87"/>
                  <dgm:constr type="l" for="ch" forName="Childtext1" refType="w" fact="0"/>
                  <dgm:constr type="t" for="ch" forName="Childtext1" refType="h" fact="0.2"/>
                  <dgm:constr type="w" for="ch" forName="Childtext1" refType="w" fact="0.3"/>
                  <dgm:constr type="h" for="ch" forName="Childtext1" refType="h" fact="0.6"/>
                  <dgm:constr type="l" for="ch" forName="BalanceSpacing" refType="w" fact="0.82"/>
                  <dgm:constr type="t" for="ch" forName="BalanceSpacing" refType="h" fact="0"/>
                  <dgm:constr type="w" for="ch" forName="BalanceSpacing" refType="w" fact="0.18"/>
                  <dgm:constr type="h" for="ch" forName="BalanceSpacing" refType="h"/>
                  <dgm:constr type="l" for="ch" forName="BalanceSpacing1" refType="w" fact="0"/>
                  <dgm:constr type="t" for="ch" forName="BalanceSpacing1" refType="h" fact="0.2"/>
                  <dgm:constr type="w" for="ch" forName="BalanceSpacing1" refType="w" fact="0.3"/>
                  <dgm:constr type="h" for="ch" forName="BalanceSpacing1" refType="h" fact="0.6"/>
                </dgm:constrLst>
              </dgm:else>
            </dgm:choose>
          </dgm:if>
          <dgm:else name="Name6">
            <dgm:choose name="Name7">
              <dgm:if name="Name8" axis="self" ptType="node" func="posOdd" op="equ" val="1">
                <dgm:constrLst>
                  <dgm:constr type="l" for="ch" forName="Accent1" refType="w" fact="0.571"/>
                  <dgm:constr type="t" for="ch" forName="Accent1" refType="h" fact="0"/>
                  <dgm:constr type="h" for="ch" forName="Accent1" refType="h"/>
                  <dgm:constr type="w" for="ch" forName="Accent1" refType="h" fact="0.87"/>
                  <dgm:constr type="l" for="ch" forName="Accent1Text" refType="w" fact="0.571"/>
                  <dgm:constr type="t" for="ch" forName="Accent1Text" refType="h" fact="0"/>
                  <dgm:constr type="h" for="ch" forName="Accent1Text" refType="h"/>
                  <dgm:constr type="w" for="ch" forName="Accent1Text" refType="h" fact="0.87"/>
                  <dgm:constr type="l" for="ch" forName="Parent1" refType="w" fact="0.31"/>
                  <dgm:constr type="t" for="ch" forName="Parent1" refType="h" fact="0"/>
                  <dgm:constr type="h" for="ch" forName="Parent1" refType="h"/>
                  <dgm:constr type="w" for="ch" forName="Parent1" refType="h" fact="0.87"/>
                  <dgm:constr type="l" for="ch" forName="Childtext1" refType="w" fact="0"/>
                  <dgm:constr type="t" for="ch" forName="Childtext1" refType="h" fact="0.2"/>
                  <dgm:constr type="w" for="ch" forName="Childtext1" refType="w" fact="0.3"/>
                  <dgm:constr type="h" for="ch" forName="Childtext1" refType="h" fact="0.6"/>
                  <dgm:constr type="l" for="ch" forName="BalanceSpacing" refType="w" fact="0.82"/>
                  <dgm:constr type="t" for="ch" forName="BalanceSpacing" refType="h" fact="0"/>
                  <dgm:constr type="w" for="ch" forName="BalanceSpacing" refType="w" fact="0.18"/>
                  <dgm:constr type="h" for="ch" forName="BalanceSpacing" refType="h"/>
                </dgm:constrLst>
              </dgm:if>
              <dgm:else name="Name9">
                <dgm:constrLst>
                  <dgm:constr type="l" for="ch" forName="Accent1" refType="w" fact="0.18"/>
                  <dgm:constr type="t" for="ch" forName="Accent1" refType="h" fact="0"/>
                  <dgm:constr type="h" for="ch" forName="Accent1" refType="h"/>
                  <dgm:constr type="w" for="ch" forName="Accent1" refType="h" fact="0.87"/>
                  <dgm:constr type="l" for="ch" forName="Accent1Text" refType="w" fact="0.18"/>
                  <dgm:constr type="t" for="ch" forName="Accent1Text" refType="h" fact="0"/>
                  <dgm:constr type="h" for="ch" forName="Accent1Text" refType="h"/>
                  <dgm:constr type="w" for="ch" forName="Accent1Text" refType="h" fact="0.87"/>
                  <dgm:constr type="l" for="ch" forName="Parent1" refType="w" fact="0.441"/>
                  <dgm:constr type="t" for="ch" forName="Parent1" refType="h" fact="0"/>
                  <dgm:constr type="h" for="ch" forName="Parent1" refType="h"/>
                  <dgm:constr type="w" for="ch" forName="Parent1" refType="h" fact="0.87"/>
                  <dgm:constr type="l" for="ch" forName="Childtext1" refType="w" fact="0.69"/>
                  <dgm:constr type="t" for="ch" forName="Childtext1" refType="h" fact="0.2"/>
                  <dgm:constr type="w" for="ch" forName="Childtext1" refType="w" fact="0.31"/>
                  <dgm:constr type="h" for="ch" forName="Childtext1" refType="h" fact="0.6"/>
                  <dgm:constr type="l" for="ch" forName="BalanceSpacing" refType="w" fact="0"/>
                  <dgm:constr type="t" for="ch" forName="BalanceSpacing" refType="h" fact="0"/>
                  <dgm:constr type="w" for="ch" forName="BalanceSpacing" refType="w" fact="0.18"/>
                  <dgm:constr type="h" for="ch" forName="BalanceSpacing" refType="h"/>
                </dgm:constrLst>
              </dgm:else>
            </dgm:choose>
          </dgm:else>
        </dgm:choose>
        <dgm:layoutNode name="Parent1" styleLbl="node1">
          <dgm:varLst>
            <dgm:chMax val="1"/>
            <dgm:chPref val="1"/>
            <dgm:bulletEnabled val="1"/>
          </dgm:varLst>
          <dgm:alg type="tx"/>
          <dgm:shape xmlns:r="http://schemas.openxmlformats.org/officeDocument/2006/relationships" rot="90" type="hexagon" r:blip="">
            <dgm:adjLst>
              <dgm:adj idx="1" val="0.25"/>
              <dgm:adj idx="2" val="1.1547"/>
            </dgm:adjLst>
          </dgm:shape>
          <dgm:presOf axis="self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Childtext1" styleLbl="revTx">
          <dgm:varLst>
            <dgm:chMax val="0"/>
            <dgm:chPref val="0"/>
            <dgm:bulletEnabled val="1"/>
          </dgm:varLst>
          <dgm:choose name="Name10">
            <dgm:if name="Name11" func="var" arg="dir" op="equ" val="norm">
              <dgm:choose name="Name12">
                <dgm:if name="Name13" axis="self" ptType="node" func="posOdd" op="equ" val="1">
                  <dgm:alg type="tx">
                    <dgm:param type="parTxLTRAlign" val="l"/>
                  </dgm:alg>
                </dgm:if>
                <dgm:else name="Name14">
                  <dgm:alg type="tx">
                    <dgm:param type="parTxLTRAlign" val="r"/>
                  </dgm:alg>
                </dgm:else>
              </dgm:choose>
            </dgm:if>
            <dgm:else name="Name15">
              <dgm:choose name="Name16">
                <dgm:if name="Name17" axis="self" ptType="node" func="posOdd" op="equ" val="1">
                  <dgm:alg type="tx">
                    <dgm:param type="parTxLTRAlign" val="r"/>
                  </dgm:alg>
                </dgm:if>
                <dgm:else name="Name18">
                  <dgm:alg type="tx">
                    <dgm:param type="parTxLTRAlign" val="l"/>
                  </dgm:alg>
                </dgm:else>
              </dgm:choose>
            </dgm:else>
          </dgm:choose>
          <dgm:shape xmlns:r="http://schemas.openxmlformats.org/officeDocument/2006/relationships" type="rect" r:blip="">
            <dgm:adjLst/>
          </dgm:shape>
          <dgm:presOf axis="des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BalanceSpacing">
          <dgm:alg type="sp"/>
          <dgm:shape xmlns:r="http://schemas.openxmlformats.org/officeDocument/2006/relationships" r:blip="">
            <dgm:adjLst/>
          </dgm:shape>
        </dgm:layoutNode>
        <dgm:layoutNode name="BalanceSpacing1">
          <dgm:alg type="sp"/>
          <dgm:shape xmlns:r="http://schemas.openxmlformats.org/officeDocument/2006/relationships" r:blip="">
            <dgm:adjLst/>
          </dgm:shape>
        </dgm:layoutNode>
        <dgm:forEach name="Name19" axis="followSib" ptType="sibTrans" hideLastTrans="0" cnt="1">
          <dgm:layoutNode name="Accent1Text" styleLbl="node1">
            <dgm:alg type="tx"/>
            <dgm:shape xmlns:r="http://schemas.openxmlformats.org/officeDocument/2006/relationships" rot="90" type="hexagon" r:blip="">
              <dgm:adjLst>
                <dgm:adj idx="1" val="0.25"/>
                <dgm:adj idx="2" val="1.1547"/>
              </dgm:adjLst>
            </dgm:shape>
            <dgm:presOf axis="self" ptType="sibTrans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forEach>
      </dgm:layoutNode>
      <dgm:forEach name="Name2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funnel1">
  <dgm:title val=""/>
  <dgm:desc val=""/>
  <dgm:catLst>
    <dgm:cat type="relationship" pri="2000"/>
    <dgm:cat type="process" pri="27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4"/>
      <dgm:resizeHandles val="exact"/>
    </dgm:varLst>
    <dgm:alg type="composite">
      <dgm:param type="ar" val="1.25"/>
    </dgm:alg>
    <dgm:shape xmlns:r="http://schemas.openxmlformats.org/officeDocument/2006/relationships" r:blip="">
      <dgm:adjLst/>
    </dgm:shape>
    <dgm:presOf/>
    <dgm:choose name="Name1">
      <dgm:if name="Name2" axis="ch" ptType="node" func="cnt" op="equ" val="2">
        <dgm:constrLst>
          <dgm:constr type="w" for="ch" forName="ellipse" refType="w" fact="0.645"/>
          <dgm:constr type="h" for="ch" forName="ellipse" refType="h" fact="0.28"/>
          <dgm:constr type="t" for="ch" forName="ellipse" refType="w" fact="0.0275"/>
          <dgm:constr type="l" for="ch" forName="ellipse" refType="w" fact="0.0265"/>
          <dgm:constr type="w" for="ch" forName="arrow1" refType="w" fact="0.125"/>
          <dgm:constr type="h" for="ch" forName="arrow1" refType="h" fact="0.1"/>
          <dgm:constr type="t" for="ch" forName="arrow1" refType="h" fact="0.72"/>
          <dgm:constr type="l" for="ch" forName="arrow1" refType="w" fact="0.2875"/>
          <dgm:constr type="w" for="ch" forName="rectangle" refType="w" fact="0.6"/>
          <dgm:constr type="h" for="ch" forName="rectangle" refType="w" refFor="ch" refForName="rectangle" fact="0.25"/>
          <dgm:constr type="t" for="ch" forName="rectangle" refType="h" fact="0.8"/>
          <dgm:constr type="l" for="ch" forName="rectangle" refType="w" fact="0.05"/>
          <dgm:constr type="w" for="ch" forName="item1" refType="w" fact="0.35"/>
          <dgm:constr type="h" for="ch" forName="item1" refType="w" fact="0.35"/>
          <dgm:constr type="t" for="ch" forName="item1" refType="h" fact="0.05"/>
          <dgm:constr type="l" for="ch" forName="item1" refType="w" fact="0.125"/>
          <dgm:constr type="primFontSz" for="ch" forName="item1" op="equ" val="65"/>
          <dgm:constr type="w" for="ch" forName="funnel" refType="w" fact="0.7"/>
          <dgm:constr type="h" for="ch" forName="funnel" refType="h" fact="0.7"/>
          <dgm:constr type="t" for="ch" forName="funnel"/>
          <dgm:constr type="l" for="ch" forName="funnel"/>
        </dgm:constrLst>
      </dgm:if>
      <dgm:else name="Name3">
        <dgm:constrLst>
          <dgm:constr type="w" for="ch" forName="ellipse" refType="w" fact="0.645"/>
          <dgm:constr type="h" for="ch" forName="ellipse" refType="h" fact="0.28"/>
          <dgm:constr type="t" for="ch" forName="ellipse" refType="w" fact="0.0275"/>
          <dgm:constr type="l" for="ch" forName="ellipse" refType="w" fact="0.0265"/>
          <dgm:constr type="w" for="ch" forName="arrow1" refType="w" fact="0.125"/>
          <dgm:constr type="h" for="ch" forName="arrow1" refType="h" fact="0.1"/>
          <dgm:constr type="t" for="ch" forName="arrow1" refType="h" fact="0.72"/>
          <dgm:constr type="l" for="ch" forName="arrow1" refType="w" fact="0.2875"/>
          <dgm:constr type="w" for="ch" forName="rectangle" refType="w" fact="0.6"/>
          <dgm:constr type="h" for="ch" forName="rectangle" refType="w" refFor="ch" refForName="rectangle" fact="0.25"/>
          <dgm:constr type="t" for="ch" forName="rectangle" refType="h" fact="0.8"/>
          <dgm:constr type="l" for="ch" forName="rectangle" refType="w" fact="0.05"/>
          <dgm:constr type="primFontSz" for="ch" forName="rectangle" val="65"/>
          <dgm:constr type="w" for="ch" forName="item1" refType="w" fact="0.225"/>
          <dgm:constr type="h" for="ch" forName="item1" refType="w" fact="0.225"/>
          <dgm:constr type="t" for="ch" forName="item1" refType="h" fact="0.336"/>
          <dgm:constr type="l" for="ch" forName="item1" refType="w" fact="0.261"/>
          <dgm:constr type="primFontSz" for="ch" forName="item1" val="65"/>
          <dgm:constr type="w" for="ch" forName="item2" refType="w" fact="0.225"/>
          <dgm:constr type="h" for="ch" forName="item2" refType="w" fact="0.225"/>
          <dgm:constr type="t" for="ch" forName="item2" refType="h" fact="0.125"/>
          <dgm:constr type="l" for="ch" forName="item2" refType="w" fact="0.1"/>
          <dgm:constr type="primFontSz" for="ch" forName="item2" refType="primFontSz" refFor="ch" refForName="item1" op="equ"/>
          <dgm:constr type="w" for="ch" forName="item3" refType="w" fact="0.225"/>
          <dgm:constr type="h" for="ch" forName="item3" refType="w" fact="0.225"/>
          <dgm:constr type="t" for="ch" forName="item3" refType="h" fact="0.057"/>
          <dgm:constr type="l" for="ch" forName="item3" refType="w" fact="0.33"/>
          <dgm:constr type="primFontSz" for="ch" forName="item3" refType="primFontSz" refFor="ch" refForName="item1" op="equ"/>
          <dgm:constr type="w" for="ch" forName="funnel" refType="w" fact="0.7"/>
          <dgm:constr type="h" for="ch" forName="funnel" refType="h" fact="0.7"/>
          <dgm:constr type="t" for="ch" forName="funnel"/>
          <dgm:constr type="l" for="ch" forName="funnel"/>
        </dgm:constrLst>
      </dgm:else>
    </dgm:choose>
    <dgm:ruleLst/>
    <dgm:choose name="Name4">
      <dgm:if name="Name5" axis="ch" ptType="node" func="cnt" op="gte" val="1">
        <dgm:layoutNode name="ellipse" styleLbl="trBgShp">
          <dgm:alg type="sp"/>
          <dgm:shape xmlns:r="http://schemas.openxmlformats.org/officeDocument/2006/relationships" type="ellipse" r:blip="">
            <dgm:adjLst/>
          </dgm:shape>
          <dgm:presOf/>
          <dgm:constrLst/>
          <dgm:ruleLst/>
        </dgm:layoutNode>
        <dgm:layoutNode name="arrow1" styleLbl="fgShp">
          <dgm:alg type="sp"/>
          <dgm:shape xmlns:r="http://schemas.openxmlformats.org/officeDocument/2006/relationships" type="downArrow" r:blip="">
            <dgm:adjLst/>
          </dgm:shape>
          <dgm:presOf/>
          <dgm:constrLst/>
          <dgm:ruleLst/>
        </dgm:layoutNode>
        <dgm:layoutNode name="rectangle" styleLbl="revTx">
          <dgm:varLst>
            <dgm:bulletEnabled val="1"/>
          </dgm:varLst>
          <dgm:alg type="tx">
            <dgm:param type="txAnchorHorzCh" val="ctr"/>
          </dgm:alg>
          <dgm:shape xmlns:r="http://schemas.openxmlformats.org/officeDocument/2006/relationships" type="rect" r:blip="">
            <dgm:adjLst/>
          </dgm:shape>
          <dgm:choose name="Name6">
            <dgm:if name="Name7" axis="ch" ptType="node" func="cnt" op="equ" val="1">
              <dgm:presOf axis="ch desOrSelf" ptType="node node" st="1 1" cnt="1 0"/>
            </dgm:if>
            <dgm:if name="Name8" axis="ch" ptType="node" func="cnt" op="equ" val="2">
              <dgm:presOf axis="ch desOrSelf" ptType="node node" st="2 1" cnt="1 0"/>
            </dgm:if>
            <dgm:if name="Name9" axis="ch" ptType="node" func="cnt" op="equ" val="3">
              <dgm:presOf axis="ch desOrSelf" ptType="node node" st="3 1" cnt="1 0"/>
            </dgm:if>
            <dgm:else name="Name10">
              <dgm:presOf axis="ch desOrSelf" ptType="node node" st="4 1" cnt="1 0"/>
            </dgm:else>
          </dgm:choose>
          <dgm:constrLst/>
          <dgm:ruleLst>
            <dgm:rule type="primFontSz" val="5" fact="NaN" max="NaN"/>
          </dgm:ruleLst>
        </dgm:layoutNode>
        <dgm:forEach name="Name11" axis="ch" ptType="node" st="2" cnt="1">
          <dgm:layoutNode name="item1" styleLbl="node1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choose name="Name12">
              <dgm:if name="Name13" axis="root ch" ptType="all node" func="cnt" op="equ" val="1">
                <dgm:presOf/>
              </dgm:if>
              <dgm:if name="Name14" axis="root ch" ptType="all node" func="cnt" op="equ" val="2">
                <dgm:presOf axis="root ch desOrSelf" ptType="all node node" st="1 1 1" cnt="0 1 0"/>
              </dgm:if>
              <dgm:if name="Name15" axis="root ch" ptType="all node" func="cnt" op="equ" val="3">
                <dgm:presOf axis="root ch desOrSelf" ptType="all node node" st="1 2 1" cnt="0 1 0"/>
              </dgm:if>
              <dgm:else name="Name16">
                <dgm:presOf axis="root ch desOrSelf" ptType="all node node" st="1 3 1" cnt="0 1 0"/>
              </dgm:else>
            </dgm:choose>
            <dgm:constrLst>
              <dgm:constr type="tMarg" refType="primFontSz" fact="0.1"/>
              <dgm:constr type="bMarg" refType="primFontSz" fact="0.1"/>
              <dgm:constr type="lMarg" refType="primFontSz" fact="0.1"/>
              <dgm:constr type="rMarg" refType="primFontSz" fact="0.1"/>
            </dgm:constrLst>
            <dgm:ruleLst>
              <dgm:rule type="primFontSz" val="5" fact="NaN" max="NaN"/>
            </dgm:ruleLst>
          </dgm:layoutNode>
        </dgm:forEach>
        <dgm:forEach name="Name17" axis="ch" ptType="node" st="3" cnt="1">
          <dgm:layoutNode name="item2" styleLbl="node1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choose name="Name18">
              <dgm:if name="Name19" axis="root ch" ptType="all node" func="cnt" op="equ" val="1">
                <dgm:presOf/>
              </dgm:if>
              <dgm:if name="Name20" axis="root ch" ptType="all node" func="cnt" op="equ" val="2">
                <dgm:presOf/>
              </dgm:if>
              <dgm:if name="Name21" axis="root ch" ptType="all node" func="cnt" op="equ" val="3">
                <dgm:presOf axis="root ch desOrSelf" ptType="all node node" st="1 1 1" cnt="0 1 0"/>
              </dgm:if>
              <dgm:else name="Name22">
                <dgm:presOf axis="root ch desOrSelf" ptType="all node node" st="1 2 1" cnt="0 1 0"/>
              </dgm:else>
            </dgm:choose>
            <dgm:constrLst>
              <dgm:constr type="tMarg" refType="primFontSz" fact="0.1"/>
              <dgm:constr type="bMarg" refType="primFontSz" fact="0.1"/>
              <dgm:constr type="lMarg" refType="primFontSz" fact="0.1"/>
              <dgm:constr type="rMarg" refType="primFontSz" fact="0.1"/>
            </dgm:constrLst>
            <dgm:ruleLst>
              <dgm:rule type="primFontSz" val="5" fact="NaN" max="NaN"/>
            </dgm:ruleLst>
          </dgm:layoutNode>
        </dgm:forEach>
        <dgm:forEach name="Name23" axis="ch" ptType="node" st="4" cnt="1">
          <dgm:layoutNode name="item3" styleLbl="node1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choose name="Name24">
              <dgm:if name="Name25" axis="root ch" ptType="all node" func="cnt" op="equ" val="1">
                <dgm:presOf/>
              </dgm:if>
              <dgm:if name="Name26" axis="root ch" ptType="all node" func="cnt" op="equ" val="2">
                <dgm:presOf/>
              </dgm:if>
              <dgm:if name="Name27" axis="root ch" ptType="all node" func="cnt" op="equ" val="3">
                <dgm:presOf/>
              </dgm:if>
              <dgm:else name="Name28">
                <dgm:presOf axis="root ch desOrSelf" ptType="all node node" st="1 1 1" cnt="0 1 0"/>
              </dgm:else>
            </dgm:choose>
            <dgm:constrLst>
              <dgm:constr type="tMarg" refType="primFontSz" fact="0.1"/>
              <dgm:constr type="bMarg" refType="primFontSz" fact="0.1"/>
              <dgm:constr type="lMarg" refType="primFontSz" fact="0.1"/>
              <dgm:constr type="rMarg" refType="primFontSz" fact="0.1"/>
            </dgm:constrLst>
            <dgm:ruleLst>
              <dgm:rule type="primFontSz" val="5" fact="NaN" max="NaN"/>
            </dgm:ruleLst>
          </dgm:layoutNode>
        </dgm:forEach>
        <dgm:layoutNode name="funnel" styleLbl="trAlignAcc1">
          <dgm:alg type="sp"/>
          <dgm:shape xmlns:r="http://schemas.openxmlformats.org/officeDocument/2006/relationships" type="funnel" r:blip="">
            <dgm:adjLst/>
          </dgm:shape>
          <dgm:presOf/>
          <dgm:constrLst/>
          <dgm:ruleLst/>
        </dgm:layoutNode>
      </dgm:if>
      <dgm:else name="Name29"/>
    </dgm:choose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hList6">
  <dgm:title val=""/>
  <dgm:desc val=""/>
  <dgm:catLst>
    <dgm:cat type="list" pri="18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ptType="node" refType="h"/>
      <dgm:constr type="w" for="ch" ptType="node" refType="w"/>
      <dgm:constr type="primFontSz" for="ch" ptType="node" op="equ"/>
      <dgm:constr type="w" for="ch" forName="sibTrans" refType="w" fact="0.075"/>
    </dgm:constrLst>
    <dgm:ruleLst/>
    <dgm:forEach name="nodesForEach" axis="ch" ptType="node">
      <dgm:layoutNode name="node">
        <dgm:varLst>
          <dgm:bulletEnabled val="1"/>
        </dgm:varLst>
        <dgm:alg type="tx"/>
        <dgm:choose name="Name4">
          <dgm:if name="Name5" func="var" arg="dir" op="equ" val="norm">
            <dgm:shape xmlns:r="http://schemas.openxmlformats.org/officeDocument/2006/relationships" rot="-90" type="flowChartManualOperation" r:blip="">
              <dgm:adjLst/>
            </dgm:shape>
          </dgm:if>
          <dgm:else name="Name6">
            <dgm:shape xmlns:r="http://schemas.openxmlformats.org/officeDocument/2006/relationships" rot="90" type="flowChartManualOperation" r:blip="">
              <dgm:adjLst/>
            </dgm:shape>
          </dgm:else>
        </dgm:choose>
        <dgm:presOf axis="desOrSelf" ptType="node"/>
        <dgm:constrLst>
          <dgm:constr type="primFontSz" val="65"/>
          <dgm:constr type="tMarg"/>
          <dgm:constr type="bMarg"/>
          <dgm:constr type="lMarg" refType="primFontSz" fact="0.5"/>
          <dgm:constr type="rMarg" refType="lMarg"/>
        </dgm:constrLst>
        <dgm:ruleLst>
          <dgm:rule type="primFontSz" val="5" fact="NaN" max="NaN"/>
        </dgm:ruleLst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9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berschrift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>
              <a:latin typeface="Arial" panose="020B0604020202020204" pitchFamily="34" charset="0"/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427875B-CA47-FA49-97C5-D3B545E6FF0D}" type="datetime1">
              <a:rPr lang="de-DE" smtClean="0">
                <a:latin typeface="Arial" panose="020B0604020202020204" pitchFamily="34" charset="0"/>
              </a:rPr>
              <a:t>17.04.2024</a:t>
            </a:fld>
            <a:endParaRPr lang="de-DE" dirty="0">
              <a:latin typeface="Arial" panose="020B0604020202020204" pitchFamily="34" charset="0"/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>
              <a:latin typeface="Arial" panose="020B0604020202020204" pitchFamily="34" charset="0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DC18DFC-9FCA-D944-A230-740BE9B04ED8}" type="slidenum">
              <a:rPr lang="de-DE" smtClean="0">
                <a:latin typeface="Arial" panose="020B0604020202020204" pitchFamily="34" charset="0"/>
              </a:rPr>
              <a:t>‹Nr.›</a:t>
            </a:fld>
            <a:endParaRPr lang="de-DE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73943370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46E04166-0329-2A4F-ABDD-FC90F497E6CB}" type="datetime1">
              <a:rPr lang="de-DE" smtClean="0"/>
              <a:pPr/>
              <a:t>16.04.2024</a:t>
            </a:fld>
            <a:endParaRPr lang="en-US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>
              <a:latin typeface="Arial"/>
            </a:endParaRPr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8B06FBF5-0168-4384-9FE9-2931CD60313C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91939734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  <a:sym typeface="Arial" panose="020B0604020202020204" pitchFamily="34" charset="0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  <a:sym typeface="Arial" panose="020B0604020202020204" pitchFamily="34" charset="0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  <a:sym typeface="Arial" panose="020B0604020202020204" pitchFamily="34" charset="0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  <a:sym typeface="Arial" panose="020B0604020202020204" pitchFamily="34" charset="0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  <a:sym typeface="Arial" panose="020B0604020202020204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B06FBF5-0168-4384-9FE9-2931CD60313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17379077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B06FBF5-0168-4384-9FE9-2931CD60313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238789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B06FBF5-0168-4384-9FE9-2931CD60313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6730966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B06FBF5-0168-4384-9FE9-2931CD60313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8036722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B06FBF5-0168-4384-9FE9-2931CD60313C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1919578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B06FBF5-0168-4384-9FE9-2931CD60313C}" type="slidenum">
              <a:rPr lang="en-US" smtClean="0"/>
              <a:pPr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6430061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B06FBF5-0168-4384-9FE9-2931CD60313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2621933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2.emf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4.bin"/><Relationship Id="rId2" Type="http://schemas.openxmlformats.org/officeDocument/2006/relationships/slideMaster" Target="../slideMasters/slideMaster16.xml"/><Relationship Id="rId1" Type="http://schemas.openxmlformats.org/officeDocument/2006/relationships/tags" Target="../tags/tag153.xml"/><Relationship Id="rId4" Type="http://schemas.openxmlformats.org/officeDocument/2006/relationships/image" Target="../media/image1.emf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7.bin"/><Relationship Id="rId2" Type="http://schemas.openxmlformats.org/officeDocument/2006/relationships/slideMaster" Target="../slideMasters/slideMaster17.xml"/><Relationship Id="rId1" Type="http://schemas.openxmlformats.org/officeDocument/2006/relationships/tags" Target="../tags/tag156.xml"/><Relationship Id="rId4" Type="http://schemas.openxmlformats.org/officeDocument/2006/relationships/image" Target="../media/image1.emf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8.bin"/><Relationship Id="rId2" Type="http://schemas.openxmlformats.org/officeDocument/2006/relationships/slideMaster" Target="../slideMasters/slideMaster17.xml"/><Relationship Id="rId1" Type="http://schemas.openxmlformats.org/officeDocument/2006/relationships/tags" Target="../tags/tag157.xml"/><Relationship Id="rId4" Type="http://schemas.openxmlformats.org/officeDocument/2006/relationships/image" Target="../media/image1.emf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9.bin"/><Relationship Id="rId2" Type="http://schemas.openxmlformats.org/officeDocument/2006/relationships/slideMaster" Target="../slideMasters/slideMaster17.xml"/><Relationship Id="rId1" Type="http://schemas.openxmlformats.org/officeDocument/2006/relationships/tags" Target="../tags/tag158.xml"/><Relationship Id="rId4" Type="http://schemas.openxmlformats.org/officeDocument/2006/relationships/image" Target="../media/image1.emf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160.xml"/><Relationship Id="rId1" Type="http://schemas.openxmlformats.org/officeDocument/2006/relationships/tags" Target="../tags/tag15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0.bin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1.bin"/><Relationship Id="rId2" Type="http://schemas.openxmlformats.org/officeDocument/2006/relationships/slideMaster" Target="../slideMasters/slideMaster17.xml"/><Relationship Id="rId1" Type="http://schemas.openxmlformats.org/officeDocument/2006/relationships/tags" Target="../tags/tag161.xml"/><Relationship Id="rId4" Type="http://schemas.openxmlformats.org/officeDocument/2006/relationships/image" Target="../media/image1.emf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2.bin"/><Relationship Id="rId2" Type="http://schemas.openxmlformats.org/officeDocument/2006/relationships/slideMaster" Target="../slideMasters/slideMaster17.xml"/><Relationship Id="rId1" Type="http://schemas.openxmlformats.org/officeDocument/2006/relationships/tags" Target="../tags/tag162.xml"/><Relationship Id="rId4" Type="http://schemas.openxmlformats.org/officeDocument/2006/relationships/image" Target="../media/image1.emf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3.bin"/><Relationship Id="rId2" Type="http://schemas.openxmlformats.org/officeDocument/2006/relationships/slideMaster" Target="../slideMasters/slideMaster17.xml"/><Relationship Id="rId1" Type="http://schemas.openxmlformats.org/officeDocument/2006/relationships/tags" Target="../tags/tag163.xml"/><Relationship Id="rId4" Type="http://schemas.openxmlformats.org/officeDocument/2006/relationships/image" Target="../media/image1.emf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4.bin"/><Relationship Id="rId2" Type="http://schemas.openxmlformats.org/officeDocument/2006/relationships/slideMaster" Target="../slideMasters/slideMaster17.xml"/><Relationship Id="rId1" Type="http://schemas.openxmlformats.org/officeDocument/2006/relationships/tags" Target="../tags/tag164.xml"/><Relationship Id="rId4" Type="http://schemas.openxmlformats.org/officeDocument/2006/relationships/image" Target="../media/image1.emf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166.xml"/><Relationship Id="rId1" Type="http://schemas.openxmlformats.org/officeDocument/2006/relationships/tags" Target="../tags/tag16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5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9.xml"/><Relationship Id="rId4" Type="http://schemas.openxmlformats.org/officeDocument/2006/relationships/image" Target="../media/image1.emf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168.xml"/><Relationship Id="rId1" Type="http://schemas.openxmlformats.org/officeDocument/2006/relationships/tags" Target="../tags/tag16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6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2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5.xml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6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7.xml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0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1.xml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2.xml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3.xml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6.xml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7.xml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8.xml"/><Relationship Id="rId4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0.xml"/><Relationship Id="rId1" Type="http://schemas.openxmlformats.org/officeDocument/2006/relationships/tags" Target="../tags/tag3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0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41.xml"/><Relationship Id="rId4" Type="http://schemas.openxmlformats.org/officeDocument/2006/relationships/image" Target="../media/image1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42.xml"/><Relationship Id="rId4" Type="http://schemas.openxmlformats.org/officeDocument/2006/relationships/image" Target="../media/image1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43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5" Type="http://schemas.openxmlformats.org/officeDocument/2006/relationships/image" Target="../media/image2.emf"/><Relationship Id="rId4" Type="http://schemas.openxmlformats.org/officeDocument/2006/relationships/image" Target="../media/image1.emf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5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49.xml"/><Relationship Id="rId1" Type="http://schemas.openxmlformats.org/officeDocument/2006/relationships/tags" Target="../tags/tag4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6.bin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51.xml"/><Relationship Id="rId1" Type="http://schemas.openxmlformats.org/officeDocument/2006/relationships/tags" Target="../tags/tag5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7.bin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8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52.xml"/><Relationship Id="rId4" Type="http://schemas.openxmlformats.org/officeDocument/2006/relationships/image" Target="../media/image1.emf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0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55.xml"/><Relationship Id="rId4" Type="http://schemas.openxmlformats.org/officeDocument/2006/relationships/image" Target="../media/image1.emf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1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56.xml"/><Relationship Id="rId4" Type="http://schemas.openxmlformats.org/officeDocument/2006/relationships/image" Target="../media/image1.emf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2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57.xml"/><Relationship Id="rId4" Type="http://schemas.openxmlformats.org/officeDocument/2006/relationships/image" Target="../media/image1.emf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3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58.xml"/><Relationship Id="rId4" Type="http://schemas.openxmlformats.org/officeDocument/2006/relationships/image" Target="../media/image1.emf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4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59.xml"/><Relationship Id="rId4" Type="http://schemas.openxmlformats.org/officeDocument/2006/relationships/image" Target="../media/image1.emf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6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62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5" Type="http://schemas.openxmlformats.org/officeDocument/2006/relationships/image" Target="../media/image2.emf"/><Relationship Id="rId4" Type="http://schemas.openxmlformats.org/officeDocument/2006/relationships/image" Target="../media/image1.emf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7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63.xml"/><Relationship Id="rId4" Type="http://schemas.openxmlformats.org/officeDocument/2006/relationships/image" Target="../media/image1.emf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8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64.xml"/><Relationship Id="rId4" Type="http://schemas.openxmlformats.org/officeDocument/2006/relationships/image" Target="../media/image1.emf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9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65.xml"/><Relationship Id="rId4" Type="http://schemas.openxmlformats.org/officeDocument/2006/relationships/image" Target="../media/image1.emf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1.bin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68.xml"/><Relationship Id="rId4" Type="http://schemas.openxmlformats.org/officeDocument/2006/relationships/image" Target="../media/image1.emf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2.bin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69.xml"/><Relationship Id="rId4" Type="http://schemas.openxmlformats.org/officeDocument/2006/relationships/image" Target="../media/image1.emf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3.bin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70.xml"/><Relationship Id="rId4" Type="http://schemas.openxmlformats.org/officeDocument/2006/relationships/image" Target="../media/image1.emf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4.bin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71.xml"/><Relationship Id="rId4" Type="http://schemas.openxmlformats.org/officeDocument/2006/relationships/image" Target="../media/image1.emf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5.bin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72.xml"/><Relationship Id="rId4" Type="http://schemas.openxmlformats.org/officeDocument/2006/relationships/image" Target="../media/image1.emf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7.bin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75.xml"/><Relationship Id="rId4" Type="http://schemas.openxmlformats.org/officeDocument/2006/relationships/image" Target="../media/image1.emf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8.bin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76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image" Target="../media/image2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9.bin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77.xml"/><Relationship Id="rId4" Type="http://schemas.openxmlformats.org/officeDocument/2006/relationships/image" Target="../media/image1.emf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0.bin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78.xml"/><Relationship Id="rId4" Type="http://schemas.openxmlformats.org/officeDocument/2006/relationships/image" Target="../media/image1.emf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1.bin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79.xml"/><Relationship Id="rId4" Type="http://schemas.openxmlformats.org/officeDocument/2006/relationships/image" Target="../media/image1.emf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3.bin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82.xml"/><Relationship Id="rId4" Type="http://schemas.openxmlformats.org/officeDocument/2006/relationships/image" Target="../media/image1.emf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4.bin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83.xml"/><Relationship Id="rId4" Type="http://schemas.openxmlformats.org/officeDocument/2006/relationships/image" Target="../media/image1.emf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5.bin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84.xml"/><Relationship Id="rId4" Type="http://schemas.openxmlformats.org/officeDocument/2006/relationships/image" Target="../media/image1.emf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6.bin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85.xml"/><Relationship Id="rId4" Type="http://schemas.openxmlformats.org/officeDocument/2006/relationships/image" Target="../media/image1.emf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7.bin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86.xml"/><Relationship Id="rId4" Type="http://schemas.openxmlformats.org/officeDocument/2006/relationships/image" Target="../media/image1.emf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9.bin"/><Relationship Id="rId2" Type="http://schemas.openxmlformats.org/officeDocument/2006/relationships/slideMaster" Target="../slideMasters/slideMaster11.xml"/><Relationship Id="rId1" Type="http://schemas.openxmlformats.org/officeDocument/2006/relationships/tags" Target="../tags/tag89.xml"/><Relationship Id="rId4" Type="http://schemas.openxmlformats.org/officeDocument/2006/relationships/image" Target="../media/image1.emf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0.bin"/><Relationship Id="rId2" Type="http://schemas.openxmlformats.org/officeDocument/2006/relationships/slideMaster" Target="../slideMasters/slideMaster11.xml"/><Relationship Id="rId1" Type="http://schemas.openxmlformats.org/officeDocument/2006/relationships/tags" Target="../tags/tag90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2.bin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93.xml"/><Relationship Id="rId4" Type="http://schemas.openxmlformats.org/officeDocument/2006/relationships/image" Target="../media/image1.emf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3.bin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94.xml"/><Relationship Id="rId4" Type="http://schemas.openxmlformats.org/officeDocument/2006/relationships/image" Target="../media/image1.emf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5.bin"/><Relationship Id="rId2" Type="http://schemas.openxmlformats.org/officeDocument/2006/relationships/slideMaster" Target="../slideMasters/slideMaster13.xml"/><Relationship Id="rId1" Type="http://schemas.openxmlformats.org/officeDocument/2006/relationships/tags" Target="../tags/tag97.xml"/><Relationship Id="rId5" Type="http://schemas.openxmlformats.org/officeDocument/2006/relationships/image" Target="../media/image2.emf"/><Relationship Id="rId4" Type="http://schemas.openxmlformats.org/officeDocument/2006/relationships/image" Target="../media/image1.emf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6.bin"/><Relationship Id="rId2" Type="http://schemas.openxmlformats.org/officeDocument/2006/relationships/slideMaster" Target="../slideMasters/slideMaster13.xml"/><Relationship Id="rId1" Type="http://schemas.openxmlformats.org/officeDocument/2006/relationships/tags" Target="../tags/tag98.xml"/><Relationship Id="rId4" Type="http://schemas.openxmlformats.org/officeDocument/2006/relationships/image" Target="../media/image1.emf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7.bin"/><Relationship Id="rId2" Type="http://schemas.openxmlformats.org/officeDocument/2006/relationships/slideMaster" Target="../slideMasters/slideMaster13.xml"/><Relationship Id="rId1" Type="http://schemas.openxmlformats.org/officeDocument/2006/relationships/tags" Target="../tags/tag99.xml"/><Relationship Id="rId5" Type="http://schemas.openxmlformats.org/officeDocument/2006/relationships/image" Target="../media/image2.emf"/><Relationship Id="rId4" Type="http://schemas.openxmlformats.org/officeDocument/2006/relationships/image" Target="../media/image1.emf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8.bin"/><Relationship Id="rId2" Type="http://schemas.openxmlformats.org/officeDocument/2006/relationships/slideMaster" Target="../slideMasters/slideMaster13.xml"/><Relationship Id="rId1" Type="http://schemas.openxmlformats.org/officeDocument/2006/relationships/tags" Target="../tags/tag100.xml"/><Relationship Id="rId5" Type="http://schemas.openxmlformats.org/officeDocument/2006/relationships/image" Target="../media/image2.emf"/><Relationship Id="rId4" Type="http://schemas.openxmlformats.org/officeDocument/2006/relationships/image" Target="../media/image1.emf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102.xml"/><Relationship Id="rId1" Type="http://schemas.openxmlformats.org/officeDocument/2006/relationships/tags" Target="../tags/tag101.xml"/><Relationship Id="rId6" Type="http://schemas.openxmlformats.org/officeDocument/2006/relationships/image" Target="../media/image2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79.bin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104.xml"/><Relationship Id="rId1" Type="http://schemas.openxmlformats.org/officeDocument/2006/relationships/tags" Target="../tags/tag10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0.bin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106.xml"/><Relationship Id="rId1" Type="http://schemas.openxmlformats.org/officeDocument/2006/relationships/tags" Target="../tags/tag10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0.bin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108.xml"/><Relationship Id="rId1" Type="http://schemas.openxmlformats.org/officeDocument/2006/relationships/tags" Target="../tags/tag10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0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1.bin"/><Relationship Id="rId2" Type="http://schemas.openxmlformats.org/officeDocument/2006/relationships/slideMaster" Target="../slideMasters/slideMaster13.xml"/><Relationship Id="rId1" Type="http://schemas.openxmlformats.org/officeDocument/2006/relationships/tags" Target="../tags/tag109.xml"/><Relationship Id="rId4" Type="http://schemas.openxmlformats.org/officeDocument/2006/relationships/image" Target="../media/image1.emf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2.bin"/><Relationship Id="rId2" Type="http://schemas.openxmlformats.org/officeDocument/2006/relationships/slideMaster" Target="../slideMasters/slideMaster13.xml"/><Relationship Id="rId1" Type="http://schemas.openxmlformats.org/officeDocument/2006/relationships/tags" Target="../tags/tag110.xml"/><Relationship Id="rId4" Type="http://schemas.openxmlformats.org/officeDocument/2006/relationships/image" Target="../media/image1.emf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4.bin"/><Relationship Id="rId2" Type="http://schemas.openxmlformats.org/officeDocument/2006/relationships/slideMaster" Target="../slideMasters/slideMaster14.xml"/><Relationship Id="rId1" Type="http://schemas.openxmlformats.org/officeDocument/2006/relationships/tags" Target="../tags/tag113.xml"/><Relationship Id="rId5" Type="http://schemas.openxmlformats.org/officeDocument/2006/relationships/image" Target="../media/image2.emf"/><Relationship Id="rId4" Type="http://schemas.openxmlformats.org/officeDocument/2006/relationships/image" Target="../media/image1.emf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5.bin"/><Relationship Id="rId2" Type="http://schemas.openxmlformats.org/officeDocument/2006/relationships/slideMaster" Target="../slideMasters/slideMaster14.xml"/><Relationship Id="rId1" Type="http://schemas.openxmlformats.org/officeDocument/2006/relationships/tags" Target="../tags/tag114.xml"/><Relationship Id="rId4" Type="http://schemas.openxmlformats.org/officeDocument/2006/relationships/image" Target="../media/image1.emf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6.bin"/><Relationship Id="rId2" Type="http://schemas.openxmlformats.org/officeDocument/2006/relationships/slideMaster" Target="../slideMasters/slideMaster14.xml"/><Relationship Id="rId1" Type="http://schemas.openxmlformats.org/officeDocument/2006/relationships/tags" Target="../tags/tag115.xml"/><Relationship Id="rId5" Type="http://schemas.openxmlformats.org/officeDocument/2006/relationships/image" Target="../media/image2.emf"/><Relationship Id="rId4" Type="http://schemas.openxmlformats.org/officeDocument/2006/relationships/image" Target="../media/image1.emf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7.bin"/><Relationship Id="rId2" Type="http://schemas.openxmlformats.org/officeDocument/2006/relationships/slideMaster" Target="../slideMasters/slideMaster14.xml"/><Relationship Id="rId1" Type="http://schemas.openxmlformats.org/officeDocument/2006/relationships/tags" Target="../tags/tag116.xml"/><Relationship Id="rId5" Type="http://schemas.openxmlformats.org/officeDocument/2006/relationships/image" Target="../media/image2.emf"/><Relationship Id="rId4" Type="http://schemas.openxmlformats.org/officeDocument/2006/relationships/image" Target="../media/image1.emf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118.xml"/><Relationship Id="rId1" Type="http://schemas.openxmlformats.org/officeDocument/2006/relationships/tags" Target="../tags/tag117.xml"/><Relationship Id="rId6" Type="http://schemas.openxmlformats.org/officeDocument/2006/relationships/image" Target="../media/image2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88.bin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120.xml"/><Relationship Id="rId1" Type="http://schemas.openxmlformats.org/officeDocument/2006/relationships/tags" Target="../tags/tag11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9.bin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0.bin"/><Relationship Id="rId2" Type="http://schemas.openxmlformats.org/officeDocument/2006/relationships/slideMaster" Target="../slideMasters/slideMaster14.xml"/><Relationship Id="rId1" Type="http://schemas.openxmlformats.org/officeDocument/2006/relationships/tags" Target="../tags/tag121.xml"/><Relationship Id="rId4" Type="http://schemas.openxmlformats.org/officeDocument/2006/relationships/image" Target="../media/image1.emf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123.xml"/><Relationship Id="rId1" Type="http://schemas.openxmlformats.org/officeDocument/2006/relationships/tags" Target="../tags/tag12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1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125.xml"/><Relationship Id="rId1" Type="http://schemas.openxmlformats.org/officeDocument/2006/relationships/tags" Target="../tags/tag12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2.bin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127.xml"/><Relationship Id="rId1" Type="http://schemas.openxmlformats.org/officeDocument/2006/relationships/tags" Target="../tags/tag12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3.bin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4.bin"/><Relationship Id="rId2" Type="http://schemas.openxmlformats.org/officeDocument/2006/relationships/slideMaster" Target="../slideMasters/slideMaster14.xml"/><Relationship Id="rId1" Type="http://schemas.openxmlformats.org/officeDocument/2006/relationships/tags" Target="../tags/tag128.xml"/><Relationship Id="rId4" Type="http://schemas.openxmlformats.org/officeDocument/2006/relationships/image" Target="../media/image1.emf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5.bin"/><Relationship Id="rId2" Type="http://schemas.openxmlformats.org/officeDocument/2006/relationships/slideMaster" Target="../slideMasters/slideMaster14.xml"/><Relationship Id="rId1" Type="http://schemas.openxmlformats.org/officeDocument/2006/relationships/tags" Target="../tags/tag129.xml"/><Relationship Id="rId4" Type="http://schemas.openxmlformats.org/officeDocument/2006/relationships/image" Target="../media/image1.emf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7.bin"/><Relationship Id="rId2" Type="http://schemas.openxmlformats.org/officeDocument/2006/relationships/slideMaster" Target="../slideMasters/slideMaster15.xml"/><Relationship Id="rId1" Type="http://schemas.openxmlformats.org/officeDocument/2006/relationships/tags" Target="../tags/tag132.xml"/><Relationship Id="rId4" Type="http://schemas.openxmlformats.org/officeDocument/2006/relationships/image" Target="../media/image1.emf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8.bin"/><Relationship Id="rId2" Type="http://schemas.openxmlformats.org/officeDocument/2006/relationships/slideMaster" Target="../slideMasters/slideMaster15.xml"/><Relationship Id="rId1" Type="http://schemas.openxmlformats.org/officeDocument/2006/relationships/tags" Target="../tags/tag133.xml"/><Relationship Id="rId4" Type="http://schemas.openxmlformats.org/officeDocument/2006/relationships/image" Target="../media/image1.emf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9.bin"/><Relationship Id="rId2" Type="http://schemas.openxmlformats.org/officeDocument/2006/relationships/slideMaster" Target="../slideMasters/slideMaster15.xml"/><Relationship Id="rId1" Type="http://schemas.openxmlformats.org/officeDocument/2006/relationships/tags" Target="../tags/tag134.xml"/><Relationship Id="rId4" Type="http://schemas.openxmlformats.org/officeDocument/2006/relationships/image" Target="../media/image1.emf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136.xml"/><Relationship Id="rId1" Type="http://schemas.openxmlformats.org/officeDocument/2006/relationships/tags" Target="../tags/tag13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0.bin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1.bin"/><Relationship Id="rId2" Type="http://schemas.openxmlformats.org/officeDocument/2006/relationships/slideMaster" Target="../slideMasters/slideMaster15.xml"/><Relationship Id="rId1" Type="http://schemas.openxmlformats.org/officeDocument/2006/relationships/tags" Target="../tags/tag137.xml"/><Relationship Id="rId4" Type="http://schemas.openxmlformats.org/officeDocument/2006/relationships/image" Target="../media/image1.emf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2.bin"/><Relationship Id="rId2" Type="http://schemas.openxmlformats.org/officeDocument/2006/relationships/slideMaster" Target="../slideMasters/slideMaster15.xml"/><Relationship Id="rId1" Type="http://schemas.openxmlformats.org/officeDocument/2006/relationships/tags" Target="../tags/tag138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3.bin"/><Relationship Id="rId2" Type="http://schemas.openxmlformats.org/officeDocument/2006/relationships/slideMaster" Target="../slideMasters/slideMaster15.xml"/><Relationship Id="rId1" Type="http://schemas.openxmlformats.org/officeDocument/2006/relationships/tags" Target="../tags/tag139.xml"/><Relationship Id="rId4" Type="http://schemas.openxmlformats.org/officeDocument/2006/relationships/image" Target="../media/image1.emf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4.bin"/><Relationship Id="rId2" Type="http://schemas.openxmlformats.org/officeDocument/2006/relationships/slideMaster" Target="../slideMasters/slideMaster15.xml"/><Relationship Id="rId1" Type="http://schemas.openxmlformats.org/officeDocument/2006/relationships/tags" Target="../tags/tag140.xml"/><Relationship Id="rId4" Type="http://schemas.openxmlformats.org/officeDocument/2006/relationships/image" Target="../media/image1.emf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142.xml"/><Relationship Id="rId1" Type="http://schemas.openxmlformats.org/officeDocument/2006/relationships/tags" Target="../tags/tag14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5.bin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7.bin"/><Relationship Id="rId2" Type="http://schemas.openxmlformats.org/officeDocument/2006/relationships/slideMaster" Target="../slideMasters/slideMaster16.xml"/><Relationship Id="rId1" Type="http://schemas.openxmlformats.org/officeDocument/2006/relationships/tags" Target="../tags/tag145.xml"/><Relationship Id="rId4" Type="http://schemas.openxmlformats.org/officeDocument/2006/relationships/image" Target="../media/image1.emf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8.bin"/><Relationship Id="rId2" Type="http://schemas.openxmlformats.org/officeDocument/2006/relationships/slideMaster" Target="../slideMasters/slideMaster16.xml"/><Relationship Id="rId1" Type="http://schemas.openxmlformats.org/officeDocument/2006/relationships/tags" Target="../tags/tag146.xml"/><Relationship Id="rId4" Type="http://schemas.openxmlformats.org/officeDocument/2006/relationships/image" Target="../media/image1.emf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9.bin"/><Relationship Id="rId2" Type="http://schemas.openxmlformats.org/officeDocument/2006/relationships/slideMaster" Target="../slideMasters/slideMaster16.xml"/><Relationship Id="rId1" Type="http://schemas.openxmlformats.org/officeDocument/2006/relationships/tags" Target="../tags/tag147.xml"/><Relationship Id="rId4" Type="http://schemas.openxmlformats.org/officeDocument/2006/relationships/image" Target="../media/image1.emf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149.xml"/><Relationship Id="rId1" Type="http://schemas.openxmlformats.org/officeDocument/2006/relationships/tags" Target="../tags/tag14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0.bin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1.bin"/><Relationship Id="rId2" Type="http://schemas.openxmlformats.org/officeDocument/2006/relationships/slideMaster" Target="../slideMasters/slideMaster16.xml"/><Relationship Id="rId1" Type="http://schemas.openxmlformats.org/officeDocument/2006/relationships/tags" Target="../tags/tag150.xml"/><Relationship Id="rId4" Type="http://schemas.openxmlformats.org/officeDocument/2006/relationships/image" Target="../media/image1.emf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2.bin"/><Relationship Id="rId2" Type="http://schemas.openxmlformats.org/officeDocument/2006/relationships/slideMaster" Target="../slideMasters/slideMaster16.xml"/><Relationship Id="rId1" Type="http://schemas.openxmlformats.org/officeDocument/2006/relationships/tags" Target="../tags/tag151.xml"/><Relationship Id="rId4" Type="http://schemas.openxmlformats.org/officeDocument/2006/relationships/image" Target="../media/image1.emf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3.bin"/><Relationship Id="rId2" Type="http://schemas.openxmlformats.org/officeDocument/2006/relationships/slideMaster" Target="../slideMasters/slideMaster16.xml"/><Relationship Id="rId1" Type="http://schemas.openxmlformats.org/officeDocument/2006/relationships/tags" Target="../tags/tag152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instieg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224174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/>
          <p:cNvSpPr/>
          <p:nvPr userDrawn="1"/>
        </p:nvSpPr>
        <p:spPr>
          <a:xfrm>
            <a:off x="-794" y="0"/>
            <a:ext cx="12193588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cxnSp>
        <p:nvCxnSpPr>
          <p:cNvPr id="11" name="Gerade Verbindung 10"/>
          <p:cNvCxnSpPr/>
          <p:nvPr userDrawn="1"/>
        </p:nvCxnSpPr>
        <p:spPr>
          <a:xfrm>
            <a:off x="3971764" y="1664804"/>
            <a:ext cx="0" cy="5193196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platzhalter 20"/>
          <p:cNvSpPr>
            <a:spLocks noGrp="1"/>
          </p:cNvSpPr>
          <p:nvPr>
            <p:ph type="body" sz="quarter" idx="12" hasCustomPrompt="1"/>
          </p:nvPr>
        </p:nvSpPr>
        <p:spPr>
          <a:xfrm>
            <a:off x="4259263" y="5121202"/>
            <a:ext cx="7453312" cy="320088"/>
          </a:xfrm>
        </p:spPr>
        <p:txBody>
          <a:bodyPr wrap="square" anchor="b">
            <a:spAutoFit/>
          </a:bodyPr>
          <a:lstStyle>
            <a:lvl1pPr>
              <a:lnSpc>
                <a:spcPct val="130000"/>
              </a:lnSpc>
              <a:spcBef>
                <a:spcPts val="0"/>
              </a:spcBef>
              <a:defRPr sz="1600" cap="all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Untertitel durch Klicken bearbeiten</a:t>
            </a:r>
          </a:p>
        </p:txBody>
      </p:sp>
      <p:sp>
        <p:nvSpPr>
          <p:cNvPr id="25" name="Textplatzhalter 20"/>
          <p:cNvSpPr>
            <a:spLocks noGrp="1"/>
          </p:cNvSpPr>
          <p:nvPr>
            <p:ph type="body" sz="quarter" idx="13" hasCustomPrompt="1"/>
          </p:nvPr>
        </p:nvSpPr>
        <p:spPr>
          <a:xfrm>
            <a:off x="4259263" y="6207115"/>
            <a:ext cx="7453312" cy="246221"/>
          </a:xfrm>
        </p:spPr>
        <p:txBody>
          <a:bodyPr wrap="square" anchor="b">
            <a:spAutoFit/>
          </a:bodyPr>
          <a:lstStyle>
            <a:lvl1pPr>
              <a:spcBef>
                <a:spcPts val="0"/>
              </a:spcBef>
              <a:defRPr sz="1600" cap="none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Ort,</a:t>
            </a:r>
          </a:p>
        </p:txBody>
      </p:sp>
      <p:pic>
        <p:nvPicPr>
          <p:cNvPr id="17" name="Picture 10"/>
          <p:cNvPicPr>
            <a:picLocks noChangeAspect="1" noChangeArrowheads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63352" y="200024"/>
            <a:ext cx="4018011" cy="532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9" name="object 4">
            <a:extLst>
              <a:ext uri="{FF2B5EF4-FFF2-40B4-BE49-F238E27FC236}">
                <a16:creationId xmlns:a16="http://schemas.microsoft.com/office/drawing/2014/main" id="{F1407FCD-A98D-8D4C-BAEA-A83B72042659}"/>
              </a:ext>
            </a:extLst>
          </p:cNvPr>
          <p:cNvSpPr/>
          <p:nvPr userDrawn="1"/>
        </p:nvSpPr>
        <p:spPr>
          <a:xfrm>
            <a:off x="0" y="899999"/>
            <a:ext cx="12192635" cy="0"/>
          </a:xfrm>
          <a:custGeom>
            <a:avLst/>
            <a:gdLst/>
            <a:ahLst/>
            <a:cxnLst/>
            <a:rect l="l" t="t" r="r" b="b"/>
            <a:pathLst>
              <a:path w="12192635">
                <a:moveTo>
                  <a:pt x="0" y="0"/>
                </a:moveTo>
                <a:lnTo>
                  <a:pt x="12192113" y="0"/>
                </a:lnTo>
              </a:path>
            </a:pathLst>
          </a:custGeom>
          <a:ln w="28575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" name="Textplatzhalter 15"/>
          <p:cNvSpPr>
            <a:spLocks noGrp="1"/>
          </p:cNvSpPr>
          <p:nvPr>
            <p:ph type="body" sz="quarter" idx="14" hasCustomPrompt="1"/>
          </p:nvPr>
        </p:nvSpPr>
        <p:spPr>
          <a:xfrm>
            <a:off x="0" y="908720"/>
            <a:ext cx="12192794" cy="769441"/>
          </a:xfrm>
          <a:solidFill>
            <a:schemeClr val="tx2"/>
          </a:solidFill>
          <a:effectLst>
            <a:outerShdw dist="27940" dir="5400000" algn="t" rotWithShape="0">
              <a:prstClr val="black"/>
            </a:outerShdw>
          </a:effectLst>
        </p:spPr>
        <p:txBody>
          <a:bodyPr wrap="square" lIns="234000" bIns="0">
            <a:sp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5000" cap="all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Titel durch klicken hinzufügen</a:t>
            </a:r>
          </a:p>
        </p:txBody>
      </p:sp>
      <p:sp>
        <p:nvSpPr>
          <p:cNvPr id="14" name="Textplatzhalter 20">
            <a:extLst>
              <a:ext uri="{FF2B5EF4-FFF2-40B4-BE49-F238E27FC236}">
                <a16:creationId xmlns:a16="http://schemas.microsoft.com/office/drawing/2014/main" id="{B844ACB7-98F5-7044-A959-474A15FAEE0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259263" y="5877272"/>
            <a:ext cx="7453312" cy="246221"/>
          </a:xfrm>
        </p:spPr>
        <p:txBody>
          <a:bodyPr wrap="square" anchor="b">
            <a:spAutoFit/>
          </a:bodyPr>
          <a:lstStyle>
            <a:lvl1pPr>
              <a:spcBef>
                <a:spcPts val="0"/>
              </a:spcBef>
              <a:defRPr sz="1600" cap="none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Name</a:t>
            </a:r>
          </a:p>
        </p:txBody>
      </p:sp>
      <p:sp>
        <p:nvSpPr>
          <p:cNvPr id="16" name="Datumsplatzhalter 4"/>
          <p:cNvSpPr>
            <a:spLocks noGrp="1"/>
          </p:cNvSpPr>
          <p:nvPr>
            <p:ph type="dt" sz="half" idx="2"/>
          </p:nvPr>
        </p:nvSpPr>
        <p:spPr>
          <a:xfrm>
            <a:off x="5302872" y="6207115"/>
            <a:ext cx="6410325" cy="246221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181017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einstieg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173139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de-DE" sz="2800" b="0" i="0" baseline="0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" name="Rechteck 9"/>
          <p:cNvSpPr/>
          <p:nvPr userDrawn="1"/>
        </p:nvSpPr>
        <p:spPr>
          <a:xfrm>
            <a:off x="0" y="1"/>
            <a:ext cx="12193588" cy="900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cxnSp>
        <p:nvCxnSpPr>
          <p:cNvPr id="13" name="Gerade Verbindung 12"/>
          <p:cNvCxnSpPr/>
          <p:nvPr userDrawn="1"/>
        </p:nvCxnSpPr>
        <p:spPr>
          <a:xfrm>
            <a:off x="0" y="900000"/>
            <a:ext cx="11928475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feld 7"/>
          <p:cNvSpPr txBox="1"/>
          <p:nvPr userDrawn="1"/>
        </p:nvSpPr>
        <p:spPr>
          <a:xfrm rot="16200000">
            <a:off x="8631237" y="3297236"/>
            <a:ext cx="6857999" cy="263527"/>
          </a:xfrm>
          <a:prstGeom prst="rect">
            <a:avLst/>
          </a:prstGeom>
          <a:solidFill>
            <a:schemeClr val="bg2"/>
          </a:solidFill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endParaRPr lang="de-DE" sz="800" kern="1200" spc="-30" baseline="0" dirty="0">
              <a:solidFill>
                <a:schemeClr val="accent5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Textfeld 8"/>
          <p:cNvSpPr txBox="1"/>
          <p:nvPr userDrawn="1"/>
        </p:nvSpPr>
        <p:spPr>
          <a:xfrm rot="16200000">
            <a:off x="11605877" y="322597"/>
            <a:ext cx="908719" cy="263527"/>
          </a:xfrm>
          <a:prstGeom prst="rect">
            <a:avLst/>
          </a:prstGeom>
          <a:noFill/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r>
              <a:rPr lang="de-DE" sz="800" kern="1200" spc="-3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© Rödl &amp; Partner 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5"/>
          </p:nvPr>
        </p:nvSpPr>
        <p:spPr>
          <a:xfrm>
            <a:off x="11928648" y="6453187"/>
            <a:ext cx="263350" cy="404813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lang="de-DE" sz="1100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algn="ctr"/>
            <a:fld id="{4CFEB0D3-1EB3-4F08-8062-95FFB9749870}" type="slidenum">
              <a:rPr lang="de-DE" smtClean="0"/>
              <a:pPr algn="ctr"/>
              <a:t>‹Nr.›</a:t>
            </a:fld>
            <a:endParaRPr lang="de-DE" dirty="0"/>
          </a:p>
        </p:txBody>
      </p:sp>
      <p:sp>
        <p:nvSpPr>
          <p:cNvPr id="12" name="Textplatzhalter 15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914400"/>
            <a:ext cx="11928472" cy="991792"/>
          </a:xfrm>
          <a:solidFill>
            <a:schemeClr val="tx2"/>
          </a:solidFill>
          <a:effectLst>
            <a:outerShdw dist="27940" dir="5400000" algn="t" rotWithShape="0">
              <a:schemeClr val="tx1"/>
            </a:outerShdw>
          </a:effectLst>
        </p:spPr>
        <p:txBody>
          <a:bodyPr lIns="1170000" tIns="72000" bIns="72000">
            <a:spAutoFit/>
          </a:bodyPr>
          <a:lstStyle>
            <a:lvl1pPr>
              <a:lnSpc>
                <a:spcPts val="6600"/>
              </a:lnSpc>
              <a:defRPr sz="6000" cap="all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Text bearbeiten</a:t>
            </a:r>
          </a:p>
        </p:txBody>
      </p:sp>
    </p:spTree>
    <p:extLst>
      <p:ext uri="{BB962C8B-B14F-4D97-AF65-F5344CB8AC3E}">
        <p14:creationId xmlns:p14="http://schemas.microsoft.com/office/powerpoint/2010/main" val="171206886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pfzeile farbig Untertitel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platzhalter 14"/>
          <p:cNvSpPr>
            <a:spLocks noGrp="1"/>
          </p:cNvSpPr>
          <p:nvPr>
            <p:ph type="body" sz="quarter" idx="13"/>
          </p:nvPr>
        </p:nvSpPr>
        <p:spPr>
          <a:xfrm>
            <a:off x="263525" y="1457326"/>
            <a:ext cx="11449048" cy="4610100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12" name="object 4">
            <a:extLst>
              <a:ext uri="{FF2B5EF4-FFF2-40B4-BE49-F238E27FC236}">
                <a16:creationId xmlns:a16="http://schemas.microsoft.com/office/drawing/2014/main" id="{880C4227-47B7-694C-8443-CF01E2AE097C}"/>
              </a:ext>
            </a:extLst>
          </p:cNvPr>
          <p:cNvSpPr/>
          <p:nvPr userDrawn="1"/>
        </p:nvSpPr>
        <p:spPr>
          <a:xfrm>
            <a:off x="2681" y="899998"/>
            <a:ext cx="12193200" cy="158460"/>
          </a:xfrm>
          <a:custGeom>
            <a:avLst/>
            <a:gdLst/>
            <a:ahLst/>
            <a:cxnLst/>
            <a:rect l="l" t="t" r="r" b="b"/>
            <a:pathLst>
              <a:path w="12192635">
                <a:moveTo>
                  <a:pt x="0" y="0"/>
                </a:moveTo>
                <a:lnTo>
                  <a:pt x="12192113" y="0"/>
                </a:lnTo>
              </a:path>
            </a:pathLst>
          </a:custGeom>
          <a:ln w="28575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866665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feld 7"/>
          <p:cNvSpPr txBox="1"/>
          <p:nvPr userDrawn="1"/>
        </p:nvSpPr>
        <p:spPr>
          <a:xfrm rot="16200000">
            <a:off x="8631237" y="3297236"/>
            <a:ext cx="6857999" cy="263527"/>
          </a:xfrm>
          <a:prstGeom prst="rect">
            <a:avLst/>
          </a:prstGeom>
          <a:solidFill>
            <a:schemeClr val="bg2"/>
          </a:solidFill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endParaRPr lang="de-DE" sz="800" kern="1200" spc="-30" baseline="0">
              <a:solidFill>
                <a:schemeClr val="accent5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Textfeld 8"/>
          <p:cNvSpPr txBox="1"/>
          <p:nvPr userDrawn="1"/>
        </p:nvSpPr>
        <p:spPr>
          <a:xfrm rot="16200000">
            <a:off x="11605877" y="322597"/>
            <a:ext cx="908719" cy="263527"/>
          </a:xfrm>
          <a:prstGeom prst="rect">
            <a:avLst/>
          </a:prstGeom>
          <a:noFill/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r>
              <a:rPr lang="de-DE" sz="800" kern="1200" spc="-3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© Rödl &amp; Partner </a:t>
            </a:r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>
          <a:xfrm>
            <a:off x="263525" y="260648"/>
            <a:ext cx="11449049" cy="396000"/>
          </a:xfrm>
        </p:spPr>
        <p:txBody>
          <a:bodyPr/>
          <a:lstStyle>
            <a:lvl1pPr>
              <a:defRPr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GB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263525" y="1065214"/>
            <a:ext cx="11449048" cy="288000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de-DE"/>
              <a:t>Untertitel durch Klicken hinzufügen</a:t>
            </a:r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2" hasCustomPrompt="1"/>
          </p:nvPr>
        </p:nvSpPr>
        <p:spPr>
          <a:xfrm>
            <a:off x="263524" y="6248400"/>
            <a:ext cx="11449049" cy="204788"/>
          </a:xfrm>
        </p:spPr>
        <p:txBody>
          <a:bodyPr vert="horz" lIns="0" tIns="0" rIns="0" bIns="0" rtlCol="0" anchor="b">
            <a:noAutofit/>
          </a:bodyPr>
          <a:lstStyle>
            <a:lvl1pPr>
              <a:defRPr lang="de-DE" sz="1000" dirty="0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de-DE"/>
              <a:t>Fußnote durch Klicken hinzufügen</a:t>
            </a:r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14"/>
          </p:nvPr>
        </p:nvSpPr>
        <p:spPr>
          <a:xfrm>
            <a:off x="11928648" y="6453187"/>
            <a:ext cx="263350" cy="404813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ctr">
              <a:defRPr sz="11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4CFEB0D3-1EB3-4F08-8062-95FFB9749870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33257320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einstieg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/>
          <p:cNvSpPr/>
          <p:nvPr userDrawn="1"/>
        </p:nvSpPr>
        <p:spPr>
          <a:xfrm>
            <a:off x="-794" y="0"/>
            <a:ext cx="12193588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6"/>
          </p:nvPr>
        </p:nvSpPr>
        <p:spPr>
          <a:xfrm>
            <a:off x="4822022" y="-2841"/>
            <a:ext cx="7110000" cy="6859253"/>
          </a:xfrm>
          <a:solidFill>
            <a:schemeClr val="bg1"/>
          </a:solidFill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GB"/>
          </a:p>
        </p:txBody>
      </p:sp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33743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feld 7"/>
          <p:cNvSpPr txBox="1"/>
          <p:nvPr userDrawn="1"/>
        </p:nvSpPr>
        <p:spPr>
          <a:xfrm rot="16200000">
            <a:off x="8631237" y="3297236"/>
            <a:ext cx="6857999" cy="263527"/>
          </a:xfrm>
          <a:prstGeom prst="rect">
            <a:avLst/>
          </a:prstGeom>
          <a:solidFill>
            <a:schemeClr val="bg2"/>
          </a:solidFill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endParaRPr lang="de-DE" sz="800" kern="1200" spc="-30" baseline="0">
              <a:solidFill>
                <a:schemeClr val="accent5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Textfeld 8"/>
          <p:cNvSpPr txBox="1"/>
          <p:nvPr userDrawn="1"/>
        </p:nvSpPr>
        <p:spPr>
          <a:xfrm rot="16200000">
            <a:off x="11605877" y="322597"/>
            <a:ext cx="908719" cy="263527"/>
          </a:xfrm>
          <a:prstGeom prst="rect">
            <a:avLst/>
          </a:prstGeom>
          <a:noFill/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r>
              <a:rPr lang="de-DE" sz="800" kern="1200" spc="-3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© Rödl &amp; Partner </a:t>
            </a:r>
          </a:p>
        </p:txBody>
      </p:sp>
      <p:sp>
        <p:nvSpPr>
          <p:cNvPr id="16" name="object 6">
            <a:extLst>
              <a:ext uri="{FF2B5EF4-FFF2-40B4-BE49-F238E27FC236}">
                <a16:creationId xmlns:a16="http://schemas.microsoft.com/office/drawing/2014/main" id="{35B15152-362B-804E-8180-EB8D98DF2756}"/>
              </a:ext>
            </a:extLst>
          </p:cNvPr>
          <p:cNvSpPr/>
          <p:nvPr userDrawn="1"/>
        </p:nvSpPr>
        <p:spPr>
          <a:xfrm>
            <a:off x="4816097" y="-6350"/>
            <a:ext cx="45719" cy="6864350"/>
          </a:xfrm>
          <a:custGeom>
            <a:avLst/>
            <a:gdLst/>
            <a:ahLst/>
            <a:cxnLst/>
            <a:rect l="l" t="t" r="r" b="b"/>
            <a:pathLst>
              <a:path h="4698365">
                <a:moveTo>
                  <a:pt x="0" y="0"/>
                </a:moveTo>
                <a:lnTo>
                  <a:pt x="0" y="4697996"/>
                </a:lnTo>
              </a:path>
            </a:pathLst>
          </a:custGeom>
          <a:ln w="285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7" name="Foliennummernplatzhalter 16"/>
          <p:cNvSpPr>
            <a:spLocks noGrp="1"/>
          </p:cNvSpPr>
          <p:nvPr>
            <p:ph type="sldNum" sz="quarter" idx="17"/>
          </p:nvPr>
        </p:nvSpPr>
        <p:spPr>
          <a:xfrm>
            <a:off x="11928648" y="6453187"/>
            <a:ext cx="263350" cy="404813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ctr">
              <a:defRPr sz="11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4CFEB0D3-1EB3-4F08-8062-95FFB9749870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4" name="Textplatzhalter 15">
            <a:extLst>
              <a:ext uri="{FF2B5EF4-FFF2-40B4-BE49-F238E27FC236}">
                <a16:creationId xmlns:a16="http://schemas.microsoft.com/office/drawing/2014/main" id="{1A835BE2-55CD-2A46-97A5-3378A6C95F2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" y="244800"/>
            <a:ext cx="4799856" cy="641726"/>
          </a:xfrm>
          <a:solidFill>
            <a:schemeClr val="tx2"/>
          </a:solidFill>
          <a:effectLst>
            <a:outerShdw dist="27940" dir="5100000" algn="t" rotWithShape="0">
              <a:prstClr val="black"/>
            </a:outerShdw>
          </a:effectLst>
        </p:spPr>
        <p:txBody>
          <a:bodyPr wrap="square" lIns="262800" rIns="144000" bIns="208800">
            <a:sp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2800" cap="all" spc="-7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de-DE" err="1"/>
              <a:t>KApitel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14822643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einstieg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/>
          <p:cNvSpPr/>
          <p:nvPr userDrawn="1"/>
        </p:nvSpPr>
        <p:spPr>
          <a:xfrm>
            <a:off x="-794" y="0"/>
            <a:ext cx="12193588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" name="object 4">
            <a:extLst>
              <a:ext uri="{FF2B5EF4-FFF2-40B4-BE49-F238E27FC236}">
                <a16:creationId xmlns:a16="http://schemas.microsoft.com/office/drawing/2014/main" id="{880C4227-47B7-694C-8443-CF01E2AE097C}"/>
              </a:ext>
            </a:extLst>
          </p:cNvPr>
          <p:cNvSpPr/>
          <p:nvPr userDrawn="1"/>
        </p:nvSpPr>
        <p:spPr>
          <a:xfrm>
            <a:off x="2681" y="899998"/>
            <a:ext cx="12193200" cy="158460"/>
          </a:xfrm>
          <a:custGeom>
            <a:avLst/>
            <a:gdLst/>
            <a:ahLst/>
            <a:cxnLst/>
            <a:rect l="l" t="t" r="r" b="b"/>
            <a:pathLst>
              <a:path w="12192635">
                <a:moveTo>
                  <a:pt x="0" y="0"/>
                </a:moveTo>
                <a:lnTo>
                  <a:pt x="12192113" y="0"/>
                </a:lnTo>
              </a:path>
            </a:pathLst>
          </a:custGeom>
          <a:ln w="28575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397089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feld 7"/>
          <p:cNvSpPr txBox="1"/>
          <p:nvPr userDrawn="1"/>
        </p:nvSpPr>
        <p:spPr>
          <a:xfrm rot="16200000">
            <a:off x="8631237" y="3297236"/>
            <a:ext cx="6857999" cy="263527"/>
          </a:xfrm>
          <a:prstGeom prst="rect">
            <a:avLst/>
          </a:prstGeom>
          <a:solidFill>
            <a:schemeClr val="bg2"/>
          </a:solidFill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endParaRPr lang="de-DE" sz="800" kern="1200" spc="-30" baseline="0">
              <a:solidFill>
                <a:schemeClr val="accent5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Textfeld 8"/>
          <p:cNvSpPr txBox="1"/>
          <p:nvPr userDrawn="1"/>
        </p:nvSpPr>
        <p:spPr>
          <a:xfrm rot="16200000">
            <a:off x="11605877" y="322597"/>
            <a:ext cx="908719" cy="263527"/>
          </a:xfrm>
          <a:prstGeom prst="rect">
            <a:avLst/>
          </a:prstGeom>
          <a:noFill/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r>
              <a:rPr lang="de-DE" sz="800" kern="1200" spc="-3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© Rödl &amp; Partner </a:t>
            </a:r>
          </a:p>
        </p:txBody>
      </p:sp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>
          <a:xfrm>
            <a:off x="263525" y="260648"/>
            <a:ext cx="11449049" cy="396000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de-DE" err="1"/>
              <a:t>kapitel</a:t>
            </a:r>
            <a:endParaRPr lang="en-GB"/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10"/>
          </p:nvPr>
        </p:nvSpPr>
        <p:spPr>
          <a:xfrm>
            <a:off x="11928648" y="6453187"/>
            <a:ext cx="263350" cy="404813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lang="de-DE" sz="1100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algn="ctr"/>
            <a:fld id="{4CFEB0D3-1EB3-4F08-8062-95FFB9749870}" type="slidenum">
              <a:rPr lang="de-DE" smtClean="0"/>
              <a:pPr algn="ctr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62572665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einstieg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/>
          <p:cNvSpPr/>
          <p:nvPr userDrawn="1"/>
        </p:nvSpPr>
        <p:spPr>
          <a:xfrm>
            <a:off x="-794" y="0"/>
            <a:ext cx="12193588" cy="89999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" name="object 4">
            <a:extLst>
              <a:ext uri="{FF2B5EF4-FFF2-40B4-BE49-F238E27FC236}">
                <a16:creationId xmlns:a16="http://schemas.microsoft.com/office/drawing/2014/main" id="{880C4227-47B7-694C-8443-CF01E2AE097C}"/>
              </a:ext>
            </a:extLst>
          </p:cNvPr>
          <p:cNvSpPr/>
          <p:nvPr userDrawn="1"/>
        </p:nvSpPr>
        <p:spPr>
          <a:xfrm>
            <a:off x="2681" y="899998"/>
            <a:ext cx="12193200" cy="158460"/>
          </a:xfrm>
          <a:custGeom>
            <a:avLst/>
            <a:gdLst/>
            <a:ahLst/>
            <a:cxnLst/>
            <a:rect l="l" t="t" r="r" b="b"/>
            <a:pathLst>
              <a:path w="12192635">
                <a:moveTo>
                  <a:pt x="0" y="0"/>
                </a:moveTo>
                <a:lnTo>
                  <a:pt x="12192113" y="0"/>
                </a:lnTo>
              </a:path>
            </a:pathLst>
          </a:custGeom>
          <a:ln w="28575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648381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feld 7"/>
          <p:cNvSpPr txBox="1"/>
          <p:nvPr userDrawn="1"/>
        </p:nvSpPr>
        <p:spPr>
          <a:xfrm rot="16200000">
            <a:off x="8631237" y="3297236"/>
            <a:ext cx="6857999" cy="263527"/>
          </a:xfrm>
          <a:prstGeom prst="rect">
            <a:avLst/>
          </a:prstGeom>
          <a:solidFill>
            <a:schemeClr val="bg2"/>
          </a:solidFill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endParaRPr lang="de-DE" sz="800" kern="1200" spc="-30" baseline="0">
              <a:solidFill>
                <a:schemeClr val="accent5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Textfeld 8"/>
          <p:cNvSpPr txBox="1"/>
          <p:nvPr userDrawn="1"/>
        </p:nvSpPr>
        <p:spPr>
          <a:xfrm rot="16200000">
            <a:off x="11605877" y="322597"/>
            <a:ext cx="908719" cy="263527"/>
          </a:xfrm>
          <a:prstGeom prst="rect">
            <a:avLst/>
          </a:prstGeom>
          <a:noFill/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r>
              <a:rPr lang="de-DE" sz="800" kern="1200" spc="-3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© Rödl &amp; Partner </a:t>
            </a:r>
          </a:p>
        </p:txBody>
      </p:sp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>
          <a:xfrm>
            <a:off x="263525" y="260648"/>
            <a:ext cx="11449049" cy="396000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de-DE" err="1"/>
              <a:t>kapitel</a:t>
            </a:r>
            <a:endParaRPr lang="en-GB"/>
          </a:p>
        </p:txBody>
      </p:sp>
      <p:sp>
        <p:nvSpPr>
          <p:cNvPr id="17" name="Foliennummernplatzhalter 16"/>
          <p:cNvSpPr>
            <a:spLocks noGrp="1"/>
          </p:cNvSpPr>
          <p:nvPr>
            <p:ph type="sldNum" sz="quarter" idx="10"/>
          </p:nvPr>
        </p:nvSpPr>
        <p:spPr>
          <a:xfrm>
            <a:off x="11928648" y="6453187"/>
            <a:ext cx="263350" cy="404813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lang="de-DE" sz="1100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algn="ctr"/>
            <a:fld id="{4CFEB0D3-1EB3-4F08-8062-95FFB9749870}" type="slidenum">
              <a:rPr lang="de-DE" smtClean="0"/>
              <a:pPr algn="ctr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10529320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einstieg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869550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de-DE" sz="2800" b="0" i="0" baseline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" name="Rechteck 9"/>
          <p:cNvSpPr/>
          <p:nvPr userDrawn="1"/>
        </p:nvSpPr>
        <p:spPr>
          <a:xfrm>
            <a:off x="0" y="1"/>
            <a:ext cx="12193588" cy="900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cxnSp>
        <p:nvCxnSpPr>
          <p:cNvPr id="13" name="Gerade Verbindung 12"/>
          <p:cNvCxnSpPr/>
          <p:nvPr userDrawn="1"/>
        </p:nvCxnSpPr>
        <p:spPr>
          <a:xfrm>
            <a:off x="0" y="900000"/>
            <a:ext cx="11928475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feld 7"/>
          <p:cNvSpPr txBox="1"/>
          <p:nvPr userDrawn="1"/>
        </p:nvSpPr>
        <p:spPr>
          <a:xfrm rot="16200000">
            <a:off x="8631237" y="3297236"/>
            <a:ext cx="6857999" cy="263527"/>
          </a:xfrm>
          <a:prstGeom prst="rect">
            <a:avLst/>
          </a:prstGeom>
          <a:solidFill>
            <a:schemeClr val="bg2"/>
          </a:solidFill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endParaRPr lang="de-DE" sz="800" kern="1200" spc="-30" baseline="0">
              <a:solidFill>
                <a:schemeClr val="accent5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Textfeld 8"/>
          <p:cNvSpPr txBox="1"/>
          <p:nvPr userDrawn="1"/>
        </p:nvSpPr>
        <p:spPr>
          <a:xfrm rot="16200000">
            <a:off x="11605877" y="322597"/>
            <a:ext cx="908719" cy="263527"/>
          </a:xfrm>
          <a:prstGeom prst="rect">
            <a:avLst/>
          </a:prstGeom>
          <a:noFill/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r>
              <a:rPr lang="de-DE" sz="800" kern="1200" spc="-3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© Rödl &amp; Partner 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5"/>
          </p:nvPr>
        </p:nvSpPr>
        <p:spPr>
          <a:xfrm>
            <a:off x="11928648" y="6453187"/>
            <a:ext cx="263350" cy="404813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lang="de-DE" sz="1100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algn="ctr"/>
            <a:fld id="{4CFEB0D3-1EB3-4F08-8062-95FFB9749870}" type="slidenum">
              <a:rPr lang="de-DE" smtClean="0"/>
              <a:pPr algn="ctr"/>
              <a:t>‹Nr.›</a:t>
            </a:fld>
            <a:endParaRPr lang="de-DE"/>
          </a:p>
        </p:txBody>
      </p:sp>
      <p:sp>
        <p:nvSpPr>
          <p:cNvPr id="12" name="Textplatzhalter 15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914400"/>
            <a:ext cx="11928472" cy="991792"/>
          </a:xfrm>
          <a:solidFill>
            <a:schemeClr val="tx2"/>
          </a:solidFill>
          <a:effectLst>
            <a:outerShdw dist="27940" dir="5400000" algn="t" rotWithShape="0">
              <a:schemeClr val="tx1"/>
            </a:outerShdw>
          </a:effectLst>
        </p:spPr>
        <p:txBody>
          <a:bodyPr lIns="1170000" tIns="72000" bIns="72000">
            <a:spAutoFit/>
          </a:bodyPr>
          <a:lstStyle>
            <a:lvl1pPr>
              <a:lnSpc>
                <a:spcPts val="6600"/>
              </a:lnSpc>
              <a:defRPr sz="6000" cap="all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de-DE"/>
              <a:t>Text bearbeiten</a:t>
            </a:r>
          </a:p>
        </p:txBody>
      </p:sp>
    </p:spTree>
    <p:extLst>
      <p:ext uri="{BB962C8B-B14F-4D97-AF65-F5344CB8AC3E}">
        <p14:creationId xmlns:p14="http://schemas.microsoft.com/office/powerpoint/2010/main" val="1851248984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pfzeile Untertitel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platzhalter 14"/>
          <p:cNvSpPr>
            <a:spLocks noGrp="1"/>
          </p:cNvSpPr>
          <p:nvPr>
            <p:ph type="body" sz="quarter" idx="13"/>
          </p:nvPr>
        </p:nvSpPr>
        <p:spPr>
          <a:xfrm>
            <a:off x="263525" y="1457326"/>
            <a:ext cx="11449048" cy="4610100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5" name="Rechteck 4"/>
          <p:cNvSpPr/>
          <p:nvPr userDrawn="1"/>
        </p:nvSpPr>
        <p:spPr>
          <a:xfrm>
            <a:off x="-794" y="0"/>
            <a:ext cx="12193588" cy="89999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" name="object 4">
            <a:extLst>
              <a:ext uri="{FF2B5EF4-FFF2-40B4-BE49-F238E27FC236}">
                <a16:creationId xmlns:a16="http://schemas.microsoft.com/office/drawing/2014/main" id="{880C4227-47B7-694C-8443-CF01E2AE097C}"/>
              </a:ext>
            </a:extLst>
          </p:cNvPr>
          <p:cNvSpPr/>
          <p:nvPr userDrawn="1"/>
        </p:nvSpPr>
        <p:spPr>
          <a:xfrm>
            <a:off x="2681" y="899998"/>
            <a:ext cx="12193200" cy="158460"/>
          </a:xfrm>
          <a:custGeom>
            <a:avLst/>
            <a:gdLst/>
            <a:ahLst/>
            <a:cxnLst/>
            <a:rect l="l" t="t" r="r" b="b"/>
            <a:pathLst>
              <a:path w="12192635">
                <a:moveTo>
                  <a:pt x="0" y="0"/>
                </a:moveTo>
                <a:lnTo>
                  <a:pt x="12192113" y="0"/>
                </a:lnTo>
              </a:path>
            </a:pathLst>
          </a:custGeom>
          <a:ln w="28575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220223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feld 7"/>
          <p:cNvSpPr txBox="1"/>
          <p:nvPr userDrawn="1"/>
        </p:nvSpPr>
        <p:spPr>
          <a:xfrm rot="16200000">
            <a:off x="8631237" y="3297236"/>
            <a:ext cx="6857999" cy="263527"/>
          </a:xfrm>
          <a:prstGeom prst="rect">
            <a:avLst/>
          </a:prstGeom>
          <a:solidFill>
            <a:schemeClr val="bg2"/>
          </a:solidFill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endParaRPr lang="de-DE" sz="800" kern="1200" spc="-30" baseline="0">
              <a:solidFill>
                <a:schemeClr val="accent5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Textfeld 8"/>
          <p:cNvSpPr txBox="1"/>
          <p:nvPr userDrawn="1"/>
        </p:nvSpPr>
        <p:spPr>
          <a:xfrm rot="16200000">
            <a:off x="11605877" y="322597"/>
            <a:ext cx="908719" cy="263527"/>
          </a:xfrm>
          <a:prstGeom prst="rect">
            <a:avLst/>
          </a:prstGeom>
          <a:noFill/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r>
              <a:rPr lang="de-DE" sz="800" kern="1200" spc="-3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© Rödl &amp; Partner </a:t>
            </a:r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>
          <a:xfrm>
            <a:off x="263525" y="260648"/>
            <a:ext cx="11449049" cy="396000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GB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263525" y="1065214"/>
            <a:ext cx="11449048" cy="288000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de-DE"/>
              <a:t>Untertitel durch Klicken hinzufügen</a:t>
            </a:r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2" hasCustomPrompt="1"/>
          </p:nvPr>
        </p:nvSpPr>
        <p:spPr>
          <a:xfrm>
            <a:off x="263524" y="6248400"/>
            <a:ext cx="11449049" cy="204788"/>
          </a:xfrm>
        </p:spPr>
        <p:txBody>
          <a:bodyPr vert="horz" lIns="0" tIns="0" rIns="0" bIns="0" rtlCol="0" anchor="b">
            <a:noAutofit/>
          </a:bodyPr>
          <a:lstStyle>
            <a:lvl1pPr>
              <a:defRPr lang="de-DE" sz="1000" dirty="0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de-DE"/>
              <a:t>Fußnote durch Klicken hinzufügen</a:t>
            </a:r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14"/>
          </p:nvPr>
        </p:nvSpPr>
        <p:spPr>
          <a:xfrm>
            <a:off x="11928648" y="6453187"/>
            <a:ext cx="263350" cy="404813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lang="de-DE" sz="1100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algn="ctr"/>
            <a:fld id="{4CFEB0D3-1EB3-4F08-8062-95FFB9749870}" type="slidenum">
              <a:rPr lang="de-DE" smtClean="0"/>
              <a:pPr algn="ctr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62572513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pfzeile Unter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/>
          <p:cNvSpPr/>
          <p:nvPr userDrawn="1"/>
        </p:nvSpPr>
        <p:spPr>
          <a:xfrm>
            <a:off x="-794" y="0"/>
            <a:ext cx="12193588" cy="89999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" name="object 4">
            <a:extLst>
              <a:ext uri="{FF2B5EF4-FFF2-40B4-BE49-F238E27FC236}">
                <a16:creationId xmlns:a16="http://schemas.microsoft.com/office/drawing/2014/main" id="{880C4227-47B7-694C-8443-CF01E2AE097C}"/>
              </a:ext>
            </a:extLst>
          </p:cNvPr>
          <p:cNvSpPr/>
          <p:nvPr userDrawn="1"/>
        </p:nvSpPr>
        <p:spPr>
          <a:xfrm>
            <a:off x="2681" y="899998"/>
            <a:ext cx="12193200" cy="158460"/>
          </a:xfrm>
          <a:custGeom>
            <a:avLst/>
            <a:gdLst/>
            <a:ahLst/>
            <a:cxnLst/>
            <a:rect l="l" t="t" r="r" b="b"/>
            <a:pathLst>
              <a:path w="12192635">
                <a:moveTo>
                  <a:pt x="0" y="0"/>
                </a:moveTo>
                <a:lnTo>
                  <a:pt x="12192113" y="0"/>
                </a:lnTo>
              </a:path>
            </a:pathLst>
          </a:custGeom>
          <a:ln w="28575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817579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feld 7"/>
          <p:cNvSpPr txBox="1"/>
          <p:nvPr userDrawn="1"/>
        </p:nvSpPr>
        <p:spPr>
          <a:xfrm rot="16200000">
            <a:off x="8631237" y="3297236"/>
            <a:ext cx="6857999" cy="263527"/>
          </a:xfrm>
          <a:prstGeom prst="rect">
            <a:avLst/>
          </a:prstGeom>
          <a:solidFill>
            <a:schemeClr val="bg2"/>
          </a:solidFill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endParaRPr lang="de-DE" sz="800" kern="1200" spc="-30" baseline="0">
              <a:solidFill>
                <a:schemeClr val="accent5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Textfeld 8"/>
          <p:cNvSpPr txBox="1"/>
          <p:nvPr userDrawn="1"/>
        </p:nvSpPr>
        <p:spPr>
          <a:xfrm rot="16200000">
            <a:off x="11605877" y="322597"/>
            <a:ext cx="908719" cy="263527"/>
          </a:xfrm>
          <a:prstGeom prst="rect">
            <a:avLst/>
          </a:prstGeom>
          <a:noFill/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r>
              <a:rPr lang="de-DE" sz="800" kern="1200" spc="-3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© Rödl &amp; Partner </a:t>
            </a:r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>
          <a:xfrm>
            <a:off x="263525" y="260648"/>
            <a:ext cx="11449049" cy="396000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GB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263525" y="1065214"/>
            <a:ext cx="11449048" cy="288000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de-DE"/>
              <a:t>Untertitel durch Klicken hinzufügen</a:t>
            </a:r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14"/>
          </p:nvPr>
        </p:nvSpPr>
        <p:spPr>
          <a:xfrm>
            <a:off x="11928648" y="6453187"/>
            <a:ext cx="263350" cy="404813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lang="de-DE" sz="1100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algn="ctr"/>
            <a:fld id="{4CFEB0D3-1EB3-4F08-8062-95FFB9749870}" type="slidenum">
              <a:rPr lang="de-DE" smtClean="0"/>
              <a:pPr algn="ctr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9860638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pfzeile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platzhalter 14"/>
          <p:cNvSpPr>
            <a:spLocks noGrp="1"/>
          </p:cNvSpPr>
          <p:nvPr>
            <p:ph type="body" sz="quarter" idx="13"/>
          </p:nvPr>
        </p:nvSpPr>
        <p:spPr>
          <a:xfrm>
            <a:off x="263525" y="1058458"/>
            <a:ext cx="11449048" cy="5008968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5" name="Rechteck 4"/>
          <p:cNvSpPr/>
          <p:nvPr userDrawn="1"/>
        </p:nvSpPr>
        <p:spPr>
          <a:xfrm>
            <a:off x="-794" y="0"/>
            <a:ext cx="12193588" cy="89999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" name="object 4">
            <a:extLst>
              <a:ext uri="{FF2B5EF4-FFF2-40B4-BE49-F238E27FC236}">
                <a16:creationId xmlns:a16="http://schemas.microsoft.com/office/drawing/2014/main" id="{880C4227-47B7-694C-8443-CF01E2AE097C}"/>
              </a:ext>
            </a:extLst>
          </p:cNvPr>
          <p:cNvSpPr/>
          <p:nvPr userDrawn="1"/>
        </p:nvSpPr>
        <p:spPr>
          <a:xfrm>
            <a:off x="2681" y="899998"/>
            <a:ext cx="12193200" cy="158460"/>
          </a:xfrm>
          <a:custGeom>
            <a:avLst/>
            <a:gdLst/>
            <a:ahLst/>
            <a:cxnLst/>
            <a:rect l="l" t="t" r="r" b="b"/>
            <a:pathLst>
              <a:path w="12192635">
                <a:moveTo>
                  <a:pt x="0" y="0"/>
                </a:moveTo>
                <a:lnTo>
                  <a:pt x="12192113" y="0"/>
                </a:lnTo>
              </a:path>
            </a:pathLst>
          </a:custGeom>
          <a:ln w="28575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764602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feld 7"/>
          <p:cNvSpPr txBox="1"/>
          <p:nvPr userDrawn="1"/>
        </p:nvSpPr>
        <p:spPr>
          <a:xfrm rot="16200000">
            <a:off x="8631237" y="3297236"/>
            <a:ext cx="6857999" cy="263527"/>
          </a:xfrm>
          <a:prstGeom prst="rect">
            <a:avLst/>
          </a:prstGeom>
          <a:solidFill>
            <a:schemeClr val="bg2"/>
          </a:solidFill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endParaRPr lang="de-DE" sz="800" kern="1200" spc="-30" baseline="0">
              <a:solidFill>
                <a:schemeClr val="accent5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Textfeld 8"/>
          <p:cNvSpPr txBox="1"/>
          <p:nvPr userDrawn="1"/>
        </p:nvSpPr>
        <p:spPr>
          <a:xfrm rot="16200000">
            <a:off x="11605877" y="322597"/>
            <a:ext cx="908719" cy="263527"/>
          </a:xfrm>
          <a:prstGeom prst="rect">
            <a:avLst/>
          </a:prstGeom>
          <a:noFill/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r>
              <a:rPr lang="de-DE" sz="800" kern="1200" spc="-3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© Rödl &amp; Partner </a:t>
            </a:r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>
          <a:xfrm>
            <a:off x="263525" y="260648"/>
            <a:ext cx="11449049" cy="396000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GB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2" hasCustomPrompt="1"/>
          </p:nvPr>
        </p:nvSpPr>
        <p:spPr>
          <a:xfrm>
            <a:off x="263524" y="6248400"/>
            <a:ext cx="11449049" cy="204788"/>
          </a:xfrm>
        </p:spPr>
        <p:txBody>
          <a:bodyPr vert="horz" lIns="0" tIns="0" rIns="0" bIns="0" rtlCol="0" anchor="b">
            <a:noAutofit/>
          </a:bodyPr>
          <a:lstStyle>
            <a:lvl1pPr>
              <a:defRPr lang="de-DE" sz="1000" dirty="0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de-DE"/>
              <a:t>Fußnote durch Klicken hinzufügen</a:t>
            </a:r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14"/>
          </p:nvPr>
        </p:nvSpPr>
        <p:spPr>
          <a:xfrm>
            <a:off x="11928648" y="6453187"/>
            <a:ext cx="263350" cy="404813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lang="de-DE" sz="1100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algn="ctr"/>
            <a:fld id="{4CFEB0D3-1EB3-4F08-8062-95FFB9749870}" type="slidenum">
              <a:rPr lang="de-DE" smtClean="0"/>
              <a:pPr algn="ctr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99503022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pfzeile farbig Untertitel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platzhalter 14"/>
          <p:cNvSpPr>
            <a:spLocks noGrp="1"/>
          </p:cNvSpPr>
          <p:nvPr>
            <p:ph type="body" sz="quarter" idx="13"/>
          </p:nvPr>
        </p:nvSpPr>
        <p:spPr>
          <a:xfrm>
            <a:off x="263525" y="1457326"/>
            <a:ext cx="11449048" cy="4610100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12" name="object 4">
            <a:extLst>
              <a:ext uri="{FF2B5EF4-FFF2-40B4-BE49-F238E27FC236}">
                <a16:creationId xmlns:a16="http://schemas.microsoft.com/office/drawing/2014/main" id="{880C4227-47B7-694C-8443-CF01E2AE097C}"/>
              </a:ext>
            </a:extLst>
          </p:cNvPr>
          <p:cNvSpPr/>
          <p:nvPr userDrawn="1"/>
        </p:nvSpPr>
        <p:spPr>
          <a:xfrm>
            <a:off x="2681" y="899998"/>
            <a:ext cx="12193200" cy="158460"/>
          </a:xfrm>
          <a:custGeom>
            <a:avLst/>
            <a:gdLst/>
            <a:ahLst/>
            <a:cxnLst/>
            <a:rect l="l" t="t" r="r" b="b"/>
            <a:pathLst>
              <a:path w="12192635">
                <a:moveTo>
                  <a:pt x="0" y="0"/>
                </a:moveTo>
                <a:lnTo>
                  <a:pt x="12192113" y="0"/>
                </a:lnTo>
              </a:path>
            </a:pathLst>
          </a:custGeom>
          <a:ln w="28575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866665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feld 7"/>
          <p:cNvSpPr txBox="1"/>
          <p:nvPr userDrawn="1"/>
        </p:nvSpPr>
        <p:spPr>
          <a:xfrm rot="16200000">
            <a:off x="8631237" y="3297236"/>
            <a:ext cx="6857999" cy="263527"/>
          </a:xfrm>
          <a:prstGeom prst="rect">
            <a:avLst/>
          </a:prstGeom>
          <a:solidFill>
            <a:schemeClr val="bg2"/>
          </a:solidFill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endParaRPr lang="de-DE" sz="800" kern="1200" spc="-30" baseline="0">
              <a:solidFill>
                <a:schemeClr val="accent5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Textfeld 8"/>
          <p:cNvSpPr txBox="1"/>
          <p:nvPr userDrawn="1"/>
        </p:nvSpPr>
        <p:spPr>
          <a:xfrm rot="16200000">
            <a:off x="11605877" y="322597"/>
            <a:ext cx="908719" cy="263527"/>
          </a:xfrm>
          <a:prstGeom prst="rect">
            <a:avLst/>
          </a:prstGeom>
          <a:noFill/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r>
              <a:rPr lang="de-DE" sz="800" kern="1200" spc="-3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© Rödl &amp; Partner </a:t>
            </a:r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>
          <a:xfrm>
            <a:off x="263525" y="260648"/>
            <a:ext cx="11449049" cy="396000"/>
          </a:xfrm>
        </p:spPr>
        <p:txBody>
          <a:bodyPr/>
          <a:lstStyle>
            <a:lvl1pPr>
              <a:defRPr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GB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263525" y="1065214"/>
            <a:ext cx="11449048" cy="288000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de-DE"/>
              <a:t>Untertitel durch Klicken hinzufügen</a:t>
            </a:r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2" hasCustomPrompt="1"/>
          </p:nvPr>
        </p:nvSpPr>
        <p:spPr>
          <a:xfrm>
            <a:off x="263524" y="6248400"/>
            <a:ext cx="11449049" cy="204788"/>
          </a:xfrm>
        </p:spPr>
        <p:txBody>
          <a:bodyPr vert="horz" lIns="0" tIns="0" rIns="0" bIns="0" rtlCol="0" anchor="b">
            <a:noAutofit/>
          </a:bodyPr>
          <a:lstStyle>
            <a:lvl1pPr>
              <a:defRPr lang="de-DE" sz="1000" dirty="0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de-DE"/>
              <a:t>Fußnote durch Klicken hinzufügen</a:t>
            </a:r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14"/>
          </p:nvPr>
        </p:nvSpPr>
        <p:spPr>
          <a:xfrm>
            <a:off x="11928648" y="6453187"/>
            <a:ext cx="263350" cy="404813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ctr">
              <a:defRPr sz="11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4CFEB0D3-1EB3-4F08-8062-95FFB9749870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47188663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Untertitel + Kopfzeile + Fließtextkas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758399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de-DE" sz="2800" b="0" i="0" baseline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cxnSp>
        <p:nvCxnSpPr>
          <p:cNvPr id="20" name="Gerade Verbindung 19"/>
          <p:cNvCxnSpPr/>
          <p:nvPr userDrawn="1"/>
        </p:nvCxnSpPr>
        <p:spPr>
          <a:xfrm>
            <a:off x="0" y="900000"/>
            <a:ext cx="11928475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3B32DA5B-3025-5D45-A927-BAED7D4FEB3A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263525" y="1052736"/>
            <a:ext cx="11448000" cy="34631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 noProof="0"/>
              <a:t>UNTERTITEL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4CFEB0D3-1EB3-4F08-8062-95FFB9749870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1" name="Textplatzhalter 12"/>
          <p:cNvSpPr>
            <a:spLocks noGrp="1"/>
          </p:cNvSpPr>
          <p:nvPr>
            <p:ph type="body" sz="quarter" idx="12" hasCustomPrompt="1"/>
          </p:nvPr>
        </p:nvSpPr>
        <p:spPr>
          <a:xfrm>
            <a:off x="263524" y="6248400"/>
            <a:ext cx="11449049" cy="204788"/>
          </a:xfrm>
        </p:spPr>
        <p:txBody>
          <a:bodyPr vert="horz" lIns="0" tIns="0" rIns="0" bIns="0" rtlCol="0" anchor="b">
            <a:noAutofit/>
          </a:bodyPr>
          <a:lstStyle>
            <a:lvl1pPr>
              <a:defRPr lang="de-DE" sz="1000" dirty="0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de-DE"/>
              <a:t>Fußnote durch Klicken hinzufügen</a:t>
            </a:r>
          </a:p>
        </p:txBody>
      </p:sp>
      <p:sp>
        <p:nvSpPr>
          <p:cNvPr id="12" name="Textplatzhalter 14"/>
          <p:cNvSpPr>
            <a:spLocks noGrp="1"/>
          </p:cNvSpPr>
          <p:nvPr>
            <p:ph type="body" sz="quarter" idx="13"/>
          </p:nvPr>
        </p:nvSpPr>
        <p:spPr>
          <a:xfrm>
            <a:off x="263525" y="1457326"/>
            <a:ext cx="11449048" cy="4610100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7337630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pfzeile Untertitel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platzhalter 14"/>
          <p:cNvSpPr>
            <a:spLocks noGrp="1"/>
          </p:cNvSpPr>
          <p:nvPr>
            <p:ph type="body" sz="quarter" idx="13"/>
          </p:nvPr>
        </p:nvSpPr>
        <p:spPr>
          <a:xfrm>
            <a:off x="263525" y="1457326"/>
            <a:ext cx="11449048" cy="4610100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GB" dirty="0"/>
          </a:p>
        </p:txBody>
      </p:sp>
      <p:sp>
        <p:nvSpPr>
          <p:cNvPr id="5" name="Rechteck 4"/>
          <p:cNvSpPr/>
          <p:nvPr userDrawn="1"/>
        </p:nvSpPr>
        <p:spPr>
          <a:xfrm>
            <a:off x="-794" y="0"/>
            <a:ext cx="12193588" cy="89999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" name="object 4">
            <a:extLst>
              <a:ext uri="{FF2B5EF4-FFF2-40B4-BE49-F238E27FC236}">
                <a16:creationId xmlns:a16="http://schemas.microsoft.com/office/drawing/2014/main" id="{880C4227-47B7-694C-8443-CF01E2AE097C}"/>
              </a:ext>
            </a:extLst>
          </p:cNvPr>
          <p:cNvSpPr/>
          <p:nvPr userDrawn="1"/>
        </p:nvSpPr>
        <p:spPr>
          <a:xfrm>
            <a:off x="2681" y="899998"/>
            <a:ext cx="12193200" cy="158460"/>
          </a:xfrm>
          <a:custGeom>
            <a:avLst/>
            <a:gdLst/>
            <a:ahLst/>
            <a:cxnLst/>
            <a:rect l="l" t="t" r="r" b="b"/>
            <a:pathLst>
              <a:path w="12192635">
                <a:moveTo>
                  <a:pt x="0" y="0"/>
                </a:moveTo>
                <a:lnTo>
                  <a:pt x="12192113" y="0"/>
                </a:lnTo>
              </a:path>
            </a:pathLst>
          </a:custGeom>
          <a:ln w="28575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851278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feld 7"/>
          <p:cNvSpPr txBox="1"/>
          <p:nvPr userDrawn="1"/>
        </p:nvSpPr>
        <p:spPr>
          <a:xfrm rot="16200000">
            <a:off x="8631237" y="3297236"/>
            <a:ext cx="6857999" cy="263527"/>
          </a:xfrm>
          <a:prstGeom prst="rect">
            <a:avLst/>
          </a:prstGeom>
          <a:solidFill>
            <a:schemeClr val="bg2"/>
          </a:solidFill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endParaRPr lang="de-DE" sz="800" kern="1200" spc="-30" baseline="0" dirty="0">
              <a:solidFill>
                <a:schemeClr val="accent5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Textfeld 8"/>
          <p:cNvSpPr txBox="1"/>
          <p:nvPr userDrawn="1"/>
        </p:nvSpPr>
        <p:spPr>
          <a:xfrm rot="16200000">
            <a:off x="11605877" y="322597"/>
            <a:ext cx="908719" cy="263527"/>
          </a:xfrm>
          <a:prstGeom prst="rect">
            <a:avLst/>
          </a:prstGeom>
          <a:noFill/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r>
              <a:rPr lang="de-DE" sz="800" kern="1200" spc="-3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© Rödl &amp; Partner </a:t>
            </a:r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>
          <a:xfrm>
            <a:off x="263525" y="260648"/>
            <a:ext cx="11449049" cy="396000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263525" y="1065214"/>
            <a:ext cx="11449048" cy="288000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Untertitel durch Klicken hinzufügen</a:t>
            </a:r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2" hasCustomPrompt="1"/>
          </p:nvPr>
        </p:nvSpPr>
        <p:spPr>
          <a:xfrm>
            <a:off x="263524" y="6248400"/>
            <a:ext cx="11449049" cy="204788"/>
          </a:xfrm>
        </p:spPr>
        <p:txBody>
          <a:bodyPr vert="horz" lIns="0" tIns="0" rIns="0" bIns="0" rtlCol="0" anchor="b">
            <a:noAutofit/>
          </a:bodyPr>
          <a:lstStyle>
            <a:lvl1pPr>
              <a:defRPr lang="de-DE" sz="1000" dirty="0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Fußnote durch Klicken hinzufügen</a:t>
            </a:r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14"/>
          </p:nvPr>
        </p:nvSpPr>
        <p:spPr>
          <a:xfrm>
            <a:off x="11928648" y="6453187"/>
            <a:ext cx="263350" cy="404813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lang="de-DE" sz="1100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algn="ctr"/>
            <a:fld id="{4CFEB0D3-1EB3-4F08-8062-95FFB9749870}" type="slidenum">
              <a:rPr lang="de-DE" smtClean="0"/>
              <a:pPr algn="ctr"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17595926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Kopfzeile + Fließtextkas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16707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de-DE" sz="2800" b="0" i="0" baseline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cxnSp>
        <p:nvCxnSpPr>
          <p:cNvPr id="20" name="Gerade Verbindung 19"/>
          <p:cNvCxnSpPr/>
          <p:nvPr userDrawn="1"/>
        </p:nvCxnSpPr>
        <p:spPr>
          <a:xfrm>
            <a:off x="0" y="900000"/>
            <a:ext cx="11928475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4CFEB0D3-1EB3-4F08-8062-95FFB9749870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9" name="Textplatzhalter 12"/>
          <p:cNvSpPr>
            <a:spLocks noGrp="1"/>
          </p:cNvSpPr>
          <p:nvPr>
            <p:ph type="body" sz="quarter" idx="12" hasCustomPrompt="1"/>
          </p:nvPr>
        </p:nvSpPr>
        <p:spPr>
          <a:xfrm>
            <a:off x="263524" y="6248400"/>
            <a:ext cx="11449049" cy="204788"/>
          </a:xfrm>
        </p:spPr>
        <p:txBody>
          <a:bodyPr vert="horz" lIns="0" tIns="0" rIns="0" bIns="0" rtlCol="0" anchor="b">
            <a:noAutofit/>
          </a:bodyPr>
          <a:lstStyle>
            <a:lvl1pPr>
              <a:defRPr lang="de-DE" sz="1000" dirty="0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de-DE"/>
              <a:t>Fußnote durch Klicken hinzufügen</a:t>
            </a:r>
          </a:p>
        </p:txBody>
      </p:sp>
      <p:sp>
        <p:nvSpPr>
          <p:cNvPr id="10" name="Textplatzhalter 14"/>
          <p:cNvSpPr>
            <a:spLocks noGrp="1"/>
          </p:cNvSpPr>
          <p:nvPr>
            <p:ph type="body" sz="quarter" idx="13"/>
          </p:nvPr>
        </p:nvSpPr>
        <p:spPr>
          <a:xfrm>
            <a:off x="263525" y="1457326"/>
            <a:ext cx="11449048" cy="4610100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2779210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pfzeile Unter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/>
          <p:cNvSpPr/>
          <p:nvPr userDrawn="1"/>
        </p:nvSpPr>
        <p:spPr>
          <a:xfrm>
            <a:off x="-794" y="0"/>
            <a:ext cx="12193588" cy="89999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" name="object 4">
            <a:extLst>
              <a:ext uri="{FF2B5EF4-FFF2-40B4-BE49-F238E27FC236}">
                <a16:creationId xmlns:a16="http://schemas.microsoft.com/office/drawing/2014/main" id="{880C4227-47B7-694C-8443-CF01E2AE097C}"/>
              </a:ext>
            </a:extLst>
          </p:cNvPr>
          <p:cNvSpPr/>
          <p:nvPr userDrawn="1"/>
        </p:nvSpPr>
        <p:spPr>
          <a:xfrm>
            <a:off x="2681" y="899998"/>
            <a:ext cx="12193200" cy="158460"/>
          </a:xfrm>
          <a:custGeom>
            <a:avLst/>
            <a:gdLst/>
            <a:ahLst/>
            <a:cxnLst/>
            <a:rect l="l" t="t" r="r" b="b"/>
            <a:pathLst>
              <a:path w="12192635">
                <a:moveTo>
                  <a:pt x="0" y="0"/>
                </a:moveTo>
                <a:lnTo>
                  <a:pt x="12192113" y="0"/>
                </a:lnTo>
              </a:path>
            </a:pathLst>
          </a:custGeom>
          <a:ln w="28575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143711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feld 7"/>
          <p:cNvSpPr txBox="1"/>
          <p:nvPr userDrawn="1"/>
        </p:nvSpPr>
        <p:spPr>
          <a:xfrm rot="16200000">
            <a:off x="8631237" y="3297236"/>
            <a:ext cx="6857999" cy="263527"/>
          </a:xfrm>
          <a:prstGeom prst="rect">
            <a:avLst/>
          </a:prstGeom>
          <a:solidFill>
            <a:schemeClr val="bg2"/>
          </a:solidFill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endParaRPr lang="de-DE" sz="800" kern="1200" spc="-30" baseline="0" dirty="0">
              <a:solidFill>
                <a:schemeClr val="accent5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Textfeld 8"/>
          <p:cNvSpPr txBox="1"/>
          <p:nvPr userDrawn="1"/>
        </p:nvSpPr>
        <p:spPr>
          <a:xfrm rot="16200000">
            <a:off x="11605877" y="322597"/>
            <a:ext cx="908719" cy="263527"/>
          </a:xfrm>
          <a:prstGeom prst="rect">
            <a:avLst/>
          </a:prstGeom>
          <a:noFill/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r>
              <a:rPr lang="de-DE" sz="800" kern="1200" spc="-3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© Rödl &amp; Partner </a:t>
            </a:r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>
          <a:xfrm>
            <a:off x="263525" y="260648"/>
            <a:ext cx="11449049" cy="396000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263525" y="1065214"/>
            <a:ext cx="11449048" cy="288000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Untertitel durch Klicken hinzufügen</a:t>
            </a:r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14"/>
          </p:nvPr>
        </p:nvSpPr>
        <p:spPr>
          <a:xfrm>
            <a:off x="11928648" y="6453187"/>
            <a:ext cx="263350" cy="404813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lang="de-DE" sz="1100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algn="ctr"/>
            <a:fld id="{4CFEB0D3-1EB3-4F08-8062-95FFB9749870}" type="slidenum">
              <a:rPr lang="de-DE" smtClean="0"/>
              <a:pPr algn="ctr"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9755412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pfzeile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platzhalter 14"/>
          <p:cNvSpPr>
            <a:spLocks noGrp="1"/>
          </p:cNvSpPr>
          <p:nvPr>
            <p:ph type="body" sz="quarter" idx="13"/>
          </p:nvPr>
        </p:nvSpPr>
        <p:spPr>
          <a:xfrm>
            <a:off x="263525" y="1058458"/>
            <a:ext cx="11449048" cy="5008968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GB" dirty="0"/>
          </a:p>
        </p:txBody>
      </p:sp>
      <p:sp>
        <p:nvSpPr>
          <p:cNvPr id="5" name="Rechteck 4"/>
          <p:cNvSpPr/>
          <p:nvPr userDrawn="1"/>
        </p:nvSpPr>
        <p:spPr>
          <a:xfrm>
            <a:off x="-794" y="0"/>
            <a:ext cx="12193588" cy="89999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" name="object 4">
            <a:extLst>
              <a:ext uri="{FF2B5EF4-FFF2-40B4-BE49-F238E27FC236}">
                <a16:creationId xmlns:a16="http://schemas.microsoft.com/office/drawing/2014/main" id="{880C4227-47B7-694C-8443-CF01E2AE097C}"/>
              </a:ext>
            </a:extLst>
          </p:cNvPr>
          <p:cNvSpPr/>
          <p:nvPr userDrawn="1"/>
        </p:nvSpPr>
        <p:spPr>
          <a:xfrm>
            <a:off x="2681" y="899998"/>
            <a:ext cx="12193200" cy="158460"/>
          </a:xfrm>
          <a:custGeom>
            <a:avLst/>
            <a:gdLst/>
            <a:ahLst/>
            <a:cxnLst/>
            <a:rect l="l" t="t" r="r" b="b"/>
            <a:pathLst>
              <a:path w="12192635">
                <a:moveTo>
                  <a:pt x="0" y="0"/>
                </a:moveTo>
                <a:lnTo>
                  <a:pt x="12192113" y="0"/>
                </a:lnTo>
              </a:path>
            </a:pathLst>
          </a:custGeom>
          <a:ln w="28575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244869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feld 7"/>
          <p:cNvSpPr txBox="1"/>
          <p:nvPr userDrawn="1"/>
        </p:nvSpPr>
        <p:spPr>
          <a:xfrm rot="16200000">
            <a:off x="8631237" y="3297236"/>
            <a:ext cx="6857999" cy="263527"/>
          </a:xfrm>
          <a:prstGeom prst="rect">
            <a:avLst/>
          </a:prstGeom>
          <a:solidFill>
            <a:schemeClr val="bg2"/>
          </a:solidFill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endParaRPr lang="de-DE" sz="800" kern="1200" spc="-30" baseline="0" dirty="0">
              <a:solidFill>
                <a:schemeClr val="accent5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Textfeld 8"/>
          <p:cNvSpPr txBox="1"/>
          <p:nvPr userDrawn="1"/>
        </p:nvSpPr>
        <p:spPr>
          <a:xfrm rot="16200000">
            <a:off x="11605877" y="322597"/>
            <a:ext cx="908719" cy="263527"/>
          </a:xfrm>
          <a:prstGeom prst="rect">
            <a:avLst/>
          </a:prstGeom>
          <a:noFill/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r>
              <a:rPr lang="de-DE" sz="800" kern="1200" spc="-3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© Rödl &amp; Partner </a:t>
            </a:r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>
          <a:xfrm>
            <a:off x="263525" y="260648"/>
            <a:ext cx="11449049" cy="396000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2" hasCustomPrompt="1"/>
          </p:nvPr>
        </p:nvSpPr>
        <p:spPr>
          <a:xfrm>
            <a:off x="263524" y="6248400"/>
            <a:ext cx="11449049" cy="204788"/>
          </a:xfrm>
        </p:spPr>
        <p:txBody>
          <a:bodyPr vert="horz" lIns="0" tIns="0" rIns="0" bIns="0" rtlCol="0" anchor="b">
            <a:noAutofit/>
          </a:bodyPr>
          <a:lstStyle>
            <a:lvl1pPr>
              <a:defRPr lang="de-DE" sz="1000" dirty="0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Fußnote durch Klicken hinzufügen</a:t>
            </a:r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14"/>
          </p:nvPr>
        </p:nvSpPr>
        <p:spPr>
          <a:xfrm>
            <a:off x="11928648" y="6453187"/>
            <a:ext cx="263350" cy="404813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lang="de-DE" sz="1100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algn="ctr"/>
            <a:fld id="{4CFEB0D3-1EB3-4F08-8062-95FFB9749870}" type="slidenum">
              <a:rPr lang="de-DE" smtClean="0"/>
              <a:pPr algn="ctr"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2770416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pfzeile farbig Untertitel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platzhalter 14"/>
          <p:cNvSpPr>
            <a:spLocks noGrp="1"/>
          </p:cNvSpPr>
          <p:nvPr>
            <p:ph type="body" sz="quarter" idx="13"/>
          </p:nvPr>
        </p:nvSpPr>
        <p:spPr>
          <a:xfrm>
            <a:off x="263525" y="1457326"/>
            <a:ext cx="11449048" cy="4610100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GB" dirty="0"/>
          </a:p>
        </p:txBody>
      </p:sp>
      <p:sp>
        <p:nvSpPr>
          <p:cNvPr id="12" name="object 4">
            <a:extLst>
              <a:ext uri="{FF2B5EF4-FFF2-40B4-BE49-F238E27FC236}">
                <a16:creationId xmlns:a16="http://schemas.microsoft.com/office/drawing/2014/main" id="{880C4227-47B7-694C-8443-CF01E2AE097C}"/>
              </a:ext>
            </a:extLst>
          </p:cNvPr>
          <p:cNvSpPr/>
          <p:nvPr userDrawn="1"/>
        </p:nvSpPr>
        <p:spPr>
          <a:xfrm>
            <a:off x="2681" y="899998"/>
            <a:ext cx="12193200" cy="158460"/>
          </a:xfrm>
          <a:custGeom>
            <a:avLst/>
            <a:gdLst/>
            <a:ahLst/>
            <a:cxnLst/>
            <a:rect l="l" t="t" r="r" b="b"/>
            <a:pathLst>
              <a:path w="12192635">
                <a:moveTo>
                  <a:pt x="0" y="0"/>
                </a:moveTo>
                <a:lnTo>
                  <a:pt x="12192113" y="0"/>
                </a:lnTo>
              </a:path>
            </a:pathLst>
          </a:custGeom>
          <a:ln w="28575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868860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feld 7"/>
          <p:cNvSpPr txBox="1"/>
          <p:nvPr userDrawn="1"/>
        </p:nvSpPr>
        <p:spPr>
          <a:xfrm rot="16200000">
            <a:off x="8631237" y="3297236"/>
            <a:ext cx="6857999" cy="263527"/>
          </a:xfrm>
          <a:prstGeom prst="rect">
            <a:avLst/>
          </a:prstGeom>
          <a:solidFill>
            <a:schemeClr val="bg2"/>
          </a:solidFill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endParaRPr lang="de-DE" sz="800" kern="1200" spc="-30" baseline="0" dirty="0">
              <a:solidFill>
                <a:schemeClr val="accent5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Textfeld 8"/>
          <p:cNvSpPr txBox="1"/>
          <p:nvPr userDrawn="1"/>
        </p:nvSpPr>
        <p:spPr>
          <a:xfrm rot="16200000">
            <a:off x="11605877" y="322597"/>
            <a:ext cx="908719" cy="263527"/>
          </a:xfrm>
          <a:prstGeom prst="rect">
            <a:avLst/>
          </a:prstGeom>
          <a:noFill/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r>
              <a:rPr lang="de-DE" sz="800" kern="1200" spc="-3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© Rödl &amp; Partner </a:t>
            </a:r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>
          <a:xfrm>
            <a:off x="263525" y="260648"/>
            <a:ext cx="11449049" cy="396000"/>
          </a:xfrm>
        </p:spPr>
        <p:txBody>
          <a:bodyPr/>
          <a:lstStyle>
            <a:lvl1pPr>
              <a:defRPr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263525" y="1065214"/>
            <a:ext cx="11449048" cy="288000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Untertitel durch Klicken hinzufügen</a:t>
            </a:r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2" hasCustomPrompt="1"/>
          </p:nvPr>
        </p:nvSpPr>
        <p:spPr>
          <a:xfrm>
            <a:off x="263524" y="6248400"/>
            <a:ext cx="11449049" cy="204788"/>
          </a:xfrm>
        </p:spPr>
        <p:txBody>
          <a:bodyPr vert="horz" lIns="0" tIns="0" rIns="0" bIns="0" rtlCol="0" anchor="b">
            <a:noAutofit/>
          </a:bodyPr>
          <a:lstStyle>
            <a:lvl1pPr>
              <a:defRPr lang="de-DE" sz="1000" dirty="0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Fußnote durch Klicken hinzufügen</a:t>
            </a:r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14"/>
          </p:nvPr>
        </p:nvSpPr>
        <p:spPr>
          <a:xfrm>
            <a:off x="11928648" y="6453187"/>
            <a:ext cx="263350" cy="404813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ctr">
              <a:defRPr sz="11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4CFEB0D3-1EB3-4F08-8062-95FFB9749870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1620965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einstieg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/>
          <p:cNvSpPr/>
          <p:nvPr userDrawn="1"/>
        </p:nvSpPr>
        <p:spPr>
          <a:xfrm>
            <a:off x="-794" y="0"/>
            <a:ext cx="12193588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6"/>
          </p:nvPr>
        </p:nvSpPr>
        <p:spPr>
          <a:xfrm>
            <a:off x="4822022" y="-2841"/>
            <a:ext cx="7110000" cy="6859253"/>
          </a:xfrm>
          <a:solidFill>
            <a:schemeClr val="bg1"/>
          </a:solidFill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GB" dirty="0"/>
          </a:p>
        </p:txBody>
      </p:sp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2019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feld 7"/>
          <p:cNvSpPr txBox="1"/>
          <p:nvPr userDrawn="1"/>
        </p:nvSpPr>
        <p:spPr>
          <a:xfrm rot="16200000">
            <a:off x="8631237" y="3297236"/>
            <a:ext cx="6857999" cy="263527"/>
          </a:xfrm>
          <a:prstGeom prst="rect">
            <a:avLst/>
          </a:prstGeom>
          <a:solidFill>
            <a:schemeClr val="bg2"/>
          </a:solidFill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endParaRPr lang="de-DE" sz="800" kern="1200" spc="-30" baseline="0" dirty="0">
              <a:solidFill>
                <a:schemeClr val="accent5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Textfeld 8"/>
          <p:cNvSpPr txBox="1"/>
          <p:nvPr userDrawn="1"/>
        </p:nvSpPr>
        <p:spPr>
          <a:xfrm rot="16200000">
            <a:off x="11605877" y="322597"/>
            <a:ext cx="908719" cy="263527"/>
          </a:xfrm>
          <a:prstGeom prst="rect">
            <a:avLst/>
          </a:prstGeom>
          <a:noFill/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r>
              <a:rPr lang="de-DE" sz="800" kern="1200" spc="-3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© Rödl &amp; Partner </a:t>
            </a:r>
          </a:p>
        </p:txBody>
      </p:sp>
      <p:sp>
        <p:nvSpPr>
          <p:cNvPr id="16" name="object 6">
            <a:extLst>
              <a:ext uri="{FF2B5EF4-FFF2-40B4-BE49-F238E27FC236}">
                <a16:creationId xmlns:a16="http://schemas.microsoft.com/office/drawing/2014/main" id="{35B15152-362B-804E-8180-EB8D98DF2756}"/>
              </a:ext>
            </a:extLst>
          </p:cNvPr>
          <p:cNvSpPr/>
          <p:nvPr userDrawn="1"/>
        </p:nvSpPr>
        <p:spPr>
          <a:xfrm>
            <a:off x="4816097" y="-6350"/>
            <a:ext cx="45719" cy="6864350"/>
          </a:xfrm>
          <a:custGeom>
            <a:avLst/>
            <a:gdLst/>
            <a:ahLst/>
            <a:cxnLst/>
            <a:rect l="l" t="t" r="r" b="b"/>
            <a:pathLst>
              <a:path h="4698365">
                <a:moveTo>
                  <a:pt x="0" y="0"/>
                </a:moveTo>
                <a:lnTo>
                  <a:pt x="0" y="4697996"/>
                </a:lnTo>
              </a:path>
            </a:pathLst>
          </a:custGeom>
          <a:ln w="25400">
            <a:solidFill>
              <a:schemeClr val="bg1"/>
            </a:solidFill>
          </a:ln>
        </p:spPr>
        <p:txBody>
          <a:bodyPr wrap="square" lIns="0" tIns="0" rIns="0" bIns="0" rtlCol="0"/>
          <a:lstStyle/>
          <a:p>
            <a:endParaRPr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7" name="Foliennummernplatzhalter 16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4CFEB0D3-1EB3-4F08-8062-95FFB9749870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2" name="Textplatzhalter 15">
            <a:extLst>
              <a:ext uri="{FF2B5EF4-FFF2-40B4-BE49-F238E27FC236}">
                <a16:creationId xmlns:a16="http://schemas.microsoft.com/office/drawing/2014/main" id="{0C5518B1-4504-3744-9B22-25FE06791E1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" y="244800"/>
            <a:ext cx="4799856" cy="641726"/>
          </a:xfrm>
          <a:solidFill>
            <a:schemeClr val="tx2"/>
          </a:solidFill>
          <a:effectLst>
            <a:outerShdw dist="27940" dir="5100000" algn="t" rotWithShape="0">
              <a:schemeClr val="bg1"/>
            </a:outerShdw>
          </a:effectLst>
        </p:spPr>
        <p:txBody>
          <a:bodyPr wrap="square" lIns="262800" rIns="144000" bIns="208800">
            <a:sp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2800" cap="all" spc="-7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de-DE" dirty="0" err="1"/>
              <a:t>KApit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966883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einstieg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/>
          <p:cNvSpPr/>
          <p:nvPr userDrawn="1"/>
        </p:nvSpPr>
        <p:spPr>
          <a:xfrm>
            <a:off x="-794" y="0"/>
            <a:ext cx="12193588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" name="object 4">
            <a:extLst>
              <a:ext uri="{FF2B5EF4-FFF2-40B4-BE49-F238E27FC236}">
                <a16:creationId xmlns:a16="http://schemas.microsoft.com/office/drawing/2014/main" id="{880C4227-47B7-694C-8443-CF01E2AE097C}"/>
              </a:ext>
            </a:extLst>
          </p:cNvPr>
          <p:cNvSpPr/>
          <p:nvPr userDrawn="1"/>
        </p:nvSpPr>
        <p:spPr>
          <a:xfrm>
            <a:off x="2681" y="899998"/>
            <a:ext cx="12193200" cy="158460"/>
          </a:xfrm>
          <a:custGeom>
            <a:avLst/>
            <a:gdLst/>
            <a:ahLst/>
            <a:cxnLst/>
            <a:rect l="l" t="t" r="r" b="b"/>
            <a:pathLst>
              <a:path w="12192635">
                <a:moveTo>
                  <a:pt x="0" y="0"/>
                </a:moveTo>
                <a:lnTo>
                  <a:pt x="12192113" y="0"/>
                </a:lnTo>
              </a:path>
            </a:pathLst>
          </a:custGeom>
          <a:ln w="28575">
            <a:solidFill>
              <a:schemeClr val="bg1"/>
            </a:solidFill>
          </a:ln>
        </p:spPr>
        <p:txBody>
          <a:bodyPr wrap="square" lIns="0" tIns="0" rIns="0" bIns="0" rtlCol="0"/>
          <a:lstStyle/>
          <a:p>
            <a:endParaRPr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830229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feld 7"/>
          <p:cNvSpPr txBox="1"/>
          <p:nvPr userDrawn="1"/>
        </p:nvSpPr>
        <p:spPr>
          <a:xfrm rot="16200000">
            <a:off x="8631237" y="3297236"/>
            <a:ext cx="6857999" cy="263527"/>
          </a:xfrm>
          <a:prstGeom prst="rect">
            <a:avLst/>
          </a:prstGeom>
          <a:solidFill>
            <a:schemeClr val="bg2"/>
          </a:solidFill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endParaRPr lang="de-DE" sz="800" kern="1200" spc="-30" baseline="0" dirty="0">
              <a:solidFill>
                <a:schemeClr val="accent5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Textfeld 8"/>
          <p:cNvSpPr txBox="1"/>
          <p:nvPr userDrawn="1"/>
        </p:nvSpPr>
        <p:spPr>
          <a:xfrm rot="16200000">
            <a:off x="11605877" y="322597"/>
            <a:ext cx="908719" cy="263527"/>
          </a:xfrm>
          <a:prstGeom prst="rect">
            <a:avLst/>
          </a:prstGeom>
          <a:noFill/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r>
              <a:rPr lang="de-DE" sz="800" kern="1200" spc="-3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© Rödl &amp; Partner </a:t>
            </a:r>
          </a:p>
        </p:txBody>
      </p:sp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>
          <a:xfrm>
            <a:off x="263525" y="260648"/>
            <a:ext cx="11449049" cy="39600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de-DE" dirty="0" err="1"/>
              <a:t>kapitel</a:t>
            </a:r>
            <a:endParaRPr lang="en-GB" dirty="0"/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4CFEB0D3-1EB3-4F08-8062-95FFB9749870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6498710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einstieg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/>
          <p:cNvSpPr/>
          <p:nvPr userDrawn="1"/>
        </p:nvSpPr>
        <p:spPr>
          <a:xfrm>
            <a:off x="-794" y="0"/>
            <a:ext cx="12193588" cy="89999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" name="object 4">
            <a:extLst>
              <a:ext uri="{FF2B5EF4-FFF2-40B4-BE49-F238E27FC236}">
                <a16:creationId xmlns:a16="http://schemas.microsoft.com/office/drawing/2014/main" id="{880C4227-47B7-694C-8443-CF01E2AE097C}"/>
              </a:ext>
            </a:extLst>
          </p:cNvPr>
          <p:cNvSpPr/>
          <p:nvPr userDrawn="1"/>
        </p:nvSpPr>
        <p:spPr>
          <a:xfrm>
            <a:off x="2681" y="899998"/>
            <a:ext cx="12193200" cy="158460"/>
          </a:xfrm>
          <a:custGeom>
            <a:avLst/>
            <a:gdLst/>
            <a:ahLst/>
            <a:cxnLst/>
            <a:rect l="l" t="t" r="r" b="b"/>
            <a:pathLst>
              <a:path w="12192635">
                <a:moveTo>
                  <a:pt x="0" y="0"/>
                </a:moveTo>
                <a:lnTo>
                  <a:pt x="12192113" y="0"/>
                </a:lnTo>
              </a:path>
            </a:pathLst>
          </a:custGeom>
          <a:ln w="25400">
            <a:solidFill>
              <a:schemeClr val="bg1"/>
            </a:solidFill>
          </a:ln>
        </p:spPr>
        <p:txBody>
          <a:bodyPr wrap="square" lIns="0" tIns="0" rIns="0" bIns="0" rtlCol="0"/>
          <a:lstStyle/>
          <a:p>
            <a:endParaRPr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449756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feld 7"/>
          <p:cNvSpPr txBox="1"/>
          <p:nvPr userDrawn="1"/>
        </p:nvSpPr>
        <p:spPr>
          <a:xfrm rot="16200000">
            <a:off x="8631237" y="3297236"/>
            <a:ext cx="6857999" cy="263527"/>
          </a:xfrm>
          <a:prstGeom prst="rect">
            <a:avLst/>
          </a:prstGeom>
          <a:solidFill>
            <a:schemeClr val="bg2"/>
          </a:solidFill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endParaRPr lang="de-DE" sz="800" kern="1200" spc="-30" baseline="0" dirty="0">
              <a:solidFill>
                <a:schemeClr val="accent5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Textfeld 8"/>
          <p:cNvSpPr txBox="1"/>
          <p:nvPr userDrawn="1"/>
        </p:nvSpPr>
        <p:spPr>
          <a:xfrm rot="16200000">
            <a:off x="11605877" y="322597"/>
            <a:ext cx="908719" cy="263527"/>
          </a:xfrm>
          <a:prstGeom prst="rect">
            <a:avLst/>
          </a:prstGeom>
          <a:noFill/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r>
              <a:rPr lang="de-DE" sz="800" kern="1200" spc="-3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© Rödl &amp; Partner </a:t>
            </a:r>
          </a:p>
        </p:txBody>
      </p:sp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>
          <a:xfrm>
            <a:off x="263525" y="260648"/>
            <a:ext cx="11449049" cy="39600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de-DE" dirty="0" err="1"/>
              <a:t>kapitel</a:t>
            </a:r>
            <a:endParaRPr lang="en-GB" dirty="0"/>
          </a:p>
        </p:txBody>
      </p:sp>
      <p:sp>
        <p:nvSpPr>
          <p:cNvPr id="17" name="Foliennummernplatzhalter 1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4CFEB0D3-1EB3-4F08-8062-95FFB9749870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191239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einstieg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13035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de-DE" sz="2800" b="0" i="0" baseline="0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" name="Rechteck 9"/>
          <p:cNvSpPr/>
          <p:nvPr userDrawn="1"/>
        </p:nvSpPr>
        <p:spPr>
          <a:xfrm>
            <a:off x="0" y="1"/>
            <a:ext cx="12193588" cy="900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cxnSp>
        <p:nvCxnSpPr>
          <p:cNvPr id="13" name="Gerade Verbindung 12"/>
          <p:cNvCxnSpPr/>
          <p:nvPr userDrawn="1"/>
        </p:nvCxnSpPr>
        <p:spPr>
          <a:xfrm>
            <a:off x="0" y="900000"/>
            <a:ext cx="11928475" cy="0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feld 7"/>
          <p:cNvSpPr txBox="1"/>
          <p:nvPr userDrawn="1"/>
        </p:nvSpPr>
        <p:spPr>
          <a:xfrm rot="16200000">
            <a:off x="8631237" y="3297236"/>
            <a:ext cx="6857999" cy="263527"/>
          </a:xfrm>
          <a:prstGeom prst="rect">
            <a:avLst/>
          </a:prstGeom>
          <a:solidFill>
            <a:schemeClr val="bg2"/>
          </a:solidFill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endParaRPr lang="de-DE" sz="800" kern="1200" spc="-30" baseline="0" dirty="0">
              <a:solidFill>
                <a:schemeClr val="accent5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Textfeld 8"/>
          <p:cNvSpPr txBox="1"/>
          <p:nvPr userDrawn="1"/>
        </p:nvSpPr>
        <p:spPr>
          <a:xfrm rot="16200000">
            <a:off x="11605877" y="322597"/>
            <a:ext cx="908719" cy="263527"/>
          </a:xfrm>
          <a:prstGeom prst="rect">
            <a:avLst/>
          </a:prstGeom>
          <a:noFill/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r>
              <a:rPr lang="de-DE" sz="800" kern="1200" spc="-3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© Rödl &amp; Partner 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5"/>
          </p:nvPr>
        </p:nvSpPr>
        <p:spPr/>
        <p:txBody>
          <a:bodyPr lIns="0" tIns="0" rIns="0" bIns="0" anchor="ctr" anchorCtr="0"/>
          <a:lstStyle>
            <a:lvl1pPr>
              <a:defRPr lang="de-DE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4CFEB0D3-1EB3-4F08-8062-95FFB9749870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2" name="Textplatzhalter 15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910800"/>
            <a:ext cx="11928472" cy="991792"/>
          </a:xfrm>
          <a:solidFill>
            <a:schemeClr val="tx2"/>
          </a:solidFill>
          <a:effectLst>
            <a:outerShdw dist="27940" dir="5400000" algn="t" rotWithShape="0">
              <a:schemeClr val="bg1"/>
            </a:outerShdw>
          </a:effectLst>
        </p:spPr>
        <p:txBody>
          <a:bodyPr lIns="1170000" tIns="72000" bIns="72000">
            <a:spAutoFit/>
          </a:bodyPr>
          <a:lstStyle>
            <a:lvl1pPr>
              <a:lnSpc>
                <a:spcPts val="6600"/>
              </a:lnSpc>
              <a:defRPr sz="6000" cap="all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Text bearbeiten</a:t>
            </a:r>
          </a:p>
        </p:txBody>
      </p:sp>
    </p:spTree>
    <p:extLst>
      <p:ext uri="{BB962C8B-B14F-4D97-AF65-F5344CB8AC3E}">
        <p14:creationId xmlns:p14="http://schemas.microsoft.com/office/powerpoint/2010/main" val="366620912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pfzeile Untertitel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platzhalter 14"/>
          <p:cNvSpPr>
            <a:spLocks noGrp="1"/>
          </p:cNvSpPr>
          <p:nvPr>
            <p:ph type="body" sz="quarter" idx="13"/>
          </p:nvPr>
        </p:nvSpPr>
        <p:spPr>
          <a:xfrm>
            <a:off x="263525" y="1457326"/>
            <a:ext cx="11449048" cy="4610100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GB" dirty="0"/>
          </a:p>
        </p:txBody>
      </p:sp>
      <p:sp>
        <p:nvSpPr>
          <p:cNvPr id="5" name="Rechteck 4"/>
          <p:cNvSpPr/>
          <p:nvPr userDrawn="1"/>
        </p:nvSpPr>
        <p:spPr>
          <a:xfrm>
            <a:off x="-794" y="0"/>
            <a:ext cx="12193588" cy="89999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" name="object 4">
            <a:extLst>
              <a:ext uri="{FF2B5EF4-FFF2-40B4-BE49-F238E27FC236}">
                <a16:creationId xmlns:a16="http://schemas.microsoft.com/office/drawing/2014/main" id="{880C4227-47B7-694C-8443-CF01E2AE097C}"/>
              </a:ext>
            </a:extLst>
          </p:cNvPr>
          <p:cNvSpPr/>
          <p:nvPr userDrawn="1"/>
        </p:nvSpPr>
        <p:spPr>
          <a:xfrm>
            <a:off x="2681" y="899998"/>
            <a:ext cx="12193200" cy="158460"/>
          </a:xfrm>
          <a:custGeom>
            <a:avLst/>
            <a:gdLst/>
            <a:ahLst/>
            <a:cxnLst/>
            <a:rect l="l" t="t" r="r" b="b"/>
            <a:pathLst>
              <a:path w="12192635">
                <a:moveTo>
                  <a:pt x="0" y="0"/>
                </a:moveTo>
                <a:lnTo>
                  <a:pt x="12192113" y="0"/>
                </a:lnTo>
              </a:path>
            </a:pathLst>
          </a:custGeom>
          <a:ln w="25400">
            <a:solidFill>
              <a:schemeClr val="bg1"/>
            </a:solidFill>
          </a:ln>
        </p:spPr>
        <p:txBody>
          <a:bodyPr wrap="square" lIns="0" tIns="0" rIns="0" bIns="0" rtlCol="0"/>
          <a:lstStyle/>
          <a:p>
            <a:endParaRPr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391270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feld 7"/>
          <p:cNvSpPr txBox="1"/>
          <p:nvPr userDrawn="1"/>
        </p:nvSpPr>
        <p:spPr>
          <a:xfrm rot="16200000">
            <a:off x="8631237" y="3297236"/>
            <a:ext cx="6857999" cy="263527"/>
          </a:xfrm>
          <a:prstGeom prst="rect">
            <a:avLst/>
          </a:prstGeom>
          <a:solidFill>
            <a:schemeClr val="bg2"/>
          </a:solidFill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endParaRPr lang="de-DE" sz="800" kern="1200" spc="-30" baseline="0" dirty="0">
              <a:solidFill>
                <a:schemeClr val="accent5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Textfeld 8"/>
          <p:cNvSpPr txBox="1"/>
          <p:nvPr userDrawn="1"/>
        </p:nvSpPr>
        <p:spPr>
          <a:xfrm rot="16200000">
            <a:off x="11605877" y="322597"/>
            <a:ext cx="908719" cy="263527"/>
          </a:xfrm>
          <a:prstGeom prst="rect">
            <a:avLst/>
          </a:prstGeom>
          <a:noFill/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r>
              <a:rPr lang="de-DE" sz="800" kern="1200" spc="-3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© Rödl &amp; Partner </a:t>
            </a:r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>
          <a:xfrm>
            <a:off x="263525" y="260648"/>
            <a:ext cx="11449049" cy="39600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263525" y="1065214"/>
            <a:ext cx="11449048" cy="288000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Untertitel durch Klicken hinzufügen</a:t>
            </a:r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2" hasCustomPrompt="1"/>
          </p:nvPr>
        </p:nvSpPr>
        <p:spPr>
          <a:xfrm>
            <a:off x="263524" y="6248400"/>
            <a:ext cx="11449049" cy="204788"/>
          </a:xfrm>
        </p:spPr>
        <p:txBody>
          <a:bodyPr vert="horz" lIns="0" tIns="0" rIns="0" bIns="0" rtlCol="0" anchor="b">
            <a:noAutofit/>
          </a:bodyPr>
          <a:lstStyle>
            <a:lvl1pPr>
              <a:defRPr lang="de-DE" sz="1000" dirty="0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Fußnote durch Klicken hinzufügen</a:t>
            </a:r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4CFEB0D3-1EB3-4F08-8062-95FFB9749870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968932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oll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010702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Bildplatzhalter 5"/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6858000"/>
          </a:xfrm>
          <a:solidFill>
            <a:schemeClr val="bg2"/>
          </a:solidFill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en-GB" dirty="0"/>
          </a:p>
        </p:txBody>
      </p:sp>
      <p:sp>
        <p:nvSpPr>
          <p:cNvPr id="4" name="Textfeld 3"/>
          <p:cNvSpPr txBox="1"/>
          <p:nvPr userDrawn="1"/>
        </p:nvSpPr>
        <p:spPr>
          <a:xfrm>
            <a:off x="-974191" y="960180"/>
            <a:ext cx="696839" cy="184666"/>
          </a:xfrm>
          <a:prstGeom prst="rect">
            <a:avLst/>
          </a:prstGeom>
          <a:noFill/>
        </p:spPr>
        <p:txBody>
          <a:bodyPr wrap="none" lIns="72000" tIns="0" rIns="72000" bIns="0" rtlCol="0" anchor="ctr">
            <a:spAutoFit/>
          </a:bodyPr>
          <a:lstStyle/>
          <a:p>
            <a:pPr algn="r"/>
            <a:r>
              <a:rPr lang="de-DE" sz="1200" noProof="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extbox</a:t>
            </a:r>
          </a:p>
        </p:txBody>
      </p:sp>
      <p:sp>
        <p:nvSpPr>
          <p:cNvPr id="5" name="Textfeld 4"/>
          <p:cNvSpPr txBox="1"/>
          <p:nvPr userDrawn="1"/>
        </p:nvSpPr>
        <p:spPr>
          <a:xfrm>
            <a:off x="-1014869" y="-381635"/>
            <a:ext cx="990189" cy="184666"/>
          </a:xfrm>
          <a:prstGeom prst="rect">
            <a:avLst/>
          </a:prstGeom>
          <a:noFill/>
        </p:spPr>
        <p:txBody>
          <a:bodyPr wrap="none" lIns="72000" tIns="0" rIns="72000" bIns="0" rtlCol="0" anchor="ctr">
            <a:spAutoFit/>
          </a:bodyPr>
          <a:lstStyle/>
          <a:p>
            <a:pPr algn="r"/>
            <a:r>
              <a:rPr lang="de-DE" sz="1200" noProof="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Vier</a:t>
            </a:r>
            <a:r>
              <a:rPr lang="de-DE" sz="1200" baseline="0" noProof="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  <a:r>
              <a:rPr lang="de-DE" sz="1200" noProof="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Spalten</a:t>
            </a:r>
          </a:p>
        </p:txBody>
      </p:sp>
      <p:sp>
        <p:nvSpPr>
          <p:cNvPr id="7" name="Textfeld 6"/>
          <p:cNvSpPr txBox="1"/>
          <p:nvPr userDrawn="1"/>
        </p:nvSpPr>
        <p:spPr>
          <a:xfrm>
            <a:off x="-1032502" y="-618555"/>
            <a:ext cx="1007822" cy="184666"/>
          </a:xfrm>
          <a:prstGeom prst="rect">
            <a:avLst/>
          </a:prstGeom>
          <a:noFill/>
        </p:spPr>
        <p:txBody>
          <a:bodyPr wrap="none" lIns="72000" tIns="0" rIns="72000" bIns="0" rtlCol="0" anchor="ctr">
            <a:spAutoFit/>
          </a:bodyPr>
          <a:lstStyle/>
          <a:p>
            <a:pPr algn="r"/>
            <a:r>
              <a:rPr lang="de-DE" sz="1200" noProof="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Drei</a:t>
            </a:r>
            <a:r>
              <a:rPr lang="de-DE" sz="1200" baseline="0" noProof="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  <a:r>
              <a:rPr lang="de-DE" sz="1200" noProof="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Spalten</a:t>
            </a:r>
          </a:p>
        </p:txBody>
      </p:sp>
      <p:sp>
        <p:nvSpPr>
          <p:cNvPr id="8" name="Textfeld 7"/>
          <p:cNvSpPr txBox="1"/>
          <p:nvPr userDrawn="1"/>
        </p:nvSpPr>
        <p:spPr>
          <a:xfrm>
            <a:off x="-1067768" y="-855476"/>
            <a:ext cx="1043088" cy="184666"/>
          </a:xfrm>
          <a:prstGeom prst="rect">
            <a:avLst/>
          </a:prstGeom>
          <a:noFill/>
        </p:spPr>
        <p:txBody>
          <a:bodyPr wrap="none" lIns="72000" tIns="0" rIns="72000" bIns="0" rtlCol="0" anchor="ctr">
            <a:spAutoFit/>
          </a:bodyPr>
          <a:lstStyle/>
          <a:p>
            <a:pPr algn="r"/>
            <a:r>
              <a:rPr lang="de-DE" sz="1200" noProof="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Zwei Spalten</a:t>
            </a:r>
          </a:p>
        </p:txBody>
      </p:sp>
      <p:grpSp>
        <p:nvGrpSpPr>
          <p:cNvPr id="9" name="Gruppieren 8"/>
          <p:cNvGrpSpPr/>
          <p:nvPr userDrawn="1"/>
        </p:nvGrpSpPr>
        <p:grpSpPr>
          <a:xfrm>
            <a:off x="-276708" y="-835143"/>
            <a:ext cx="12205181" cy="7972555"/>
            <a:chOff x="-276708" y="-835143"/>
            <a:chExt cx="12205181" cy="7972555"/>
          </a:xfrm>
        </p:grpSpPr>
        <p:cxnSp>
          <p:nvCxnSpPr>
            <p:cNvPr id="10" name="Gerade Verbindung 23"/>
            <p:cNvCxnSpPr/>
            <p:nvPr userDrawn="1"/>
          </p:nvCxnSpPr>
          <p:spPr>
            <a:xfrm rot="5400000" flipV="1">
              <a:off x="-204708" y="980735"/>
              <a:ext cx="0" cy="1440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 Verbindung 24"/>
            <p:cNvCxnSpPr/>
            <p:nvPr userDrawn="1"/>
          </p:nvCxnSpPr>
          <p:spPr>
            <a:xfrm rot="5400000" flipV="1">
              <a:off x="-204708" y="6381336"/>
              <a:ext cx="0" cy="1440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 Verbindung 78"/>
            <p:cNvCxnSpPr/>
            <p:nvPr userDrawn="1"/>
          </p:nvCxnSpPr>
          <p:spPr>
            <a:xfrm>
              <a:off x="259147" y="6993412"/>
              <a:ext cx="0" cy="1440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Gerade Verbindung mit Pfeil 12"/>
            <p:cNvCxnSpPr/>
            <p:nvPr userDrawn="1"/>
          </p:nvCxnSpPr>
          <p:spPr>
            <a:xfrm>
              <a:off x="263525" y="-526222"/>
              <a:ext cx="3492500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 Verbindung mit Pfeil 13"/>
            <p:cNvCxnSpPr/>
            <p:nvPr userDrawn="1"/>
          </p:nvCxnSpPr>
          <p:spPr>
            <a:xfrm>
              <a:off x="4259684" y="-526222"/>
              <a:ext cx="3457154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 Verbindung mit Pfeil 14"/>
            <p:cNvCxnSpPr/>
            <p:nvPr userDrawn="1"/>
          </p:nvCxnSpPr>
          <p:spPr>
            <a:xfrm>
              <a:off x="8220124" y="-526222"/>
              <a:ext cx="3492500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Gerade Verbindung mit Pfeil 15"/>
            <p:cNvCxnSpPr/>
            <p:nvPr userDrawn="1"/>
          </p:nvCxnSpPr>
          <p:spPr>
            <a:xfrm>
              <a:off x="263525" y="-289302"/>
              <a:ext cx="2484438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mit Pfeil 16"/>
            <p:cNvCxnSpPr/>
            <p:nvPr userDrawn="1"/>
          </p:nvCxnSpPr>
          <p:spPr>
            <a:xfrm>
              <a:off x="3251200" y="-289302"/>
              <a:ext cx="2484438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mit Pfeil 17"/>
            <p:cNvCxnSpPr/>
            <p:nvPr userDrawn="1"/>
          </p:nvCxnSpPr>
          <p:spPr>
            <a:xfrm>
              <a:off x="6240462" y="-289302"/>
              <a:ext cx="2484438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mit Pfeil 18"/>
            <p:cNvCxnSpPr/>
            <p:nvPr userDrawn="1"/>
          </p:nvCxnSpPr>
          <p:spPr>
            <a:xfrm>
              <a:off x="9228186" y="-289302"/>
              <a:ext cx="2484438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mit Pfeil 19"/>
            <p:cNvCxnSpPr/>
            <p:nvPr userDrawn="1"/>
          </p:nvCxnSpPr>
          <p:spPr>
            <a:xfrm>
              <a:off x="263525" y="-763143"/>
              <a:ext cx="5472113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mit Pfeil 20"/>
            <p:cNvCxnSpPr/>
            <p:nvPr userDrawn="1"/>
          </p:nvCxnSpPr>
          <p:spPr>
            <a:xfrm>
              <a:off x="6240463" y="-763143"/>
              <a:ext cx="5472161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 Verbindung 107"/>
            <p:cNvCxnSpPr/>
            <p:nvPr userDrawn="1"/>
          </p:nvCxnSpPr>
          <p:spPr>
            <a:xfrm>
              <a:off x="2999272" y="-361302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 Verbindung 108"/>
            <p:cNvCxnSpPr/>
            <p:nvPr userDrawn="1"/>
          </p:nvCxnSpPr>
          <p:spPr>
            <a:xfrm>
              <a:off x="5987988" y="-361302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109"/>
            <p:cNvCxnSpPr/>
            <p:nvPr userDrawn="1"/>
          </p:nvCxnSpPr>
          <p:spPr>
            <a:xfrm>
              <a:off x="8976320" y="-361302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110"/>
            <p:cNvCxnSpPr/>
            <p:nvPr userDrawn="1"/>
          </p:nvCxnSpPr>
          <p:spPr>
            <a:xfrm>
              <a:off x="7968208" y="-598222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 Verbindung 111"/>
            <p:cNvCxnSpPr/>
            <p:nvPr userDrawn="1"/>
          </p:nvCxnSpPr>
          <p:spPr>
            <a:xfrm>
              <a:off x="4007768" y="-598222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112"/>
            <p:cNvCxnSpPr/>
            <p:nvPr userDrawn="1"/>
          </p:nvCxnSpPr>
          <p:spPr>
            <a:xfrm>
              <a:off x="5987988" y="-835143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 Verbindung 33"/>
            <p:cNvCxnSpPr/>
            <p:nvPr userDrawn="1"/>
          </p:nvCxnSpPr>
          <p:spPr>
            <a:xfrm rot="5400000" flipV="1">
              <a:off x="-204708" y="826746"/>
              <a:ext cx="0" cy="144000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 Verbindung 34"/>
            <p:cNvCxnSpPr/>
            <p:nvPr userDrawn="1"/>
          </p:nvCxnSpPr>
          <p:spPr>
            <a:xfrm rot="5400000" flipV="1">
              <a:off x="-204708" y="6785999"/>
              <a:ext cx="0" cy="144000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 Verbindung 35"/>
            <p:cNvCxnSpPr/>
            <p:nvPr userDrawn="1"/>
          </p:nvCxnSpPr>
          <p:spPr>
            <a:xfrm rot="10800000" flipV="1">
              <a:off x="11928473" y="-361302"/>
              <a:ext cx="0" cy="144000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 Verbindung 38"/>
            <p:cNvCxnSpPr/>
            <p:nvPr userDrawn="1"/>
          </p:nvCxnSpPr>
          <p:spPr>
            <a:xfrm rot="10800000" flipV="1">
              <a:off x="0" y="-361302"/>
              <a:ext cx="0" cy="144000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32" name="Gerade Verbindung 37"/>
          <p:cNvCxnSpPr/>
          <p:nvPr userDrawn="1"/>
        </p:nvCxnSpPr>
        <p:spPr>
          <a:xfrm>
            <a:off x="11712624" y="6993412"/>
            <a:ext cx="0" cy="144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feld 32"/>
          <p:cNvSpPr txBox="1"/>
          <p:nvPr userDrawn="1"/>
        </p:nvSpPr>
        <p:spPr>
          <a:xfrm>
            <a:off x="-1791723" y="799523"/>
            <a:ext cx="1514371" cy="184666"/>
          </a:xfrm>
          <a:prstGeom prst="rect">
            <a:avLst/>
          </a:prstGeom>
          <a:noFill/>
        </p:spPr>
        <p:txBody>
          <a:bodyPr wrap="none" lIns="72000" tIns="0" rIns="72000" bIns="0" rtlCol="0" anchor="ctr">
            <a:spAutoFit/>
          </a:bodyPr>
          <a:lstStyle/>
          <a:p>
            <a:pPr algn="r"/>
            <a:r>
              <a:rPr lang="de-DE" sz="1200" noProof="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abelle</a:t>
            </a:r>
            <a:r>
              <a:rPr lang="de-DE" sz="1200" baseline="0" noProof="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  <a:r>
              <a:rPr lang="de-DE" sz="1200" noProof="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(Vollflächig)</a:t>
            </a:r>
          </a:p>
        </p:txBody>
      </p:sp>
    </p:spTree>
    <p:extLst>
      <p:ext uri="{BB962C8B-B14F-4D97-AF65-F5344CB8AC3E}">
        <p14:creationId xmlns:p14="http://schemas.microsoft.com/office/powerpoint/2010/main" val="236215191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pfzeile Untertitel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/>
          <p:cNvSpPr/>
          <p:nvPr userDrawn="1"/>
        </p:nvSpPr>
        <p:spPr>
          <a:xfrm>
            <a:off x="-794" y="0"/>
            <a:ext cx="12193588" cy="89999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" name="object 4">
            <a:extLst>
              <a:ext uri="{FF2B5EF4-FFF2-40B4-BE49-F238E27FC236}">
                <a16:creationId xmlns:a16="http://schemas.microsoft.com/office/drawing/2014/main" id="{880C4227-47B7-694C-8443-CF01E2AE097C}"/>
              </a:ext>
            </a:extLst>
          </p:cNvPr>
          <p:cNvSpPr/>
          <p:nvPr userDrawn="1"/>
        </p:nvSpPr>
        <p:spPr>
          <a:xfrm>
            <a:off x="2681" y="899998"/>
            <a:ext cx="12193200" cy="158460"/>
          </a:xfrm>
          <a:custGeom>
            <a:avLst/>
            <a:gdLst/>
            <a:ahLst/>
            <a:cxnLst/>
            <a:rect l="l" t="t" r="r" b="b"/>
            <a:pathLst>
              <a:path w="12192635">
                <a:moveTo>
                  <a:pt x="0" y="0"/>
                </a:moveTo>
                <a:lnTo>
                  <a:pt x="12192113" y="0"/>
                </a:lnTo>
              </a:path>
            </a:pathLst>
          </a:custGeom>
          <a:ln w="25400">
            <a:solidFill>
              <a:schemeClr val="bg1"/>
            </a:solidFill>
          </a:ln>
        </p:spPr>
        <p:txBody>
          <a:bodyPr wrap="square" lIns="0" tIns="0" rIns="0" bIns="0" rtlCol="0"/>
          <a:lstStyle/>
          <a:p>
            <a:endParaRPr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572058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feld 7"/>
          <p:cNvSpPr txBox="1"/>
          <p:nvPr userDrawn="1"/>
        </p:nvSpPr>
        <p:spPr>
          <a:xfrm rot="16200000">
            <a:off x="8631237" y="3297236"/>
            <a:ext cx="6857999" cy="263527"/>
          </a:xfrm>
          <a:prstGeom prst="rect">
            <a:avLst/>
          </a:prstGeom>
          <a:solidFill>
            <a:schemeClr val="bg2"/>
          </a:solidFill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endParaRPr lang="de-DE" sz="800" kern="1200" spc="-30" baseline="0" dirty="0">
              <a:solidFill>
                <a:schemeClr val="accent5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Textfeld 8"/>
          <p:cNvSpPr txBox="1"/>
          <p:nvPr userDrawn="1"/>
        </p:nvSpPr>
        <p:spPr>
          <a:xfrm rot="16200000">
            <a:off x="11605877" y="322597"/>
            <a:ext cx="908719" cy="263527"/>
          </a:xfrm>
          <a:prstGeom prst="rect">
            <a:avLst/>
          </a:prstGeom>
          <a:noFill/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r>
              <a:rPr lang="de-DE" sz="800" kern="1200" spc="-3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© Rödl &amp; Partner </a:t>
            </a:r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>
          <a:xfrm>
            <a:off x="263525" y="260648"/>
            <a:ext cx="11449049" cy="39600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263525" y="1065214"/>
            <a:ext cx="11449048" cy="288000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Untertitel durch Klicken hinzufügen</a:t>
            </a:r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4CFEB0D3-1EB3-4F08-8062-95FFB9749870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2517752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pfzeile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platzhalter 14"/>
          <p:cNvSpPr>
            <a:spLocks noGrp="1"/>
          </p:cNvSpPr>
          <p:nvPr>
            <p:ph type="body" sz="quarter" idx="13"/>
          </p:nvPr>
        </p:nvSpPr>
        <p:spPr>
          <a:xfrm>
            <a:off x="263525" y="1058458"/>
            <a:ext cx="11449048" cy="5008968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GB" dirty="0"/>
          </a:p>
        </p:txBody>
      </p:sp>
      <p:sp>
        <p:nvSpPr>
          <p:cNvPr id="5" name="Rechteck 4"/>
          <p:cNvSpPr/>
          <p:nvPr userDrawn="1"/>
        </p:nvSpPr>
        <p:spPr>
          <a:xfrm>
            <a:off x="-794" y="0"/>
            <a:ext cx="12193588" cy="89999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" name="object 4">
            <a:extLst>
              <a:ext uri="{FF2B5EF4-FFF2-40B4-BE49-F238E27FC236}">
                <a16:creationId xmlns:a16="http://schemas.microsoft.com/office/drawing/2014/main" id="{880C4227-47B7-694C-8443-CF01E2AE097C}"/>
              </a:ext>
            </a:extLst>
          </p:cNvPr>
          <p:cNvSpPr/>
          <p:nvPr userDrawn="1"/>
        </p:nvSpPr>
        <p:spPr>
          <a:xfrm>
            <a:off x="2681" y="899998"/>
            <a:ext cx="12193200" cy="158460"/>
          </a:xfrm>
          <a:custGeom>
            <a:avLst/>
            <a:gdLst/>
            <a:ahLst/>
            <a:cxnLst/>
            <a:rect l="l" t="t" r="r" b="b"/>
            <a:pathLst>
              <a:path w="12192635">
                <a:moveTo>
                  <a:pt x="0" y="0"/>
                </a:moveTo>
                <a:lnTo>
                  <a:pt x="12192113" y="0"/>
                </a:lnTo>
              </a:path>
            </a:pathLst>
          </a:custGeom>
          <a:ln w="25400">
            <a:solidFill>
              <a:schemeClr val="bg1"/>
            </a:solidFill>
          </a:ln>
        </p:spPr>
        <p:txBody>
          <a:bodyPr wrap="square" lIns="0" tIns="0" rIns="0" bIns="0" rtlCol="0"/>
          <a:lstStyle/>
          <a:p>
            <a:endParaRPr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301142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feld 7"/>
          <p:cNvSpPr txBox="1"/>
          <p:nvPr userDrawn="1"/>
        </p:nvSpPr>
        <p:spPr>
          <a:xfrm rot="16200000">
            <a:off x="8631237" y="3297236"/>
            <a:ext cx="6857999" cy="263527"/>
          </a:xfrm>
          <a:prstGeom prst="rect">
            <a:avLst/>
          </a:prstGeom>
          <a:solidFill>
            <a:schemeClr val="bg2"/>
          </a:solidFill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endParaRPr lang="de-DE" sz="800" kern="1200" spc="-30" baseline="0" dirty="0">
              <a:solidFill>
                <a:schemeClr val="accent5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Textfeld 8"/>
          <p:cNvSpPr txBox="1"/>
          <p:nvPr userDrawn="1"/>
        </p:nvSpPr>
        <p:spPr>
          <a:xfrm rot="16200000">
            <a:off x="11605877" y="322597"/>
            <a:ext cx="908719" cy="263527"/>
          </a:xfrm>
          <a:prstGeom prst="rect">
            <a:avLst/>
          </a:prstGeom>
          <a:noFill/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r>
              <a:rPr lang="de-DE" sz="800" kern="1200" spc="-3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© Rödl &amp; Partner </a:t>
            </a:r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>
          <a:xfrm>
            <a:off x="263525" y="260648"/>
            <a:ext cx="11449049" cy="39600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2" hasCustomPrompt="1"/>
          </p:nvPr>
        </p:nvSpPr>
        <p:spPr>
          <a:xfrm>
            <a:off x="263524" y="6248400"/>
            <a:ext cx="11449049" cy="204788"/>
          </a:xfrm>
        </p:spPr>
        <p:txBody>
          <a:bodyPr vert="horz" lIns="0" tIns="0" rIns="0" bIns="0" rtlCol="0" anchor="b">
            <a:noAutofit/>
          </a:bodyPr>
          <a:lstStyle>
            <a:lvl1pPr>
              <a:defRPr lang="de-DE" sz="1000" dirty="0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Fußnote durch Klicken hinzufügen</a:t>
            </a:r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4CFEB0D3-1EB3-4F08-8062-95FFB9749870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5403910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pfzeile farbig Untertitel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platzhalter 14"/>
          <p:cNvSpPr>
            <a:spLocks noGrp="1"/>
          </p:cNvSpPr>
          <p:nvPr>
            <p:ph type="body" sz="quarter" idx="13"/>
          </p:nvPr>
        </p:nvSpPr>
        <p:spPr>
          <a:xfrm>
            <a:off x="263525" y="1457326"/>
            <a:ext cx="11449048" cy="4610100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GB" dirty="0"/>
          </a:p>
        </p:txBody>
      </p:sp>
      <p:sp>
        <p:nvSpPr>
          <p:cNvPr id="12" name="object 4">
            <a:extLst>
              <a:ext uri="{FF2B5EF4-FFF2-40B4-BE49-F238E27FC236}">
                <a16:creationId xmlns:a16="http://schemas.microsoft.com/office/drawing/2014/main" id="{880C4227-47B7-694C-8443-CF01E2AE097C}"/>
              </a:ext>
            </a:extLst>
          </p:cNvPr>
          <p:cNvSpPr/>
          <p:nvPr userDrawn="1"/>
        </p:nvSpPr>
        <p:spPr>
          <a:xfrm>
            <a:off x="2681" y="899998"/>
            <a:ext cx="12193200" cy="158460"/>
          </a:xfrm>
          <a:custGeom>
            <a:avLst/>
            <a:gdLst/>
            <a:ahLst/>
            <a:cxnLst/>
            <a:rect l="l" t="t" r="r" b="b"/>
            <a:pathLst>
              <a:path w="12192635">
                <a:moveTo>
                  <a:pt x="0" y="0"/>
                </a:moveTo>
                <a:lnTo>
                  <a:pt x="12192113" y="0"/>
                </a:lnTo>
              </a:path>
            </a:pathLst>
          </a:custGeom>
          <a:ln w="28575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661945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feld 7"/>
          <p:cNvSpPr txBox="1"/>
          <p:nvPr userDrawn="1"/>
        </p:nvSpPr>
        <p:spPr>
          <a:xfrm rot="16200000">
            <a:off x="8631237" y="3297236"/>
            <a:ext cx="6857999" cy="263527"/>
          </a:xfrm>
          <a:prstGeom prst="rect">
            <a:avLst/>
          </a:prstGeom>
          <a:solidFill>
            <a:schemeClr val="bg2"/>
          </a:solidFill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endParaRPr lang="de-DE" sz="800" kern="1200" spc="-30" baseline="0" dirty="0">
              <a:solidFill>
                <a:schemeClr val="accent5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Textfeld 8"/>
          <p:cNvSpPr txBox="1"/>
          <p:nvPr userDrawn="1"/>
        </p:nvSpPr>
        <p:spPr>
          <a:xfrm rot="16200000">
            <a:off x="11605877" y="322597"/>
            <a:ext cx="908719" cy="263527"/>
          </a:xfrm>
          <a:prstGeom prst="rect">
            <a:avLst/>
          </a:prstGeom>
          <a:noFill/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r>
              <a:rPr lang="de-DE" sz="800" kern="1200" spc="-3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© Rödl &amp; Partner </a:t>
            </a:r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>
          <a:xfrm>
            <a:off x="263525" y="260648"/>
            <a:ext cx="11449049" cy="396000"/>
          </a:xfrm>
        </p:spPr>
        <p:txBody>
          <a:bodyPr/>
          <a:lstStyle>
            <a:lvl1pPr>
              <a:defRPr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263525" y="1065214"/>
            <a:ext cx="11449048" cy="288000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Untertitel durch Klicken hinzufügen</a:t>
            </a:r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2" hasCustomPrompt="1"/>
          </p:nvPr>
        </p:nvSpPr>
        <p:spPr>
          <a:xfrm>
            <a:off x="263524" y="6248400"/>
            <a:ext cx="11449049" cy="204788"/>
          </a:xfrm>
        </p:spPr>
        <p:txBody>
          <a:bodyPr vert="horz" lIns="0" tIns="0" rIns="0" bIns="0" rtlCol="0" anchor="b">
            <a:noAutofit/>
          </a:bodyPr>
          <a:lstStyle>
            <a:lvl1pPr>
              <a:defRPr lang="de-DE" sz="1000" dirty="0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Fußnote durch Klicken hinzufügen</a:t>
            </a:r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14"/>
          </p:nvPr>
        </p:nvSpPr>
        <p:spPr>
          <a:xfrm>
            <a:off x="11928648" y="6453187"/>
            <a:ext cx="263350" cy="404813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ctr">
              <a:defRPr sz="11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4CFEB0D3-1EB3-4F08-8062-95FFB9749870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1620965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einstieg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/>
          <p:cNvSpPr/>
          <p:nvPr userDrawn="1"/>
        </p:nvSpPr>
        <p:spPr>
          <a:xfrm>
            <a:off x="-794" y="0"/>
            <a:ext cx="12193588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6"/>
          </p:nvPr>
        </p:nvSpPr>
        <p:spPr>
          <a:xfrm>
            <a:off x="4822022" y="-2841"/>
            <a:ext cx="7110000" cy="6859253"/>
          </a:xfrm>
          <a:solidFill>
            <a:schemeClr val="bg1"/>
          </a:solidFill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GB" dirty="0"/>
          </a:p>
        </p:txBody>
      </p:sp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722180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feld 7"/>
          <p:cNvSpPr txBox="1"/>
          <p:nvPr userDrawn="1"/>
        </p:nvSpPr>
        <p:spPr>
          <a:xfrm rot="16200000">
            <a:off x="8631237" y="3297236"/>
            <a:ext cx="6857999" cy="263527"/>
          </a:xfrm>
          <a:prstGeom prst="rect">
            <a:avLst/>
          </a:prstGeom>
          <a:solidFill>
            <a:schemeClr val="bg2"/>
          </a:solidFill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endParaRPr lang="de-DE" sz="800" kern="1200" spc="-30" baseline="0" dirty="0">
              <a:solidFill>
                <a:schemeClr val="accent5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Textfeld 8"/>
          <p:cNvSpPr txBox="1"/>
          <p:nvPr userDrawn="1"/>
        </p:nvSpPr>
        <p:spPr>
          <a:xfrm rot="16200000">
            <a:off x="11605877" y="322597"/>
            <a:ext cx="908719" cy="263527"/>
          </a:xfrm>
          <a:prstGeom prst="rect">
            <a:avLst/>
          </a:prstGeom>
          <a:noFill/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r>
              <a:rPr lang="de-DE" sz="800" kern="1200" spc="-3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© Rödl &amp; Partner </a:t>
            </a:r>
          </a:p>
        </p:txBody>
      </p:sp>
      <p:sp>
        <p:nvSpPr>
          <p:cNvPr id="16" name="object 6">
            <a:extLst>
              <a:ext uri="{FF2B5EF4-FFF2-40B4-BE49-F238E27FC236}">
                <a16:creationId xmlns:a16="http://schemas.microsoft.com/office/drawing/2014/main" id="{35B15152-362B-804E-8180-EB8D98DF2756}"/>
              </a:ext>
            </a:extLst>
          </p:cNvPr>
          <p:cNvSpPr/>
          <p:nvPr userDrawn="1"/>
        </p:nvSpPr>
        <p:spPr>
          <a:xfrm>
            <a:off x="4816097" y="-6350"/>
            <a:ext cx="45719" cy="6864350"/>
          </a:xfrm>
          <a:custGeom>
            <a:avLst/>
            <a:gdLst/>
            <a:ahLst/>
            <a:cxnLst/>
            <a:rect l="l" t="t" r="r" b="b"/>
            <a:pathLst>
              <a:path h="4698365">
                <a:moveTo>
                  <a:pt x="0" y="0"/>
                </a:moveTo>
                <a:lnTo>
                  <a:pt x="0" y="4697996"/>
                </a:lnTo>
              </a:path>
            </a:pathLst>
          </a:custGeom>
          <a:ln w="285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7" name="Foliennummernplatzhalter 16"/>
          <p:cNvSpPr>
            <a:spLocks noGrp="1"/>
          </p:cNvSpPr>
          <p:nvPr>
            <p:ph type="sldNum" sz="quarter" idx="17"/>
          </p:nvPr>
        </p:nvSpPr>
        <p:spPr>
          <a:noFill/>
        </p:spPr>
        <p:txBody>
          <a:bodyPr vert="horz" lIns="0" tIns="0" rIns="0" bIns="0" rtlCol="0" anchor="ctr"/>
          <a:lstStyle>
            <a:lvl1pPr>
              <a:defRPr lang="de-DE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4CFEB0D3-1EB3-4F08-8062-95FFB9749870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Textplatzhalter 15">
            <a:extLst>
              <a:ext uri="{FF2B5EF4-FFF2-40B4-BE49-F238E27FC236}">
                <a16:creationId xmlns:a16="http://schemas.microsoft.com/office/drawing/2014/main" id="{616C383F-4C26-3742-8E54-12A54343F08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" y="244800"/>
            <a:ext cx="4799856" cy="641726"/>
          </a:xfrm>
          <a:solidFill>
            <a:schemeClr val="tx2"/>
          </a:solidFill>
          <a:effectLst>
            <a:outerShdw dist="27940" dir="5100000" algn="t" rotWithShape="0">
              <a:prstClr val="black"/>
            </a:outerShdw>
          </a:effectLst>
        </p:spPr>
        <p:txBody>
          <a:bodyPr wrap="square" lIns="262800" rIns="144000" bIns="208800">
            <a:sp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2800" cap="all" spc="-7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de-DE" dirty="0" err="1"/>
              <a:t>KApit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2969425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einstieg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/>
          <p:cNvSpPr/>
          <p:nvPr userDrawn="1"/>
        </p:nvSpPr>
        <p:spPr>
          <a:xfrm>
            <a:off x="-794" y="0"/>
            <a:ext cx="12193588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" name="object 4">
            <a:extLst>
              <a:ext uri="{FF2B5EF4-FFF2-40B4-BE49-F238E27FC236}">
                <a16:creationId xmlns:a16="http://schemas.microsoft.com/office/drawing/2014/main" id="{880C4227-47B7-694C-8443-CF01E2AE097C}"/>
              </a:ext>
            </a:extLst>
          </p:cNvPr>
          <p:cNvSpPr/>
          <p:nvPr userDrawn="1"/>
        </p:nvSpPr>
        <p:spPr>
          <a:xfrm>
            <a:off x="2681" y="899998"/>
            <a:ext cx="12193200" cy="158460"/>
          </a:xfrm>
          <a:custGeom>
            <a:avLst/>
            <a:gdLst/>
            <a:ahLst/>
            <a:cxnLst/>
            <a:rect l="l" t="t" r="r" b="b"/>
            <a:pathLst>
              <a:path w="12192635">
                <a:moveTo>
                  <a:pt x="0" y="0"/>
                </a:moveTo>
                <a:lnTo>
                  <a:pt x="12192113" y="0"/>
                </a:lnTo>
              </a:path>
            </a:pathLst>
          </a:custGeom>
          <a:ln w="28575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72450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feld 7"/>
          <p:cNvSpPr txBox="1"/>
          <p:nvPr userDrawn="1"/>
        </p:nvSpPr>
        <p:spPr>
          <a:xfrm rot="16200000">
            <a:off x="8631237" y="3297236"/>
            <a:ext cx="6857999" cy="263527"/>
          </a:xfrm>
          <a:prstGeom prst="rect">
            <a:avLst/>
          </a:prstGeom>
          <a:solidFill>
            <a:schemeClr val="bg2"/>
          </a:solidFill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endParaRPr lang="de-DE" sz="800" kern="1200" spc="-30" baseline="0" dirty="0">
              <a:solidFill>
                <a:schemeClr val="accent5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Textfeld 8"/>
          <p:cNvSpPr txBox="1"/>
          <p:nvPr userDrawn="1"/>
        </p:nvSpPr>
        <p:spPr>
          <a:xfrm rot="16200000">
            <a:off x="11605877" y="322597"/>
            <a:ext cx="908719" cy="263527"/>
          </a:xfrm>
          <a:prstGeom prst="rect">
            <a:avLst/>
          </a:prstGeom>
          <a:noFill/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r>
              <a:rPr lang="de-DE" sz="800" kern="1200" spc="-3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© Rödl &amp; Partner </a:t>
            </a:r>
          </a:p>
        </p:txBody>
      </p:sp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>
          <a:xfrm>
            <a:off x="263525" y="260648"/>
            <a:ext cx="11449049" cy="396000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de-DE" dirty="0" err="1"/>
              <a:t>kapitel</a:t>
            </a:r>
            <a:endParaRPr lang="en-GB" dirty="0"/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 vert="horz" lIns="0" tIns="0" rIns="0" bIns="0" rtlCol="0" anchor="ctr"/>
          <a:lstStyle>
            <a:lvl1pPr>
              <a:defRPr lang="de-DE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4CFEB0D3-1EB3-4F08-8062-95FFB9749870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6028102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einstieg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/>
          <p:cNvSpPr/>
          <p:nvPr userDrawn="1"/>
        </p:nvSpPr>
        <p:spPr>
          <a:xfrm>
            <a:off x="-794" y="0"/>
            <a:ext cx="12193588" cy="89999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" name="object 4">
            <a:extLst>
              <a:ext uri="{FF2B5EF4-FFF2-40B4-BE49-F238E27FC236}">
                <a16:creationId xmlns:a16="http://schemas.microsoft.com/office/drawing/2014/main" id="{880C4227-47B7-694C-8443-CF01E2AE097C}"/>
              </a:ext>
            </a:extLst>
          </p:cNvPr>
          <p:cNvSpPr/>
          <p:nvPr userDrawn="1"/>
        </p:nvSpPr>
        <p:spPr>
          <a:xfrm>
            <a:off x="2681" y="899998"/>
            <a:ext cx="12193200" cy="158460"/>
          </a:xfrm>
          <a:custGeom>
            <a:avLst/>
            <a:gdLst/>
            <a:ahLst/>
            <a:cxnLst/>
            <a:rect l="l" t="t" r="r" b="b"/>
            <a:pathLst>
              <a:path w="12192635">
                <a:moveTo>
                  <a:pt x="0" y="0"/>
                </a:moveTo>
                <a:lnTo>
                  <a:pt x="12192113" y="0"/>
                </a:lnTo>
              </a:path>
            </a:pathLst>
          </a:custGeom>
          <a:ln w="28575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997249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feld 7"/>
          <p:cNvSpPr txBox="1"/>
          <p:nvPr userDrawn="1"/>
        </p:nvSpPr>
        <p:spPr>
          <a:xfrm rot="16200000">
            <a:off x="8631237" y="3297236"/>
            <a:ext cx="6857999" cy="263527"/>
          </a:xfrm>
          <a:prstGeom prst="rect">
            <a:avLst/>
          </a:prstGeom>
          <a:solidFill>
            <a:schemeClr val="bg2"/>
          </a:solidFill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endParaRPr lang="de-DE" sz="800" kern="1200" spc="-30" baseline="0" dirty="0">
              <a:solidFill>
                <a:schemeClr val="accent5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Textfeld 8"/>
          <p:cNvSpPr txBox="1"/>
          <p:nvPr userDrawn="1"/>
        </p:nvSpPr>
        <p:spPr>
          <a:xfrm rot="16200000">
            <a:off x="11605877" y="322597"/>
            <a:ext cx="908719" cy="263527"/>
          </a:xfrm>
          <a:prstGeom prst="rect">
            <a:avLst/>
          </a:prstGeom>
          <a:noFill/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r>
              <a:rPr lang="de-DE" sz="800" kern="1200" spc="-3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© Rödl &amp; Partner </a:t>
            </a:r>
          </a:p>
        </p:txBody>
      </p:sp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>
          <a:xfrm>
            <a:off x="263525" y="260648"/>
            <a:ext cx="11449049" cy="396000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de-DE" dirty="0" err="1"/>
              <a:t>kapitel</a:t>
            </a:r>
            <a:endParaRPr lang="en-GB" dirty="0"/>
          </a:p>
        </p:txBody>
      </p:sp>
      <p:sp>
        <p:nvSpPr>
          <p:cNvPr id="17" name="Foliennummernplatzhalter 16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 vert="horz" lIns="0" tIns="0" rIns="0" bIns="0" rtlCol="0" anchor="ctr"/>
          <a:lstStyle>
            <a:lvl1pPr>
              <a:defRPr lang="de-DE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4CFEB0D3-1EB3-4F08-8062-95FFB9749870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4119528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einstieg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950744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de-DE" sz="2800" b="0" i="0" baseline="0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" name="Rechteck 9"/>
          <p:cNvSpPr/>
          <p:nvPr userDrawn="1"/>
        </p:nvSpPr>
        <p:spPr>
          <a:xfrm>
            <a:off x="0" y="1"/>
            <a:ext cx="12193588" cy="900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cxnSp>
        <p:nvCxnSpPr>
          <p:cNvPr id="13" name="Gerade Verbindung 12"/>
          <p:cNvCxnSpPr/>
          <p:nvPr userDrawn="1"/>
        </p:nvCxnSpPr>
        <p:spPr>
          <a:xfrm>
            <a:off x="0" y="900000"/>
            <a:ext cx="11928475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feld 7"/>
          <p:cNvSpPr txBox="1"/>
          <p:nvPr userDrawn="1"/>
        </p:nvSpPr>
        <p:spPr>
          <a:xfrm rot="16200000">
            <a:off x="8631237" y="3297236"/>
            <a:ext cx="6857999" cy="263527"/>
          </a:xfrm>
          <a:prstGeom prst="rect">
            <a:avLst/>
          </a:prstGeom>
          <a:solidFill>
            <a:schemeClr val="bg2"/>
          </a:solidFill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endParaRPr lang="de-DE" sz="800" kern="1200" spc="-30" baseline="0" dirty="0">
              <a:solidFill>
                <a:schemeClr val="accent5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Textfeld 8"/>
          <p:cNvSpPr txBox="1"/>
          <p:nvPr userDrawn="1"/>
        </p:nvSpPr>
        <p:spPr>
          <a:xfrm rot="16200000">
            <a:off x="11605877" y="322597"/>
            <a:ext cx="908719" cy="263527"/>
          </a:xfrm>
          <a:prstGeom prst="rect">
            <a:avLst/>
          </a:prstGeom>
          <a:noFill/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r>
              <a:rPr lang="de-DE" sz="800" kern="1200" spc="-3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© Rödl &amp; Partner 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5"/>
          </p:nvPr>
        </p:nvSpPr>
        <p:spPr>
          <a:noFill/>
        </p:spPr>
        <p:txBody>
          <a:bodyPr vert="horz" lIns="0" tIns="0" rIns="0" bIns="0" rtlCol="0" anchor="ctr"/>
          <a:lstStyle>
            <a:lvl1pPr>
              <a:defRPr lang="de-DE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4CFEB0D3-1EB3-4F08-8062-95FFB9749870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2" name="Textplatzhalter 15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910800"/>
            <a:ext cx="11928472" cy="991792"/>
          </a:xfrm>
          <a:solidFill>
            <a:schemeClr val="tx2"/>
          </a:solidFill>
          <a:effectLst>
            <a:outerShdw dist="27940" dir="5400000" algn="t" rotWithShape="0">
              <a:schemeClr val="tx1"/>
            </a:outerShdw>
          </a:effectLst>
        </p:spPr>
        <p:txBody>
          <a:bodyPr lIns="1170000" tIns="72000" bIns="72000">
            <a:spAutoFit/>
          </a:bodyPr>
          <a:lstStyle>
            <a:lvl1pPr>
              <a:lnSpc>
                <a:spcPts val="6600"/>
              </a:lnSpc>
              <a:defRPr sz="6000" cap="all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Text bearbeiten</a:t>
            </a:r>
          </a:p>
        </p:txBody>
      </p:sp>
    </p:spTree>
    <p:extLst>
      <p:ext uri="{BB962C8B-B14F-4D97-AF65-F5344CB8AC3E}">
        <p14:creationId xmlns:p14="http://schemas.microsoft.com/office/powerpoint/2010/main" val="17120688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pfzeile Untertitel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platzhalter 14"/>
          <p:cNvSpPr>
            <a:spLocks noGrp="1"/>
          </p:cNvSpPr>
          <p:nvPr>
            <p:ph type="body" sz="quarter" idx="13"/>
          </p:nvPr>
        </p:nvSpPr>
        <p:spPr>
          <a:xfrm>
            <a:off x="263525" y="1457326"/>
            <a:ext cx="11449048" cy="4610100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GB" dirty="0"/>
          </a:p>
        </p:txBody>
      </p:sp>
      <p:sp>
        <p:nvSpPr>
          <p:cNvPr id="5" name="Rechteck 4"/>
          <p:cNvSpPr/>
          <p:nvPr userDrawn="1"/>
        </p:nvSpPr>
        <p:spPr>
          <a:xfrm>
            <a:off x="-794" y="0"/>
            <a:ext cx="12193588" cy="89999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" name="object 4">
            <a:extLst>
              <a:ext uri="{FF2B5EF4-FFF2-40B4-BE49-F238E27FC236}">
                <a16:creationId xmlns:a16="http://schemas.microsoft.com/office/drawing/2014/main" id="{880C4227-47B7-694C-8443-CF01E2AE097C}"/>
              </a:ext>
            </a:extLst>
          </p:cNvPr>
          <p:cNvSpPr/>
          <p:nvPr userDrawn="1"/>
        </p:nvSpPr>
        <p:spPr>
          <a:xfrm>
            <a:off x="2681" y="899998"/>
            <a:ext cx="12193200" cy="158460"/>
          </a:xfrm>
          <a:custGeom>
            <a:avLst/>
            <a:gdLst/>
            <a:ahLst/>
            <a:cxnLst/>
            <a:rect l="l" t="t" r="r" b="b"/>
            <a:pathLst>
              <a:path w="12192635">
                <a:moveTo>
                  <a:pt x="0" y="0"/>
                </a:moveTo>
                <a:lnTo>
                  <a:pt x="12192113" y="0"/>
                </a:lnTo>
              </a:path>
            </a:pathLst>
          </a:custGeom>
          <a:ln w="28575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383565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feld 7"/>
          <p:cNvSpPr txBox="1"/>
          <p:nvPr userDrawn="1"/>
        </p:nvSpPr>
        <p:spPr>
          <a:xfrm rot="16200000">
            <a:off x="8631237" y="3297236"/>
            <a:ext cx="6857999" cy="263527"/>
          </a:xfrm>
          <a:prstGeom prst="rect">
            <a:avLst/>
          </a:prstGeom>
          <a:solidFill>
            <a:schemeClr val="bg2"/>
          </a:solidFill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endParaRPr lang="de-DE" sz="800" kern="1200" spc="-30" baseline="0" dirty="0">
              <a:solidFill>
                <a:schemeClr val="accent5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Textfeld 8"/>
          <p:cNvSpPr txBox="1"/>
          <p:nvPr userDrawn="1"/>
        </p:nvSpPr>
        <p:spPr>
          <a:xfrm rot="16200000">
            <a:off x="11605877" y="322597"/>
            <a:ext cx="908719" cy="263527"/>
          </a:xfrm>
          <a:prstGeom prst="rect">
            <a:avLst/>
          </a:prstGeom>
          <a:noFill/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r>
              <a:rPr lang="de-DE" sz="800" kern="1200" spc="-3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© Rödl &amp; Partner </a:t>
            </a:r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>
          <a:xfrm>
            <a:off x="263525" y="260648"/>
            <a:ext cx="11449049" cy="396000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263525" y="1065214"/>
            <a:ext cx="11449048" cy="288000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Untertitel durch Klicken hinzufügen</a:t>
            </a:r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2" hasCustomPrompt="1"/>
          </p:nvPr>
        </p:nvSpPr>
        <p:spPr>
          <a:xfrm>
            <a:off x="263524" y="6248400"/>
            <a:ext cx="11449049" cy="204788"/>
          </a:xfrm>
        </p:spPr>
        <p:txBody>
          <a:bodyPr vert="horz" lIns="0" tIns="0" rIns="0" bIns="0" rtlCol="0" anchor="b">
            <a:noAutofit/>
          </a:bodyPr>
          <a:lstStyle>
            <a:lvl1pPr>
              <a:defRPr lang="de-DE" sz="1000" dirty="0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Fußnote durch Klicken hinzufügen</a:t>
            </a:r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14"/>
          </p:nvPr>
        </p:nvSpPr>
        <p:spPr>
          <a:noFill/>
        </p:spPr>
        <p:txBody>
          <a:bodyPr vert="horz" lIns="0" tIns="0" rIns="0" bIns="0" rtlCol="0" anchor="ctr"/>
          <a:lstStyle>
            <a:lvl1pPr>
              <a:defRPr lang="de-DE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4CFEB0D3-1EB3-4F08-8062-95FFB9749870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0906501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pfzeile Unter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/>
          <p:cNvSpPr/>
          <p:nvPr userDrawn="1"/>
        </p:nvSpPr>
        <p:spPr>
          <a:xfrm>
            <a:off x="-794" y="0"/>
            <a:ext cx="12193588" cy="89999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" name="object 4">
            <a:extLst>
              <a:ext uri="{FF2B5EF4-FFF2-40B4-BE49-F238E27FC236}">
                <a16:creationId xmlns:a16="http://schemas.microsoft.com/office/drawing/2014/main" id="{880C4227-47B7-694C-8443-CF01E2AE097C}"/>
              </a:ext>
            </a:extLst>
          </p:cNvPr>
          <p:cNvSpPr/>
          <p:nvPr userDrawn="1"/>
        </p:nvSpPr>
        <p:spPr>
          <a:xfrm>
            <a:off x="2681" y="899998"/>
            <a:ext cx="12193200" cy="158460"/>
          </a:xfrm>
          <a:custGeom>
            <a:avLst/>
            <a:gdLst/>
            <a:ahLst/>
            <a:cxnLst/>
            <a:rect l="l" t="t" r="r" b="b"/>
            <a:pathLst>
              <a:path w="12192635">
                <a:moveTo>
                  <a:pt x="0" y="0"/>
                </a:moveTo>
                <a:lnTo>
                  <a:pt x="12192113" y="0"/>
                </a:lnTo>
              </a:path>
            </a:pathLst>
          </a:custGeom>
          <a:ln w="28575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045450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feld 7"/>
          <p:cNvSpPr txBox="1"/>
          <p:nvPr userDrawn="1"/>
        </p:nvSpPr>
        <p:spPr>
          <a:xfrm rot="16200000">
            <a:off x="8631237" y="3297236"/>
            <a:ext cx="6857999" cy="263527"/>
          </a:xfrm>
          <a:prstGeom prst="rect">
            <a:avLst/>
          </a:prstGeom>
          <a:solidFill>
            <a:schemeClr val="bg2"/>
          </a:solidFill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endParaRPr lang="de-DE" sz="800" kern="1200" spc="-30" baseline="0" dirty="0">
              <a:solidFill>
                <a:schemeClr val="accent5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Textfeld 8"/>
          <p:cNvSpPr txBox="1"/>
          <p:nvPr userDrawn="1"/>
        </p:nvSpPr>
        <p:spPr>
          <a:xfrm rot="16200000">
            <a:off x="11605877" y="322597"/>
            <a:ext cx="908719" cy="263527"/>
          </a:xfrm>
          <a:prstGeom prst="rect">
            <a:avLst/>
          </a:prstGeom>
          <a:noFill/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r>
              <a:rPr lang="de-DE" sz="800" kern="1200" spc="-3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© Rödl &amp; Partner </a:t>
            </a:r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>
          <a:xfrm>
            <a:off x="263525" y="260648"/>
            <a:ext cx="11449049" cy="396000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263525" y="1065214"/>
            <a:ext cx="11449048" cy="288000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Untertitel durch Klicken hinzufügen</a:t>
            </a:r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14"/>
          </p:nvPr>
        </p:nvSpPr>
        <p:spPr>
          <a:noFill/>
        </p:spPr>
        <p:txBody>
          <a:bodyPr vert="horz" lIns="0" tIns="0" rIns="0" bIns="0" rtlCol="0" anchor="ctr"/>
          <a:lstStyle>
            <a:lvl1pPr>
              <a:defRPr lang="de-DE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4CFEB0D3-1EB3-4F08-8062-95FFB9749870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5514070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pfzeile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platzhalter 14"/>
          <p:cNvSpPr>
            <a:spLocks noGrp="1"/>
          </p:cNvSpPr>
          <p:nvPr>
            <p:ph type="body" sz="quarter" idx="13"/>
          </p:nvPr>
        </p:nvSpPr>
        <p:spPr>
          <a:xfrm>
            <a:off x="263525" y="1058458"/>
            <a:ext cx="11449048" cy="5008968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GB" dirty="0"/>
          </a:p>
        </p:txBody>
      </p:sp>
      <p:sp>
        <p:nvSpPr>
          <p:cNvPr id="5" name="Rechteck 4"/>
          <p:cNvSpPr/>
          <p:nvPr userDrawn="1"/>
        </p:nvSpPr>
        <p:spPr>
          <a:xfrm>
            <a:off x="-794" y="0"/>
            <a:ext cx="12193588" cy="89999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" name="object 4">
            <a:extLst>
              <a:ext uri="{FF2B5EF4-FFF2-40B4-BE49-F238E27FC236}">
                <a16:creationId xmlns:a16="http://schemas.microsoft.com/office/drawing/2014/main" id="{880C4227-47B7-694C-8443-CF01E2AE097C}"/>
              </a:ext>
            </a:extLst>
          </p:cNvPr>
          <p:cNvSpPr/>
          <p:nvPr userDrawn="1"/>
        </p:nvSpPr>
        <p:spPr>
          <a:xfrm>
            <a:off x="2681" y="899998"/>
            <a:ext cx="12193200" cy="158460"/>
          </a:xfrm>
          <a:custGeom>
            <a:avLst/>
            <a:gdLst/>
            <a:ahLst/>
            <a:cxnLst/>
            <a:rect l="l" t="t" r="r" b="b"/>
            <a:pathLst>
              <a:path w="12192635">
                <a:moveTo>
                  <a:pt x="0" y="0"/>
                </a:moveTo>
                <a:lnTo>
                  <a:pt x="12192113" y="0"/>
                </a:lnTo>
              </a:path>
            </a:pathLst>
          </a:custGeom>
          <a:ln w="28575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347988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feld 7"/>
          <p:cNvSpPr txBox="1"/>
          <p:nvPr userDrawn="1"/>
        </p:nvSpPr>
        <p:spPr>
          <a:xfrm rot="16200000">
            <a:off x="8631237" y="3297236"/>
            <a:ext cx="6857999" cy="263527"/>
          </a:xfrm>
          <a:prstGeom prst="rect">
            <a:avLst/>
          </a:prstGeom>
          <a:solidFill>
            <a:schemeClr val="bg2"/>
          </a:solidFill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endParaRPr lang="de-DE" sz="800" kern="1200" spc="-30" baseline="0" dirty="0">
              <a:solidFill>
                <a:schemeClr val="accent5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Textfeld 8"/>
          <p:cNvSpPr txBox="1"/>
          <p:nvPr userDrawn="1"/>
        </p:nvSpPr>
        <p:spPr>
          <a:xfrm rot="16200000">
            <a:off x="11605877" y="322597"/>
            <a:ext cx="908719" cy="263527"/>
          </a:xfrm>
          <a:prstGeom prst="rect">
            <a:avLst/>
          </a:prstGeom>
          <a:noFill/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r>
              <a:rPr lang="de-DE" sz="800" kern="1200" spc="-3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© Rödl &amp; Partner </a:t>
            </a:r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>
          <a:xfrm>
            <a:off x="263525" y="260648"/>
            <a:ext cx="11449049" cy="396000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2" hasCustomPrompt="1"/>
          </p:nvPr>
        </p:nvSpPr>
        <p:spPr>
          <a:xfrm>
            <a:off x="263524" y="6248400"/>
            <a:ext cx="11449049" cy="204788"/>
          </a:xfrm>
        </p:spPr>
        <p:txBody>
          <a:bodyPr vert="horz" lIns="0" tIns="0" rIns="0" bIns="0" rtlCol="0" anchor="b">
            <a:noAutofit/>
          </a:bodyPr>
          <a:lstStyle>
            <a:lvl1pPr>
              <a:defRPr lang="de-DE" sz="1000" dirty="0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Fußnote durch Klicken hinzufügen</a:t>
            </a:r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14"/>
          </p:nvPr>
        </p:nvSpPr>
        <p:spPr>
          <a:noFill/>
        </p:spPr>
        <p:txBody>
          <a:bodyPr vert="horz" lIns="0" tIns="0" rIns="0" bIns="0" rtlCol="0" anchor="ctr"/>
          <a:lstStyle>
            <a:lvl1pPr>
              <a:defRPr lang="de-DE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4CFEB0D3-1EB3-4F08-8062-95FFB9749870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3881988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instiegsfolie_Bild hoch 50%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 userDrawn="1"/>
        </p:nvSpPr>
        <p:spPr>
          <a:xfrm>
            <a:off x="-794" y="0"/>
            <a:ext cx="12193588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9" name="object 4">
            <a:extLst>
              <a:ext uri="{FF2B5EF4-FFF2-40B4-BE49-F238E27FC236}">
                <a16:creationId xmlns:a16="http://schemas.microsoft.com/office/drawing/2014/main" id="{F1407FCD-A98D-8D4C-BAEA-A83B72042659}"/>
              </a:ext>
            </a:extLst>
          </p:cNvPr>
          <p:cNvSpPr/>
          <p:nvPr userDrawn="1"/>
        </p:nvSpPr>
        <p:spPr>
          <a:xfrm>
            <a:off x="0" y="899999"/>
            <a:ext cx="12192635" cy="0"/>
          </a:xfrm>
          <a:custGeom>
            <a:avLst/>
            <a:gdLst/>
            <a:ahLst/>
            <a:cxnLst/>
            <a:rect l="l" t="t" r="r" b="b"/>
            <a:pathLst>
              <a:path w="12192635">
                <a:moveTo>
                  <a:pt x="0" y="0"/>
                </a:moveTo>
                <a:lnTo>
                  <a:pt x="12192113" y="0"/>
                </a:lnTo>
              </a:path>
            </a:pathLst>
          </a:custGeom>
          <a:ln w="28575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4" name="Bildplatzhalter 13"/>
          <p:cNvSpPr>
            <a:spLocks noGrp="1"/>
          </p:cNvSpPr>
          <p:nvPr>
            <p:ph type="pic" sz="quarter" idx="17"/>
          </p:nvPr>
        </p:nvSpPr>
        <p:spPr>
          <a:xfrm>
            <a:off x="6043200" y="0"/>
            <a:ext cx="6148800" cy="6858000"/>
          </a:xfrm>
          <a:solidFill>
            <a:schemeClr val="bg2"/>
          </a:solidFill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989497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154" name="Picture 10"/>
          <p:cNvPicPr>
            <a:picLocks noChangeAspect="1" noChangeArrowheads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63352" y="200024"/>
            <a:ext cx="4018011" cy="532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6" name="Textplatzhalter 20"/>
          <p:cNvSpPr>
            <a:spLocks noGrp="1"/>
          </p:cNvSpPr>
          <p:nvPr>
            <p:ph type="body" sz="quarter" idx="12" hasCustomPrompt="1"/>
          </p:nvPr>
        </p:nvSpPr>
        <p:spPr>
          <a:xfrm>
            <a:off x="1966051" y="4728545"/>
            <a:ext cx="3744000" cy="640175"/>
          </a:xfrm>
        </p:spPr>
        <p:txBody>
          <a:bodyPr wrap="square" anchor="b">
            <a:spAutoFit/>
          </a:bodyPr>
          <a:lstStyle>
            <a:lvl1pPr>
              <a:lnSpc>
                <a:spcPct val="130000"/>
              </a:lnSpc>
              <a:spcBef>
                <a:spcPts val="0"/>
              </a:spcBef>
              <a:defRPr sz="1600" cap="all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Untertitel durch Klicken bearbeiten</a:t>
            </a:r>
          </a:p>
        </p:txBody>
      </p:sp>
      <p:sp>
        <p:nvSpPr>
          <p:cNvPr id="28" name="Textplatzhalter 20"/>
          <p:cNvSpPr>
            <a:spLocks noGrp="1"/>
          </p:cNvSpPr>
          <p:nvPr>
            <p:ph type="body" sz="quarter" idx="13" hasCustomPrompt="1"/>
          </p:nvPr>
        </p:nvSpPr>
        <p:spPr>
          <a:xfrm>
            <a:off x="1966051" y="6207115"/>
            <a:ext cx="3949929" cy="246221"/>
          </a:xfrm>
        </p:spPr>
        <p:txBody>
          <a:bodyPr wrap="square" anchor="b">
            <a:spAutoFit/>
          </a:bodyPr>
          <a:lstStyle>
            <a:lvl1pPr>
              <a:spcBef>
                <a:spcPts val="0"/>
              </a:spcBef>
              <a:defRPr sz="1600" cap="none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Ort,</a:t>
            </a:r>
          </a:p>
        </p:txBody>
      </p:sp>
      <p:sp>
        <p:nvSpPr>
          <p:cNvPr id="21" name="object 6">
            <a:extLst>
              <a:ext uri="{FF2B5EF4-FFF2-40B4-BE49-F238E27FC236}">
                <a16:creationId xmlns:a16="http://schemas.microsoft.com/office/drawing/2014/main" id="{7A6E9864-542A-6F4C-965E-7D2AEBA2E01D}"/>
              </a:ext>
            </a:extLst>
          </p:cNvPr>
          <p:cNvSpPr/>
          <p:nvPr userDrawn="1"/>
        </p:nvSpPr>
        <p:spPr>
          <a:xfrm>
            <a:off x="1710074" y="1710000"/>
            <a:ext cx="45719" cy="5148000"/>
          </a:xfrm>
          <a:custGeom>
            <a:avLst/>
            <a:gdLst/>
            <a:ahLst/>
            <a:cxnLst/>
            <a:rect l="l" t="t" r="r" b="b"/>
            <a:pathLst>
              <a:path h="4698365">
                <a:moveTo>
                  <a:pt x="0" y="0"/>
                </a:moveTo>
                <a:lnTo>
                  <a:pt x="0" y="4697996"/>
                </a:lnTo>
              </a:path>
            </a:pathLst>
          </a:custGeom>
          <a:ln w="285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5" name="Textplatzhalter 15"/>
          <p:cNvSpPr>
            <a:spLocks noGrp="1"/>
          </p:cNvSpPr>
          <p:nvPr>
            <p:ph type="body" sz="quarter" idx="14" hasCustomPrompt="1"/>
          </p:nvPr>
        </p:nvSpPr>
        <p:spPr>
          <a:xfrm>
            <a:off x="-16405" y="944724"/>
            <a:ext cx="6037200" cy="2308324"/>
          </a:xfrm>
          <a:solidFill>
            <a:schemeClr val="tx2"/>
          </a:solidFill>
          <a:effectLst>
            <a:outerShdw dist="27940" dir="5400000" algn="t" rotWithShape="0">
              <a:prstClr val="black"/>
            </a:outerShdw>
          </a:effectLst>
        </p:spPr>
        <p:txBody>
          <a:bodyPr wrap="square" lIns="234000" rIns="144000" bIns="0">
            <a:sp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5000" cap="all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Titel durch klicken hinzufügen</a:t>
            </a:r>
          </a:p>
        </p:txBody>
      </p:sp>
      <p:sp>
        <p:nvSpPr>
          <p:cNvPr id="23" name="object 6">
            <a:extLst>
              <a:ext uri="{FF2B5EF4-FFF2-40B4-BE49-F238E27FC236}">
                <a16:creationId xmlns:a16="http://schemas.microsoft.com/office/drawing/2014/main" id="{35B15152-362B-804E-8180-EB8D98DF2756}"/>
              </a:ext>
            </a:extLst>
          </p:cNvPr>
          <p:cNvSpPr/>
          <p:nvPr userDrawn="1"/>
        </p:nvSpPr>
        <p:spPr>
          <a:xfrm>
            <a:off x="6032536" y="-6350"/>
            <a:ext cx="45719" cy="6864350"/>
          </a:xfrm>
          <a:custGeom>
            <a:avLst/>
            <a:gdLst/>
            <a:ahLst/>
            <a:cxnLst/>
            <a:rect l="l" t="t" r="r" b="b"/>
            <a:pathLst>
              <a:path h="4698365">
                <a:moveTo>
                  <a:pt x="0" y="0"/>
                </a:moveTo>
                <a:lnTo>
                  <a:pt x="0" y="4697996"/>
                </a:lnTo>
              </a:path>
            </a:pathLst>
          </a:custGeom>
          <a:ln w="2540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6" name="Textplatzhalter 20">
            <a:extLst>
              <a:ext uri="{FF2B5EF4-FFF2-40B4-BE49-F238E27FC236}">
                <a16:creationId xmlns:a16="http://schemas.microsoft.com/office/drawing/2014/main" id="{154663BA-8C19-9E4F-A02C-E19A516A7A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966051" y="5877272"/>
            <a:ext cx="3950723" cy="246221"/>
          </a:xfrm>
        </p:spPr>
        <p:txBody>
          <a:bodyPr wrap="square" anchor="b">
            <a:spAutoFit/>
          </a:bodyPr>
          <a:lstStyle>
            <a:lvl1pPr>
              <a:spcBef>
                <a:spcPts val="0"/>
              </a:spcBef>
              <a:defRPr sz="1600" cap="none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Name</a:t>
            </a:r>
          </a:p>
        </p:txBody>
      </p:sp>
      <p:sp>
        <p:nvSpPr>
          <p:cNvPr id="18" name="Datumsplatzhalter 4"/>
          <p:cNvSpPr>
            <a:spLocks noGrp="1"/>
          </p:cNvSpPr>
          <p:nvPr>
            <p:ph type="dt" sz="half" idx="2"/>
          </p:nvPr>
        </p:nvSpPr>
        <p:spPr>
          <a:xfrm>
            <a:off x="2891149" y="6207115"/>
            <a:ext cx="3024831" cy="246221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17" name="Textfeld 16"/>
          <p:cNvSpPr txBox="1"/>
          <p:nvPr userDrawn="1"/>
        </p:nvSpPr>
        <p:spPr>
          <a:xfrm>
            <a:off x="-974191" y="960180"/>
            <a:ext cx="696839" cy="184666"/>
          </a:xfrm>
          <a:prstGeom prst="rect">
            <a:avLst/>
          </a:prstGeom>
          <a:noFill/>
        </p:spPr>
        <p:txBody>
          <a:bodyPr wrap="none" lIns="72000" tIns="0" rIns="72000" bIns="0" rtlCol="0" anchor="ctr">
            <a:spAutoFit/>
          </a:bodyPr>
          <a:lstStyle/>
          <a:p>
            <a:pPr algn="r"/>
            <a:r>
              <a:rPr lang="de-DE" sz="1200" noProof="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extbox</a:t>
            </a:r>
          </a:p>
        </p:txBody>
      </p:sp>
      <p:sp>
        <p:nvSpPr>
          <p:cNvPr id="20" name="Textfeld 19"/>
          <p:cNvSpPr txBox="1"/>
          <p:nvPr userDrawn="1"/>
        </p:nvSpPr>
        <p:spPr>
          <a:xfrm>
            <a:off x="-1014869" y="-381635"/>
            <a:ext cx="990189" cy="184666"/>
          </a:xfrm>
          <a:prstGeom prst="rect">
            <a:avLst/>
          </a:prstGeom>
          <a:noFill/>
        </p:spPr>
        <p:txBody>
          <a:bodyPr wrap="none" lIns="72000" tIns="0" rIns="72000" bIns="0" rtlCol="0" anchor="ctr">
            <a:spAutoFit/>
          </a:bodyPr>
          <a:lstStyle/>
          <a:p>
            <a:pPr algn="r"/>
            <a:r>
              <a:rPr lang="de-DE" sz="1200" noProof="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Vier</a:t>
            </a:r>
            <a:r>
              <a:rPr lang="de-DE" sz="1200" baseline="0" noProof="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  <a:r>
              <a:rPr lang="de-DE" sz="1200" noProof="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Spalten</a:t>
            </a:r>
          </a:p>
        </p:txBody>
      </p:sp>
      <p:sp>
        <p:nvSpPr>
          <p:cNvPr id="22" name="Textfeld 21"/>
          <p:cNvSpPr txBox="1"/>
          <p:nvPr userDrawn="1"/>
        </p:nvSpPr>
        <p:spPr>
          <a:xfrm>
            <a:off x="-1032502" y="-618555"/>
            <a:ext cx="1007822" cy="184666"/>
          </a:xfrm>
          <a:prstGeom prst="rect">
            <a:avLst/>
          </a:prstGeom>
          <a:noFill/>
        </p:spPr>
        <p:txBody>
          <a:bodyPr wrap="none" lIns="72000" tIns="0" rIns="72000" bIns="0" rtlCol="0" anchor="ctr">
            <a:spAutoFit/>
          </a:bodyPr>
          <a:lstStyle/>
          <a:p>
            <a:pPr algn="r"/>
            <a:r>
              <a:rPr lang="de-DE" sz="1200" noProof="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Drei</a:t>
            </a:r>
            <a:r>
              <a:rPr lang="de-DE" sz="1200" baseline="0" noProof="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  <a:r>
              <a:rPr lang="de-DE" sz="1200" noProof="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Spalten</a:t>
            </a:r>
          </a:p>
        </p:txBody>
      </p:sp>
      <p:sp>
        <p:nvSpPr>
          <p:cNvPr id="24" name="Textfeld 23"/>
          <p:cNvSpPr txBox="1"/>
          <p:nvPr userDrawn="1"/>
        </p:nvSpPr>
        <p:spPr>
          <a:xfrm>
            <a:off x="-1067768" y="-855476"/>
            <a:ext cx="1043088" cy="184666"/>
          </a:xfrm>
          <a:prstGeom prst="rect">
            <a:avLst/>
          </a:prstGeom>
          <a:noFill/>
        </p:spPr>
        <p:txBody>
          <a:bodyPr wrap="none" lIns="72000" tIns="0" rIns="72000" bIns="0" rtlCol="0" anchor="ctr">
            <a:spAutoFit/>
          </a:bodyPr>
          <a:lstStyle/>
          <a:p>
            <a:pPr algn="r"/>
            <a:r>
              <a:rPr lang="de-DE" sz="1200" noProof="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Zwei Spalten</a:t>
            </a:r>
          </a:p>
        </p:txBody>
      </p:sp>
      <p:grpSp>
        <p:nvGrpSpPr>
          <p:cNvPr id="25" name="Gruppieren 24"/>
          <p:cNvGrpSpPr/>
          <p:nvPr userDrawn="1"/>
        </p:nvGrpSpPr>
        <p:grpSpPr>
          <a:xfrm>
            <a:off x="-276708" y="-835143"/>
            <a:ext cx="12205181" cy="7972555"/>
            <a:chOff x="-276708" y="-835143"/>
            <a:chExt cx="12205181" cy="7972555"/>
          </a:xfrm>
        </p:grpSpPr>
        <p:cxnSp>
          <p:nvCxnSpPr>
            <p:cNvPr id="27" name="Gerade Verbindung 23"/>
            <p:cNvCxnSpPr/>
            <p:nvPr userDrawn="1"/>
          </p:nvCxnSpPr>
          <p:spPr>
            <a:xfrm rot="5400000" flipV="1">
              <a:off x="-204708" y="980735"/>
              <a:ext cx="0" cy="1440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 Verbindung 24"/>
            <p:cNvCxnSpPr/>
            <p:nvPr userDrawn="1"/>
          </p:nvCxnSpPr>
          <p:spPr>
            <a:xfrm rot="5400000" flipV="1">
              <a:off x="-204708" y="6381336"/>
              <a:ext cx="0" cy="1440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 Verbindung 78"/>
            <p:cNvCxnSpPr/>
            <p:nvPr userDrawn="1"/>
          </p:nvCxnSpPr>
          <p:spPr>
            <a:xfrm>
              <a:off x="259147" y="6993412"/>
              <a:ext cx="0" cy="1440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 Verbindung mit Pfeil 30"/>
            <p:cNvCxnSpPr/>
            <p:nvPr userDrawn="1"/>
          </p:nvCxnSpPr>
          <p:spPr>
            <a:xfrm>
              <a:off x="263525" y="-526222"/>
              <a:ext cx="3492500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 Verbindung mit Pfeil 31"/>
            <p:cNvCxnSpPr/>
            <p:nvPr userDrawn="1"/>
          </p:nvCxnSpPr>
          <p:spPr>
            <a:xfrm>
              <a:off x="4259684" y="-526222"/>
              <a:ext cx="3457154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mit Pfeil 32"/>
            <p:cNvCxnSpPr/>
            <p:nvPr userDrawn="1"/>
          </p:nvCxnSpPr>
          <p:spPr>
            <a:xfrm>
              <a:off x="8220124" y="-526222"/>
              <a:ext cx="3492500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mit Pfeil 33"/>
            <p:cNvCxnSpPr/>
            <p:nvPr userDrawn="1"/>
          </p:nvCxnSpPr>
          <p:spPr>
            <a:xfrm>
              <a:off x="263525" y="-289302"/>
              <a:ext cx="2484438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mit Pfeil 34"/>
            <p:cNvCxnSpPr/>
            <p:nvPr userDrawn="1"/>
          </p:nvCxnSpPr>
          <p:spPr>
            <a:xfrm>
              <a:off x="3251200" y="-289302"/>
              <a:ext cx="2484438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mit Pfeil 35"/>
            <p:cNvCxnSpPr/>
            <p:nvPr userDrawn="1"/>
          </p:nvCxnSpPr>
          <p:spPr>
            <a:xfrm>
              <a:off x="6240462" y="-289302"/>
              <a:ext cx="2484438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 Verbindung mit Pfeil 36"/>
            <p:cNvCxnSpPr/>
            <p:nvPr userDrawn="1"/>
          </p:nvCxnSpPr>
          <p:spPr>
            <a:xfrm>
              <a:off x="9228186" y="-289302"/>
              <a:ext cx="2484438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 Verbindung mit Pfeil 37"/>
            <p:cNvCxnSpPr/>
            <p:nvPr userDrawn="1"/>
          </p:nvCxnSpPr>
          <p:spPr>
            <a:xfrm>
              <a:off x="263525" y="-763143"/>
              <a:ext cx="5472113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 Verbindung mit Pfeil 38"/>
            <p:cNvCxnSpPr/>
            <p:nvPr userDrawn="1"/>
          </p:nvCxnSpPr>
          <p:spPr>
            <a:xfrm>
              <a:off x="6240463" y="-763143"/>
              <a:ext cx="5472161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107"/>
            <p:cNvCxnSpPr/>
            <p:nvPr userDrawn="1"/>
          </p:nvCxnSpPr>
          <p:spPr>
            <a:xfrm>
              <a:off x="2999272" y="-361302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 Verbindung 108"/>
            <p:cNvCxnSpPr/>
            <p:nvPr userDrawn="1"/>
          </p:nvCxnSpPr>
          <p:spPr>
            <a:xfrm>
              <a:off x="5987988" y="-361302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 Verbindung 109"/>
            <p:cNvCxnSpPr/>
            <p:nvPr userDrawn="1"/>
          </p:nvCxnSpPr>
          <p:spPr>
            <a:xfrm>
              <a:off x="8976320" y="-361302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 Verbindung 110"/>
            <p:cNvCxnSpPr/>
            <p:nvPr userDrawn="1"/>
          </p:nvCxnSpPr>
          <p:spPr>
            <a:xfrm>
              <a:off x="7968208" y="-598222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Gerade Verbindung 111"/>
            <p:cNvCxnSpPr/>
            <p:nvPr userDrawn="1"/>
          </p:nvCxnSpPr>
          <p:spPr>
            <a:xfrm>
              <a:off x="4007768" y="-598222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Gerade Verbindung 112"/>
            <p:cNvCxnSpPr/>
            <p:nvPr userDrawn="1"/>
          </p:nvCxnSpPr>
          <p:spPr>
            <a:xfrm>
              <a:off x="5987988" y="-835143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Gerade Verbindung 33"/>
            <p:cNvCxnSpPr/>
            <p:nvPr userDrawn="1"/>
          </p:nvCxnSpPr>
          <p:spPr>
            <a:xfrm rot="5400000" flipV="1">
              <a:off x="-204708" y="826746"/>
              <a:ext cx="0" cy="144000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Gerade Verbindung 34"/>
            <p:cNvCxnSpPr/>
            <p:nvPr userDrawn="1"/>
          </p:nvCxnSpPr>
          <p:spPr>
            <a:xfrm rot="5400000" flipV="1">
              <a:off x="-204708" y="6785999"/>
              <a:ext cx="0" cy="144000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Gerade Verbindung 35"/>
            <p:cNvCxnSpPr/>
            <p:nvPr userDrawn="1"/>
          </p:nvCxnSpPr>
          <p:spPr>
            <a:xfrm rot="10800000" flipV="1">
              <a:off x="11928473" y="-361302"/>
              <a:ext cx="0" cy="144000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38"/>
            <p:cNvCxnSpPr/>
            <p:nvPr userDrawn="1"/>
          </p:nvCxnSpPr>
          <p:spPr>
            <a:xfrm rot="10800000" flipV="1">
              <a:off x="0" y="-361302"/>
              <a:ext cx="0" cy="144000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50" name="Gerade Verbindung 37"/>
          <p:cNvCxnSpPr/>
          <p:nvPr userDrawn="1"/>
        </p:nvCxnSpPr>
        <p:spPr>
          <a:xfrm>
            <a:off x="11712624" y="6993412"/>
            <a:ext cx="0" cy="144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feld 50"/>
          <p:cNvSpPr txBox="1"/>
          <p:nvPr userDrawn="1"/>
        </p:nvSpPr>
        <p:spPr>
          <a:xfrm>
            <a:off x="-1791723" y="799523"/>
            <a:ext cx="1514371" cy="184666"/>
          </a:xfrm>
          <a:prstGeom prst="rect">
            <a:avLst/>
          </a:prstGeom>
          <a:noFill/>
        </p:spPr>
        <p:txBody>
          <a:bodyPr wrap="none" lIns="72000" tIns="0" rIns="72000" bIns="0" rtlCol="0" anchor="ctr">
            <a:spAutoFit/>
          </a:bodyPr>
          <a:lstStyle/>
          <a:p>
            <a:pPr algn="r"/>
            <a:r>
              <a:rPr lang="de-DE" sz="1200" noProof="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abelle</a:t>
            </a:r>
            <a:r>
              <a:rPr lang="de-DE" sz="1200" baseline="0" noProof="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  <a:r>
              <a:rPr lang="de-DE" sz="1200" noProof="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(Vollflächig)</a:t>
            </a:r>
          </a:p>
        </p:txBody>
      </p:sp>
    </p:spTree>
    <p:extLst>
      <p:ext uri="{BB962C8B-B14F-4D97-AF65-F5344CB8AC3E}">
        <p14:creationId xmlns:p14="http://schemas.microsoft.com/office/powerpoint/2010/main" val="199074895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deckbla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702989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de-DE" sz="2800" b="0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cxnSp>
        <p:nvCxnSpPr>
          <p:cNvPr id="13" name="Gerade Verbindung 12"/>
          <p:cNvCxnSpPr/>
          <p:nvPr userDrawn="1"/>
        </p:nvCxnSpPr>
        <p:spPr>
          <a:xfrm>
            <a:off x="0" y="900000"/>
            <a:ext cx="11928475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platzhalter 15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910800"/>
            <a:ext cx="11928472" cy="991792"/>
          </a:xfrm>
          <a:solidFill>
            <a:schemeClr val="bg1"/>
          </a:solidFill>
          <a:effectLst>
            <a:outerShdw dist="27940" dir="5400000" algn="t" rotWithShape="0">
              <a:schemeClr val="tx1"/>
            </a:outerShdw>
          </a:effectLst>
        </p:spPr>
        <p:txBody>
          <a:bodyPr lIns="1170000" tIns="72000" bIns="72000">
            <a:spAutoFit/>
          </a:bodyPr>
          <a:lstStyle>
            <a:lvl1pPr>
              <a:lnSpc>
                <a:spcPts val="6600"/>
              </a:lnSpc>
              <a:defRPr sz="6000" cap="all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Text bearbeiten</a:t>
            </a:r>
          </a:p>
        </p:txBody>
      </p:sp>
      <p:sp>
        <p:nvSpPr>
          <p:cNvPr id="8" name="Textfeld 7"/>
          <p:cNvSpPr txBox="1"/>
          <p:nvPr userDrawn="1"/>
        </p:nvSpPr>
        <p:spPr>
          <a:xfrm rot="16200000">
            <a:off x="8631237" y="3297236"/>
            <a:ext cx="6857999" cy="263527"/>
          </a:xfrm>
          <a:prstGeom prst="rect">
            <a:avLst/>
          </a:prstGeom>
          <a:solidFill>
            <a:schemeClr val="bg2"/>
          </a:solidFill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endParaRPr lang="de-DE" sz="800" kern="1200" spc="-30" baseline="0" dirty="0">
              <a:solidFill>
                <a:schemeClr val="accent5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Textfeld 8"/>
          <p:cNvSpPr txBox="1"/>
          <p:nvPr userDrawn="1"/>
        </p:nvSpPr>
        <p:spPr>
          <a:xfrm rot="16200000">
            <a:off x="11605877" y="322597"/>
            <a:ext cx="908719" cy="263527"/>
          </a:xfrm>
          <a:prstGeom prst="rect">
            <a:avLst/>
          </a:prstGeom>
          <a:noFill/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r>
              <a:rPr lang="de-DE" sz="800" kern="1200" spc="-3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© Rödl &amp; Partner 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4CFEB0D3-1EB3-4F08-8062-95FFB9749870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501898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pfzeile + Fließtextkas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140235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de-DE" sz="2800" b="0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cxnSp>
        <p:nvCxnSpPr>
          <p:cNvPr id="20" name="Gerade Verbindung 19"/>
          <p:cNvCxnSpPr/>
          <p:nvPr userDrawn="1"/>
        </p:nvCxnSpPr>
        <p:spPr>
          <a:xfrm>
            <a:off x="0" y="900000"/>
            <a:ext cx="11928475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defTabSz="355600"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4CFEB0D3-1EB3-4F08-8062-95FFB9749870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Textplatzhalter 14"/>
          <p:cNvSpPr>
            <a:spLocks noGrp="1"/>
          </p:cNvSpPr>
          <p:nvPr>
            <p:ph type="body" sz="quarter" idx="13"/>
          </p:nvPr>
        </p:nvSpPr>
        <p:spPr>
          <a:xfrm>
            <a:off x="263525" y="1058458"/>
            <a:ext cx="11449048" cy="5008968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GB" dirty="0"/>
          </a:p>
        </p:txBody>
      </p:sp>
      <p:sp>
        <p:nvSpPr>
          <p:cNvPr id="11" name="Textplatzhalter 12"/>
          <p:cNvSpPr>
            <a:spLocks noGrp="1"/>
          </p:cNvSpPr>
          <p:nvPr>
            <p:ph type="body" sz="quarter" idx="12" hasCustomPrompt="1"/>
          </p:nvPr>
        </p:nvSpPr>
        <p:spPr>
          <a:xfrm>
            <a:off x="263524" y="6248400"/>
            <a:ext cx="11449049" cy="204788"/>
          </a:xfrm>
        </p:spPr>
        <p:txBody>
          <a:bodyPr vert="horz" lIns="0" tIns="0" rIns="0" bIns="0" rtlCol="0" anchor="b">
            <a:noAutofit/>
          </a:bodyPr>
          <a:lstStyle>
            <a:lvl1pPr>
              <a:defRPr lang="de-DE" sz="1000" dirty="0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Fußnote durch Klicken hinzufügen</a:t>
            </a:r>
          </a:p>
        </p:txBody>
      </p:sp>
    </p:spTree>
    <p:extLst>
      <p:ext uri="{BB962C8B-B14F-4D97-AF65-F5344CB8AC3E}">
        <p14:creationId xmlns:p14="http://schemas.microsoft.com/office/powerpoint/2010/main" val="25099460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ntertitel + Kopfzeile + Fließtextkas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211548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de-DE" sz="2800" b="0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cxnSp>
        <p:nvCxnSpPr>
          <p:cNvPr id="20" name="Gerade Verbindung 19"/>
          <p:cNvCxnSpPr/>
          <p:nvPr userDrawn="1"/>
        </p:nvCxnSpPr>
        <p:spPr>
          <a:xfrm>
            <a:off x="0" y="900000"/>
            <a:ext cx="11928475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3B32DA5B-3025-5D45-A927-BAED7D4FEB3A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263525" y="1052736"/>
            <a:ext cx="11448000" cy="34631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 noProof="0" dirty="0"/>
              <a:t>UNTERTITEL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defTabSz="355600"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4CFEB0D3-1EB3-4F08-8062-95FFB9749870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1" name="Textplatzhalter 12"/>
          <p:cNvSpPr>
            <a:spLocks noGrp="1"/>
          </p:cNvSpPr>
          <p:nvPr>
            <p:ph type="body" sz="quarter" idx="12" hasCustomPrompt="1"/>
          </p:nvPr>
        </p:nvSpPr>
        <p:spPr>
          <a:xfrm>
            <a:off x="263524" y="6248400"/>
            <a:ext cx="11449049" cy="204788"/>
          </a:xfrm>
        </p:spPr>
        <p:txBody>
          <a:bodyPr vert="horz" lIns="0" tIns="0" rIns="0" bIns="0" rtlCol="0" anchor="b">
            <a:noAutofit/>
          </a:bodyPr>
          <a:lstStyle>
            <a:lvl1pPr>
              <a:defRPr lang="de-DE" sz="1000" dirty="0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Fußnote durch Klicken hinzufügen</a:t>
            </a:r>
          </a:p>
        </p:txBody>
      </p:sp>
      <p:sp>
        <p:nvSpPr>
          <p:cNvPr id="13" name="Textplatzhalter 14"/>
          <p:cNvSpPr>
            <a:spLocks noGrp="1"/>
          </p:cNvSpPr>
          <p:nvPr>
            <p:ph type="body" sz="quarter" idx="13"/>
          </p:nvPr>
        </p:nvSpPr>
        <p:spPr>
          <a:xfrm>
            <a:off x="263525" y="1457326"/>
            <a:ext cx="11449048" cy="4610100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3758539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oll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5853840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Bildplatzhalter 5"/>
          <p:cNvSpPr>
            <a:spLocks noGrp="1"/>
          </p:cNvSpPr>
          <p:nvPr>
            <p:ph type="pic" sz="quarter" idx="12"/>
          </p:nvPr>
        </p:nvSpPr>
        <p:spPr>
          <a:xfrm>
            <a:off x="1" y="0"/>
            <a:ext cx="11928472" cy="6858000"/>
          </a:xfrm>
          <a:solidFill>
            <a:schemeClr val="bg2"/>
          </a:solidFill>
        </p:spPr>
        <p:txBody>
          <a:bodyPr lIns="72000" tIns="72000" rIns="72000" bIns="720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16" name="Textfeld 15"/>
          <p:cNvSpPr txBox="1"/>
          <p:nvPr userDrawn="1"/>
        </p:nvSpPr>
        <p:spPr>
          <a:xfrm rot="16200000">
            <a:off x="8631237" y="3297236"/>
            <a:ext cx="6857999" cy="263527"/>
          </a:xfrm>
          <a:prstGeom prst="rect">
            <a:avLst/>
          </a:prstGeom>
          <a:solidFill>
            <a:schemeClr val="bg2"/>
          </a:solidFill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endParaRPr lang="de-DE" sz="800" kern="1200" spc="-30" baseline="0" dirty="0">
              <a:solidFill>
                <a:schemeClr val="accent5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7" name="Textfeld 16"/>
          <p:cNvSpPr txBox="1"/>
          <p:nvPr userDrawn="1"/>
        </p:nvSpPr>
        <p:spPr>
          <a:xfrm rot="16200000">
            <a:off x="11605877" y="322597"/>
            <a:ext cx="908719" cy="263527"/>
          </a:xfrm>
          <a:prstGeom prst="rect">
            <a:avLst/>
          </a:prstGeom>
          <a:noFill/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r>
              <a:rPr lang="de-DE" sz="800" kern="1200" spc="-3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© Rödl &amp; Partner 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4CFEB0D3-1EB3-4F08-8062-95FFB9749870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8337678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deckblat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/>
          <p:cNvSpPr/>
          <p:nvPr userDrawn="1"/>
        </p:nvSpPr>
        <p:spPr>
          <a:xfrm>
            <a:off x="-794" y="0"/>
            <a:ext cx="12193588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" name="object 4">
            <a:extLst>
              <a:ext uri="{FF2B5EF4-FFF2-40B4-BE49-F238E27FC236}">
                <a16:creationId xmlns:a16="http://schemas.microsoft.com/office/drawing/2014/main" id="{880C4227-47B7-694C-8443-CF01E2AE097C}"/>
              </a:ext>
            </a:extLst>
          </p:cNvPr>
          <p:cNvSpPr/>
          <p:nvPr userDrawn="1"/>
        </p:nvSpPr>
        <p:spPr>
          <a:xfrm>
            <a:off x="2681" y="899998"/>
            <a:ext cx="12193200" cy="158460"/>
          </a:xfrm>
          <a:custGeom>
            <a:avLst/>
            <a:gdLst/>
            <a:ahLst/>
            <a:cxnLst/>
            <a:rect l="l" t="t" r="r" b="b"/>
            <a:pathLst>
              <a:path w="12192635">
                <a:moveTo>
                  <a:pt x="0" y="0"/>
                </a:moveTo>
                <a:lnTo>
                  <a:pt x="12192113" y="0"/>
                </a:lnTo>
              </a:path>
            </a:pathLst>
          </a:custGeom>
          <a:ln w="28575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938832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feld 7"/>
          <p:cNvSpPr txBox="1"/>
          <p:nvPr userDrawn="1"/>
        </p:nvSpPr>
        <p:spPr>
          <a:xfrm rot="16200000">
            <a:off x="8631237" y="3297236"/>
            <a:ext cx="6857999" cy="263527"/>
          </a:xfrm>
          <a:prstGeom prst="rect">
            <a:avLst/>
          </a:prstGeom>
          <a:solidFill>
            <a:schemeClr val="bg2"/>
          </a:solidFill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endParaRPr lang="de-DE" sz="800" kern="1200" spc="-30" baseline="0" dirty="0">
              <a:solidFill>
                <a:schemeClr val="accent5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Textfeld 8"/>
          <p:cNvSpPr txBox="1"/>
          <p:nvPr userDrawn="1"/>
        </p:nvSpPr>
        <p:spPr>
          <a:xfrm rot="16200000">
            <a:off x="11605877" y="322597"/>
            <a:ext cx="908719" cy="263527"/>
          </a:xfrm>
          <a:prstGeom prst="rect">
            <a:avLst/>
          </a:prstGeom>
          <a:noFill/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r>
              <a:rPr lang="de-DE" sz="800" kern="1200" spc="-3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© Rödl &amp; Partner </a:t>
            </a:r>
          </a:p>
        </p:txBody>
      </p:sp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>
          <a:xfrm>
            <a:off x="263525" y="260648"/>
            <a:ext cx="11449049" cy="396000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de-DE" dirty="0" err="1"/>
              <a:t>kapitel</a:t>
            </a:r>
            <a:endParaRPr lang="en-GB" dirty="0"/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4CFEB0D3-1EB3-4F08-8062-95FFB9749870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8526209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deckblat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/>
          <p:cNvSpPr/>
          <p:nvPr userDrawn="1"/>
        </p:nvSpPr>
        <p:spPr>
          <a:xfrm>
            <a:off x="-794" y="0"/>
            <a:ext cx="12193588" cy="89999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" name="object 4">
            <a:extLst>
              <a:ext uri="{FF2B5EF4-FFF2-40B4-BE49-F238E27FC236}">
                <a16:creationId xmlns:a16="http://schemas.microsoft.com/office/drawing/2014/main" id="{880C4227-47B7-694C-8443-CF01E2AE097C}"/>
              </a:ext>
            </a:extLst>
          </p:cNvPr>
          <p:cNvSpPr/>
          <p:nvPr userDrawn="1"/>
        </p:nvSpPr>
        <p:spPr>
          <a:xfrm>
            <a:off x="2681" y="899998"/>
            <a:ext cx="12193200" cy="158460"/>
          </a:xfrm>
          <a:custGeom>
            <a:avLst/>
            <a:gdLst/>
            <a:ahLst/>
            <a:cxnLst/>
            <a:rect l="l" t="t" r="r" b="b"/>
            <a:pathLst>
              <a:path w="12192635">
                <a:moveTo>
                  <a:pt x="0" y="0"/>
                </a:moveTo>
                <a:lnTo>
                  <a:pt x="12192113" y="0"/>
                </a:lnTo>
              </a:path>
            </a:pathLst>
          </a:custGeom>
          <a:ln w="28575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946894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feld 7"/>
          <p:cNvSpPr txBox="1"/>
          <p:nvPr userDrawn="1"/>
        </p:nvSpPr>
        <p:spPr>
          <a:xfrm rot="16200000">
            <a:off x="8631237" y="3297236"/>
            <a:ext cx="6857999" cy="263527"/>
          </a:xfrm>
          <a:prstGeom prst="rect">
            <a:avLst/>
          </a:prstGeom>
          <a:solidFill>
            <a:schemeClr val="bg2"/>
          </a:solidFill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endParaRPr lang="de-DE" sz="800" kern="1200" spc="-30" baseline="0" dirty="0">
              <a:solidFill>
                <a:schemeClr val="accent5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Textfeld 8"/>
          <p:cNvSpPr txBox="1"/>
          <p:nvPr userDrawn="1"/>
        </p:nvSpPr>
        <p:spPr>
          <a:xfrm rot="16200000">
            <a:off x="11605877" y="322597"/>
            <a:ext cx="908719" cy="263527"/>
          </a:xfrm>
          <a:prstGeom prst="rect">
            <a:avLst/>
          </a:prstGeom>
          <a:noFill/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r>
              <a:rPr lang="de-DE" sz="800" kern="1200" spc="-3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© Rödl &amp; Partner </a:t>
            </a:r>
          </a:p>
        </p:txBody>
      </p:sp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>
          <a:xfrm>
            <a:off x="263525" y="260648"/>
            <a:ext cx="11449049" cy="396000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de-DE" dirty="0" err="1"/>
              <a:t>kapitel</a:t>
            </a:r>
            <a:endParaRPr lang="en-GB" dirty="0"/>
          </a:p>
        </p:txBody>
      </p:sp>
      <p:sp>
        <p:nvSpPr>
          <p:cNvPr id="17" name="Foliennummernplatzhalter 1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4CFEB0D3-1EB3-4F08-8062-95FFB9749870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01408522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pfzeile Untertitel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platzhalter 14"/>
          <p:cNvSpPr>
            <a:spLocks noGrp="1"/>
          </p:cNvSpPr>
          <p:nvPr>
            <p:ph type="body" sz="quarter" idx="13"/>
          </p:nvPr>
        </p:nvSpPr>
        <p:spPr>
          <a:xfrm>
            <a:off x="263525" y="1457326"/>
            <a:ext cx="11449048" cy="4610100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GB" dirty="0"/>
          </a:p>
        </p:txBody>
      </p:sp>
      <p:sp>
        <p:nvSpPr>
          <p:cNvPr id="5" name="Rechteck 4"/>
          <p:cNvSpPr/>
          <p:nvPr userDrawn="1"/>
        </p:nvSpPr>
        <p:spPr>
          <a:xfrm>
            <a:off x="-794" y="0"/>
            <a:ext cx="12193588" cy="89999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" name="object 4">
            <a:extLst>
              <a:ext uri="{FF2B5EF4-FFF2-40B4-BE49-F238E27FC236}">
                <a16:creationId xmlns:a16="http://schemas.microsoft.com/office/drawing/2014/main" id="{880C4227-47B7-694C-8443-CF01E2AE097C}"/>
              </a:ext>
            </a:extLst>
          </p:cNvPr>
          <p:cNvSpPr/>
          <p:nvPr userDrawn="1"/>
        </p:nvSpPr>
        <p:spPr>
          <a:xfrm>
            <a:off x="2681" y="899998"/>
            <a:ext cx="12193200" cy="158460"/>
          </a:xfrm>
          <a:custGeom>
            <a:avLst/>
            <a:gdLst/>
            <a:ahLst/>
            <a:cxnLst/>
            <a:rect l="l" t="t" r="r" b="b"/>
            <a:pathLst>
              <a:path w="12192635">
                <a:moveTo>
                  <a:pt x="0" y="0"/>
                </a:moveTo>
                <a:lnTo>
                  <a:pt x="12192113" y="0"/>
                </a:lnTo>
              </a:path>
            </a:pathLst>
          </a:custGeom>
          <a:ln w="28575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405226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feld 7"/>
          <p:cNvSpPr txBox="1"/>
          <p:nvPr userDrawn="1"/>
        </p:nvSpPr>
        <p:spPr>
          <a:xfrm rot="16200000">
            <a:off x="8631237" y="3297236"/>
            <a:ext cx="6857999" cy="263527"/>
          </a:xfrm>
          <a:prstGeom prst="rect">
            <a:avLst/>
          </a:prstGeom>
          <a:solidFill>
            <a:schemeClr val="bg2"/>
          </a:solidFill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endParaRPr lang="de-DE" sz="800" kern="1200" spc="-30" baseline="0" dirty="0">
              <a:solidFill>
                <a:schemeClr val="accent5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Textfeld 8"/>
          <p:cNvSpPr txBox="1"/>
          <p:nvPr userDrawn="1"/>
        </p:nvSpPr>
        <p:spPr>
          <a:xfrm rot="16200000">
            <a:off x="11605877" y="322597"/>
            <a:ext cx="908719" cy="263527"/>
          </a:xfrm>
          <a:prstGeom prst="rect">
            <a:avLst/>
          </a:prstGeom>
          <a:noFill/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r>
              <a:rPr lang="de-DE" sz="800" kern="1200" spc="-3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© Rödl &amp; Partner </a:t>
            </a:r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>
          <a:xfrm>
            <a:off x="263525" y="260648"/>
            <a:ext cx="11449049" cy="396000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263525" y="1065214"/>
            <a:ext cx="11449048" cy="288000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Untertitel durch Klicken hinzufügen</a:t>
            </a:r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2" hasCustomPrompt="1"/>
          </p:nvPr>
        </p:nvSpPr>
        <p:spPr>
          <a:xfrm>
            <a:off x="263524" y="6248400"/>
            <a:ext cx="11449049" cy="204788"/>
          </a:xfrm>
        </p:spPr>
        <p:txBody>
          <a:bodyPr vert="horz" lIns="0" tIns="0" rIns="0" bIns="0" rtlCol="0" anchor="b">
            <a:noAutofit/>
          </a:bodyPr>
          <a:lstStyle>
            <a:lvl1pPr>
              <a:defRPr lang="de-DE" sz="1000" dirty="0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Fußnote durch Klicken hinzufügen</a:t>
            </a:r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4CFEB0D3-1EB3-4F08-8062-95FFB9749870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0274397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pfzeile Untertitel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/>
          <p:cNvSpPr/>
          <p:nvPr userDrawn="1"/>
        </p:nvSpPr>
        <p:spPr>
          <a:xfrm>
            <a:off x="-794" y="0"/>
            <a:ext cx="12193588" cy="89999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" name="object 4">
            <a:extLst>
              <a:ext uri="{FF2B5EF4-FFF2-40B4-BE49-F238E27FC236}">
                <a16:creationId xmlns:a16="http://schemas.microsoft.com/office/drawing/2014/main" id="{880C4227-47B7-694C-8443-CF01E2AE097C}"/>
              </a:ext>
            </a:extLst>
          </p:cNvPr>
          <p:cNvSpPr/>
          <p:nvPr userDrawn="1"/>
        </p:nvSpPr>
        <p:spPr>
          <a:xfrm>
            <a:off x="2681" y="899998"/>
            <a:ext cx="12193200" cy="158460"/>
          </a:xfrm>
          <a:custGeom>
            <a:avLst/>
            <a:gdLst/>
            <a:ahLst/>
            <a:cxnLst/>
            <a:rect l="l" t="t" r="r" b="b"/>
            <a:pathLst>
              <a:path w="12192635">
                <a:moveTo>
                  <a:pt x="0" y="0"/>
                </a:moveTo>
                <a:lnTo>
                  <a:pt x="12192113" y="0"/>
                </a:lnTo>
              </a:path>
            </a:pathLst>
          </a:custGeom>
          <a:ln w="28575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485737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feld 7"/>
          <p:cNvSpPr txBox="1"/>
          <p:nvPr userDrawn="1"/>
        </p:nvSpPr>
        <p:spPr>
          <a:xfrm rot="16200000">
            <a:off x="8631237" y="3297236"/>
            <a:ext cx="6857999" cy="263527"/>
          </a:xfrm>
          <a:prstGeom prst="rect">
            <a:avLst/>
          </a:prstGeom>
          <a:solidFill>
            <a:schemeClr val="bg2"/>
          </a:solidFill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endParaRPr lang="de-DE" sz="800" kern="1200" spc="-30" baseline="0" dirty="0">
              <a:solidFill>
                <a:schemeClr val="accent5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Textfeld 8"/>
          <p:cNvSpPr txBox="1"/>
          <p:nvPr userDrawn="1"/>
        </p:nvSpPr>
        <p:spPr>
          <a:xfrm rot="16200000">
            <a:off x="11605877" y="322597"/>
            <a:ext cx="908719" cy="263527"/>
          </a:xfrm>
          <a:prstGeom prst="rect">
            <a:avLst/>
          </a:prstGeom>
          <a:noFill/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r>
              <a:rPr lang="de-DE" sz="800" kern="1200" spc="-3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© Rödl &amp; Partner </a:t>
            </a:r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>
          <a:xfrm>
            <a:off x="263525" y="260648"/>
            <a:ext cx="11449049" cy="396000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263525" y="1065214"/>
            <a:ext cx="11449048" cy="288000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Untertitel durch Klicken hinzufügen</a:t>
            </a:r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4CFEB0D3-1EB3-4F08-8062-95FFB9749870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49588172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pfzeile farbig Untertitel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platzhalter 14"/>
          <p:cNvSpPr>
            <a:spLocks noGrp="1"/>
          </p:cNvSpPr>
          <p:nvPr>
            <p:ph type="body" sz="quarter" idx="13"/>
          </p:nvPr>
        </p:nvSpPr>
        <p:spPr>
          <a:xfrm>
            <a:off x="263525" y="1457326"/>
            <a:ext cx="11449048" cy="4610100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GB" dirty="0"/>
          </a:p>
        </p:txBody>
      </p:sp>
      <p:sp>
        <p:nvSpPr>
          <p:cNvPr id="12" name="object 4">
            <a:extLst>
              <a:ext uri="{FF2B5EF4-FFF2-40B4-BE49-F238E27FC236}">
                <a16:creationId xmlns:a16="http://schemas.microsoft.com/office/drawing/2014/main" id="{880C4227-47B7-694C-8443-CF01E2AE097C}"/>
              </a:ext>
            </a:extLst>
          </p:cNvPr>
          <p:cNvSpPr/>
          <p:nvPr userDrawn="1"/>
        </p:nvSpPr>
        <p:spPr>
          <a:xfrm>
            <a:off x="2681" y="899998"/>
            <a:ext cx="12193200" cy="158460"/>
          </a:xfrm>
          <a:custGeom>
            <a:avLst/>
            <a:gdLst/>
            <a:ahLst/>
            <a:cxnLst/>
            <a:rect l="l" t="t" r="r" b="b"/>
            <a:pathLst>
              <a:path w="12192635">
                <a:moveTo>
                  <a:pt x="0" y="0"/>
                </a:moveTo>
                <a:lnTo>
                  <a:pt x="12192113" y="0"/>
                </a:lnTo>
              </a:path>
            </a:pathLst>
          </a:custGeom>
          <a:ln w="28575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157361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feld 7"/>
          <p:cNvSpPr txBox="1"/>
          <p:nvPr userDrawn="1"/>
        </p:nvSpPr>
        <p:spPr>
          <a:xfrm rot="16200000">
            <a:off x="8631237" y="3297236"/>
            <a:ext cx="6857999" cy="263527"/>
          </a:xfrm>
          <a:prstGeom prst="rect">
            <a:avLst/>
          </a:prstGeom>
          <a:solidFill>
            <a:schemeClr val="bg2"/>
          </a:solidFill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endParaRPr lang="de-DE" sz="800" kern="1200" spc="-30" baseline="0" dirty="0">
              <a:solidFill>
                <a:schemeClr val="accent5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Textfeld 8"/>
          <p:cNvSpPr txBox="1"/>
          <p:nvPr userDrawn="1"/>
        </p:nvSpPr>
        <p:spPr>
          <a:xfrm rot="16200000">
            <a:off x="11605877" y="322597"/>
            <a:ext cx="908719" cy="263527"/>
          </a:xfrm>
          <a:prstGeom prst="rect">
            <a:avLst/>
          </a:prstGeom>
          <a:noFill/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r>
              <a:rPr lang="de-DE" sz="800" kern="1200" spc="-3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© Rödl &amp; Partner </a:t>
            </a:r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>
          <a:xfrm>
            <a:off x="263525" y="260648"/>
            <a:ext cx="11449049" cy="396000"/>
          </a:xfrm>
        </p:spPr>
        <p:txBody>
          <a:bodyPr/>
          <a:lstStyle>
            <a:lvl1pPr>
              <a:defRPr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263525" y="1065214"/>
            <a:ext cx="11449048" cy="288000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Untertitel durch Klicken hinzufügen</a:t>
            </a:r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2" hasCustomPrompt="1"/>
          </p:nvPr>
        </p:nvSpPr>
        <p:spPr>
          <a:xfrm>
            <a:off x="263524" y="6248400"/>
            <a:ext cx="11449049" cy="204788"/>
          </a:xfrm>
        </p:spPr>
        <p:txBody>
          <a:bodyPr vert="horz" lIns="0" tIns="0" rIns="0" bIns="0" rtlCol="0" anchor="b">
            <a:noAutofit/>
          </a:bodyPr>
          <a:lstStyle>
            <a:lvl1pPr>
              <a:defRPr lang="de-DE" sz="1000" dirty="0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Fußnote durch Klicken hinzufügen</a:t>
            </a:r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4CFEB0D3-1EB3-4F08-8062-95FFB9749870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5777077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deckblat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/>
          <p:cNvSpPr/>
          <p:nvPr userDrawn="1"/>
        </p:nvSpPr>
        <p:spPr>
          <a:xfrm>
            <a:off x="-794" y="0"/>
            <a:ext cx="12193588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" name="object 4">
            <a:extLst>
              <a:ext uri="{FF2B5EF4-FFF2-40B4-BE49-F238E27FC236}">
                <a16:creationId xmlns:a16="http://schemas.microsoft.com/office/drawing/2014/main" id="{880C4227-47B7-694C-8443-CF01E2AE097C}"/>
              </a:ext>
            </a:extLst>
          </p:cNvPr>
          <p:cNvSpPr/>
          <p:nvPr userDrawn="1"/>
        </p:nvSpPr>
        <p:spPr>
          <a:xfrm>
            <a:off x="2681" y="899998"/>
            <a:ext cx="12193200" cy="158460"/>
          </a:xfrm>
          <a:custGeom>
            <a:avLst/>
            <a:gdLst/>
            <a:ahLst/>
            <a:cxnLst/>
            <a:rect l="l" t="t" r="r" b="b"/>
            <a:pathLst>
              <a:path w="12192635">
                <a:moveTo>
                  <a:pt x="0" y="0"/>
                </a:moveTo>
                <a:lnTo>
                  <a:pt x="12192113" y="0"/>
                </a:lnTo>
              </a:path>
            </a:pathLst>
          </a:custGeom>
          <a:ln w="28575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923424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feld 7"/>
          <p:cNvSpPr txBox="1"/>
          <p:nvPr userDrawn="1"/>
        </p:nvSpPr>
        <p:spPr>
          <a:xfrm rot="16200000">
            <a:off x="8631237" y="3297236"/>
            <a:ext cx="6857999" cy="263527"/>
          </a:xfrm>
          <a:prstGeom prst="rect">
            <a:avLst/>
          </a:prstGeom>
          <a:solidFill>
            <a:schemeClr val="bg2"/>
          </a:solidFill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endParaRPr lang="de-DE" sz="800" kern="1200" spc="-30" baseline="0" dirty="0">
              <a:solidFill>
                <a:schemeClr val="accent5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Textfeld 8"/>
          <p:cNvSpPr txBox="1"/>
          <p:nvPr userDrawn="1"/>
        </p:nvSpPr>
        <p:spPr>
          <a:xfrm rot="16200000">
            <a:off x="11605877" y="322597"/>
            <a:ext cx="908719" cy="263527"/>
          </a:xfrm>
          <a:prstGeom prst="rect">
            <a:avLst/>
          </a:prstGeom>
          <a:noFill/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r>
              <a:rPr lang="de-DE" sz="800" kern="1200" spc="-3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© Rödl &amp; Partner </a:t>
            </a:r>
          </a:p>
        </p:txBody>
      </p:sp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>
          <a:xfrm>
            <a:off x="263525" y="260648"/>
            <a:ext cx="11449049" cy="396000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de-DE" dirty="0" err="1"/>
              <a:t>kapitel</a:t>
            </a:r>
            <a:endParaRPr lang="en-GB" dirty="0"/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4CFEB0D3-1EB3-4F08-8062-95FFB9749870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3956716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instiegsfolie_Bild hoch 30%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 userDrawn="1"/>
        </p:nvSpPr>
        <p:spPr>
          <a:xfrm>
            <a:off x="-794" y="0"/>
            <a:ext cx="12193588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Rechteck 2"/>
          <p:cNvSpPr/>
          <p:nvPr userDrawn="1"/>
        </p:nvSpPr>
        <p:spPr>
          <a:xfrm>
            <a:off x="8004212" y="0"/>
            <a:ext cx="3924261" cy="3140968"/>
          </a:xfrm>
          <a:prstGeom prst="rect">
            <a:avLst/>
          </a:prstGeom>
          <a:solidFill>
            <a:schemeClr val="bg1"/>
          </a:solidFill>
          <a:ln w="28575" cmpd="sng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16000" indent="-216000" algn="l">
              <a:buFont typeface="Arial" panose="020B0604020202020204" pitchFamily="34" charset="0"/>
              <a:buChar char="•"/>
            </a:pPr>
            <a:endParaRPr lang="de-DE" sz="1600" dirty="0" err="1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612621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154" name="Picture 10"/>
          <p:cNvPicPr>
            <a:picLocks noChangeAspect="1" noChangeArrowheads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63352" y="200024"/>
            <a:ext cx="4018011" cy="532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6" name="Textplatzhalter 20"/>
          <p:cNvSpPr>
            <a:spLocks noGrp="1"/>
          </p:cNvSpPr>
          <p:nvPr>
            <p:ph type="body" sz="quarter" idx="12" hasCustomPrompt="1"/>
          </p:nvPr>
        </p:nvSpPr>
        <p:spPr>
          <a:xfrm>
            <a:off x="1966051" y="5048632"/>
            <a:ext cx="5724000" cy="320088"/>
          </a:xfrm>
        </p:spPr>
        <p:txBody>
          <a:bodyPr wrap="square" anchor="b">
            <a:spAutoFit/>
          </a:bodyPr>
          <a:lstStyle>
            <a:lvl1pPr>
              <a:lnSpc>
                <a:spcPct val="130000"/>
              </a:lnSpc>
              <a:spcBef>
                <a:spcPts val="0"/>
              </a:spcBef>
              <a:defRPr sz="1600" cap="all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Untertitel durch Klicken bearbeiten</a:t>
            </a:r>
          </a:p>
        </p:txBody>
      </p:sp>
      <p:sp>
        <p:nvSpPr>
          <p:cNvPr id="28" name="Textplatzhalter 20"/>
          <p:cNvSpPr>
            <a:spLocks noGrp="1"/>
          </p:cNvSpPr>
          <p:nvPr>
            <p:ph type="body" sz="quarter" idx="13" hasCustomPrompt="1"/>
          </p:nvPr>
        </p:nvSpPr>
        <p:spPr>
          <a:xfrm>
            <a:off x="1966051" y="6207115"/>
            <a:ext cx="3950723" cy="246221"/>
          </a:xfrm>
        </p:spPr>
        <p:txBody>
          <a:bodyPr wrap="square" anchor="b">
            <a:spAutoFit/>
          </a:bodyPr>
          <a:lstStyle>
            <a:lvl1pPr>
              <a:spcBef>
                <a:spcPts val="0"/>
              </a:spcBef>
              <a:defRPr sz="1600" cap="none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Ort,</a:t>
            </a:r>
          </a:p>
        </p:txBody>
      </p:sp>
      <p:sp>
        <p:nvSpPr>
          <p:cNvPr id="19" name="object 4">
            <a:extLst>
              <a:ext uri="{FF2B5EF4-FFF2-40B4-BE49-F238E27FC236}">
                <a16:creationId xmlns:a16="http://schemas.microsoft.com/office/drawing/2014/main" id="{F1407FCD-A98D-8D4C-BAEA-A83B72042659}"/>
              </a:ext>
            </a:extLst>
          </p:cNvPr>
          <p:cNvSpPr/>
          <p:nvPr userDrawn="1"/>
        </p:nvSpPr>
        <p:spPr>
          <a:xfrm>
            <a:off x="0" y="899999"/>
            <a:ext cx="12192635" cy="0"/>
          </a:xfrm>
          <a:custGeom>
            <a:avLst/>
            <a:gdLst/>
            <a:ahLst/>
            <a:cxnLst/>
            <a:rect l="l" t="t" r="r" b="b"/>
            <a:pathLst>
              <a:path w="12192635">
                <a:moveTo>
                  <a:pt x="0" y="0"/>
                </a:moveTo>
                <a:lnTo>
                  <a:pt x="12192113" y="0"/>
                </a:lnTo>
              </a:path>
            </a:pathLst>
          </a:custGeom>
          <a:ln w="28575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1" name="object 6">
            <a:extLst>
              <a:ext uri="{FF2B5EF4-FFF2-40B4-BE49-F238E27FC236}">
                <a16:creationId xmlns:a16="http://schemas.microsoft.com/office/drawing/2014/main" id="{7A6E9864-542A-6F4C-965E-7D2AEBA2E01D}"/>
              </a:ext>
            </a:extLst>
          </p:cNvPr>
          <p:cNvSpPr/>
          <p:nvPr userDrawn="1"/>
        </p:nvSpPr>
        <p:spPr>
          <a:xfrm>
            <a:off x="1710074" y="1674000"/>
            <a:ext cx="45719" cy="5184000"/>
          </a:xfrm>
          <a:custGeom>
            <a:avLst/>
            <a:gdLst/>
            <a:ahLst/>
            <a:cxnLst/>
            <a:rect l="l" t="t" r="r" b="b"/>
            <a:pathLst>
              <a:path h="4698365">
                <a:moveTo>
                  <a:pt x="0" y="0"/>
                </a:moveTo>
                <a:lnTo>
                  <a:pt x="0" y="4697996"/>
                </a:lnTo>
              </a:path>
            </a:pathLst>
          </a:custGeom>
          <a:ln w="285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4" name="Bildplatzhalter 13"/>
          <p:cNvSpPr>
            <a:spLocks noGrp="1"/>
          </p:cNvSpPr>
          <p:nvPr>
            <p:ph type="pic" sz="quarter" idx="17"/>
          </p:nvPr>
        </p:nvSpPr>
        <p:spPr>
          <a:xfrm>
            <a:off x="7915200" y="0"/>
            <a:ext cx="4276800" cy="6858000"/>
          </a:xfrm>
          <a:solidFill>
            <a:schemeClr val="bg2"/>
          </a:solidFill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3" name="object 6">
            <a:extLst>
              <a:ext uri="{FF2B5EF4-FFF2-40B4-BE49-F238E27FC236}">
                <a16:creationId xmlns:a16="http://schemas.microsoft.com/office/drawing/2014/main" id="{35B15152-362B-804E-8180-EB8D98DF2756}"/>
              </a:ext>
            </a:extLst>
          </p:cNvPr>
          <p:cNvSpPr/>
          <p:nvPr userDrawn="1"/>
        </p:nvSpPr>
        <p:spPr>
          <a:xfrm>
            <a:off x="7897200" y="-6350"/>
            <a:ext cx="45719" cy="6864350"/>
          </a:xfrm>
          <a:custGeom>
            <a:avLst/>
            <a:gdLst/>
            <a:ahLst/>
            <a:cxnLst/>
            <a:rect l="l" t="t" r="r" b="b"/>
            <a:pathLst>
              <a:path h="4698365">
                <a:moveTo>
                  <a:pt x="0" y="0"/>
                </a:moveTo>
                <a:lnTo>
                  <a:pt x="0" y="4697996"/>
                </a:lnTo>
              </a:path>
            </a:pathLst>
          </a:custGeom>
          <a:ln w="2540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5" name="Textplatzhalter 15"/>
          <p:cNvSpPr>
            <a:spLocks noGrp="1"/>
          </p:cNvSpPr>
          <p:nvPr>
            <p:ph type="body" sz="quarter" idx="14" hasCustomPrompt="1"/>
          </p:nvPr>
        </p:nvSpPr>
        <p:spPr>
          <a:xfrm>
            <a:off x="-16405" y="944724"/>
            <a:ext cx="7902000" cy="1538883"/>
          </a:xfrm>
          <a:solidFill>
            <a:schemeClr val="tx2"/>
          </a:solidFill>
          <a:effectLst>
            <a:outerShdw dist="27940" dir="5400000" algn="t" rotWithShape="0">
              <a:prstClr val="black"/>
            </a:outerShdw>
          </a:effectLst>
        </p:spPr>
        <p:txBody>
          <a:bodyPr wrap="square" lIns="234000" rIns="144000" bIns="0">
            <a:sp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5000" cap="all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Titel durch klicken hinzufügen</a:t>
            </a:r>
          </a:p>
        </p:txBody>
      </p:sp>
      <p:sp>
        <p:nvSpPr>
          <p:cNvPr id="17" name="Textplatzhalter 20">
            <a:extLst>
              <a:ext uri="{FF2B5EF4-FFF2-40B4-BE49-F238E27FC236}">
                <a16:creationId xmlns:a16="http://schemas.microsoft.com/office/drawing/2014/main" id="{933EB4BE-B7DA-FF4C-B744-5423D0C89B3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966051" y="5877272"/>
            <a:ext cx="3950723" cy="246221"/>
          </a:xfrm>
        </p:spPr>
        <p:txBody>
          <a:bodyPr wrap="square" anchor="b">
            <a:spAutoFit/>
          </a:bodyPr>
          <a:lstStyle>
            <a:lvl1pPr>
              <a:spcBef>
                <a:spcPts val="0"/>
              </a:spcBef>
              <a:defRPr sz="1600" cap="none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Name</a:t>
            </a:r>
          </a:p>
        </p:txBody>
      </p:sp>
      <p:sp>
        <p:nvSpPr>
          <p:cNvPr id="18" name="Datumsplatzhalter 4"/>
          <p:cNvSpPr>
            <a:spLocks noGrp="1"/>
          </p:cNvSpPr>
          <p:nvPr>
            <p:ph type="dt" sz="half" idx="2"/>
          </p:nvPr>
        </p:nvSpPr>
        <p:spPr>
          <a:xfrm>
            <a:off x="2891149" y="6207115"/>
            <a:ext cx="3025625" cy="246221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16" name="Textfeld 15"/>
          <p:cNvSpPr txBox="1"/>
          <p:nvPr userDrawn="1"/>
        </p:nvSpPr>
        <p:spPr>
          <a:xfrm>
            <a:off x="-974191" y="960180"/>
            <a:ext cx="696839" cy="184666"/>
          </a:xfrm>
          <a:prstGeom prst="rect">
            <a:avLst/>
          </a:prstGeom>
          <a:noFill/>
        </p:spPr>
        <p:txBody>
          <a:bodyPr wrap="none" lIns="72000" tIns="0" rIns="72000" bIns="0" rtlCol="0" anchor="ctr">
            <a:spAutoFit/>
          </a:bodyPr>
          <a:lstStyle/>
          <a:p>
            <a:pPr algn="r"/>
            <a:r>
              <a:rPr lang="de-DE" sz="1200" noProof="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extbox</a:t>
            </a:r>
          </a:p>
        </p:txBody>
      </p:sp>
      <p:sp>
        <p:nvSpPr>
          <p:cNvPr id="20" name="Textfeld 19"/>
          <p:cNvSpPr txBox="1"/>
          <p:nvPr userDrawn="1"/>
        </p:nvSpPr>
        <p:spPr>
          <a:xfrm>
            <a:off x="-1014869" y="-381635"/>
            <a:ext cx="990189" cy="184666"/>
          </a:xfrm>
          <a:prstGeom prst="rect">
            <a:avLst/>
          </a:prstGeom>
          <a:noFill/>
        </p:spPr>
        <p:txBody>
          <a:bodyPr wrap="none" lIns="72000" tIns="0" rIns="72000" bIns="0" rtlCol="0" anchor="ctr">
            <a:spAutoFit/>
          </a:bodyPr>
          <a:lstStyle/>
          <a:p>
            <a:pPr algn="r"/>
            <a:r>
              <a:rPr lang="de-DE" sz="1200" noProof="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Vier</a:t>
            </a:r>
            <a:r>
              <a:rPr lang="de-DE" sz="1200" baseline="0" noProof="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  <a:r>
              <a:rPr lang="de-DE" sz="1200" noProof="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Spalten</a:t>
            </a:r>
          </a:p>
        </p:txBody>
      </p:sp>
      <p:sp>
        <p:nvSpPr>
          <p:cNvPr id="22" name="Textfeld 21"/>
          <p:cNvSpPr txBox="1"/>
          <p:nvPr userDrawn="1"/>
        </p:nvSpPr>
        <p:spPr>
          <a:xfrm>
            <a:off x="-1032502" y="-618555"/>
            <a:ext cx="1007822" cy="184666"/>
          </a:xfrm>
          <a:prstGeom prst="rect">
            <a:avLst/>
          </a:prstGeom>
          <a:noFill/>
        </p:spPr>
        <p:txBody>
          <a:bodyPr wrap="none" lIns="72000" tIns="0" rIns="72000" bIns="0" rtlCol="0" anchor="ctr">
            <a:spAutoFit/>
          </a:bodyPr>
          <a:lstStyle/>
          <a:p>
            <a:pPr algn="r"/>
            <a:r>
              <a:rPr lang="de-DE" sz="1200" noProof="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Drei</a:t>
            </a:r>
            <a:r>
              <a:rPr lang="de-DE" sz="1200" baseline="0" noProof="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  <a:r>
              <a:rPr lang="de-DE" sz="1200" noProof="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Spalten</a:t>
            </a:r>
          </a:p>
        </p:txBody>
      </p:sp>
      <p:sp>
        <p:nvSpPr>
          <p:cNvPr id="24" name="Textfeld 23"/>
          <p:cNvSpPr txBox="1"/>
          <p:nvPr userDrawn="1"/>
        </p:nvSpPr>
        <p:spPr>
          <a:xfrm>
            <a:off x="-1067768" y="-855476"/>
            <a:ext cx="1043088" cy="184666"/>
          </a:xfrm>
          <a:prstGeom prst="rect">
            <a:avLst/>
          </a:prstGeom>
          <a:noFill/>
        </p:spPr>
        <p:txBody>
          <a:bodyPr wrap="none" lIns="72000" tIns="0" rIns="72000" bIns="0" rtlCol="0" anchor="ctr">
            <a:spAutoFit/>
          </a:bodyPr>
          <a:lstStyle/>
          <a:p>
            <a:pPr algn="r"/>
            <a:r>
              <a:rPr lang="de-DE" sz="1200" noProof="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Zwei Spalten</a:t>
            </a:r>
          </a:p>
        </p:txBody>
      </p:sp>
      <p:grpSp>
        <p:nvGrpSpPr>
          <p:cNvPr id="25" name="Gruppieren 24"/>
          <p:cNvGrpSpPr/>
          <p:nvPr userDrawn="1"/>
        </p:nvGrpSpPr>
        <p:grpSpPr>
          <a:xfrm>
            <a:off x="-276708" y="-835143"/>
            <a:ext cx="12205181" cy="7972555"/>
            <a:chOff x="-276708" y="-835143"/>
            <a:chExt cx="12205181" cy="7972555"/>
          </a:xfrm>
        </p:grpSpPr>
        <p:cxnSp>
          <p:nvCxnSpPr>
            <p:cNvPr id="27" name="Gerade Verbindung 23"/>
            <p:cNvCxnSpPr/>
            <p:nvPr userDrawn="1"/>
          </p:nvCxnSpPr>
          <p:spPr>
            <a:xfrm rot="5400000" flipV="1">
              <a:off x="-204708" y="980735"/>
              <a:ext cx="0" cy="1440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 Verbindung 24"/>
            <p:cNvCxnSpPr/>
            <p:nvPr userDrawn="1"/>
          </p:nvCxnSpPr>
          <p:spPr>
            <a:xfrm rot="5400000" flipV="1">
              <a:off x="-204708" y="6381336"/>
              <a:ext cx="0" cy="1440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 Verbindung 78"/>
            <p:cNvCxnSpPr/>
            <p:nvPr userDrawn="1"/>
          </p:nvCxnSpPr>
          <p:spPr>
            <a:xfrm>
              <a:off x="259147" y="6993412"/>
              <a:ext cx="0" cy="1440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 Verbindung mit Pfeil 30"/>
            <p:cNvCxnSpPr/>
            <p:nvPr userDrawn="1"/>
          </p:nvCxnSpPr>
          <p:spPr>
            <a:xfrm>
              <a:off x="263525" y="-526222"/>
              <a:ext cx="3492500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 Verbindung mit Pfeil 31"/>
            <p:cNvCxnSpPr/>
            <p:nvPr userDrawn="1"/>
          </p:nvCxnSpPr>
          <p:spPr>
            <a:xfrm>
              <a:off x="4259684" y="-526222"/>
              <a:ext cx="3457154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mit Pfeil 32"/>
            <p:cNvCxnSpPr/>
            <p:nvPr userDrawn="1"/>
          </p:nvCxnSpPr>
          <p:spPr>
            <a:xfrm>
              <a:off x="8220124" y="-526222"/>
              <a:ext cx="3492500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mit Pfeil 33"/>
            <p:cNvCxnSpPr/>
            <p:nvPr userDrawn="1"/>
          </p:nvCxnSpPr>
          <p:spPr>
            <a:xfrm>
              <a:off x="263525" y="-289302"/>
              <a:ext cx="2484438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mit Pfeil 34"/>
            <p:cNvCxnSpPr/>
            <p:nvPr userDrawn="1"/>
          </p:nvCxnSpPr>
          <p:spPr>
            <a:xfrm>
              <a:off x="3251200" y="-289302"/>
              <a:ext cx="2484438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mit Pfeil 35"/>
            <p:cNvCxnSpPr/>
            <p:nvPr userDrawn="1"/>
          </p:nvCxnSpPr>
          <p:spPr>
            <a:xfrm>
              <a:off x="6240462" y="-289302"/>
              <a:ext cx="2484438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 Verbindung mit Pfeil 36"/>
            <p:cNvCxnSpPr/>
            <p:nvPr userDrawn="1"/>
          </p:nvCxnSpPr>
          <p:spPr>
            <a:xfrm>
              <a:off x="9228186" y="-289302"/>
              <a:ext cx="2484438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 Verbindung mit Pfeil 37"/>
            <p:cNvCxnSpPr/>
            <p:nvPr userDrawn="1"/>
          </p:nvCxnSpPr>
          <p:spPr>
            <a:xfrm>
              <a:off x="263525" y="-763143"/>
              <a:ext cx="5472113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 Verbindung mit Pfeil 38"/>
            <p:cNvCxnSpPr/>
            <p:nvPr userDrawn="1"/>
          </p:nvCxnSpPr>
          <p:spPr>
            <a:xfrm>
              <a:off x="6240463" y="-763143"/>
              <a:ext cx="5472161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107"/>
            <p:cNvCxnSpPr/>
            <p:nvPr userDrawn="1"/>
          </p:nvCxnSpPr>
          <p:spPr>
            <a:xfrm>
              <a:off x="2999272" y="-361302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 Verbindung 108"/>
            <p:cNvCxnSpPr/>
            <p:nvPr userDrawn="1"/>
          </p:nvCxnSpPr>
          <p:spPr>
            <a:xfrm>
              <a:off x="5987988" y="-361302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 Verbindung 109"/>
            <p:cNvCxnSpPr/>
            <p:nvPr userDrawn="1"/>
          </p:nvCxnSpPr>
          <p:spPr>
            <a:xfrm>
              <a:off x="8976320" y="-361302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 Verbindung 110"/>
            <p:cNvCxnSpPr/>
            <p:nvPr userDrawn="1"/>
          </p:nvCxnSpPr>
          <p:spPr>
            <a:xfrm>
              <a:off x="7968208" y="-598222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Gerade Verbindung 111"/>
            <p:cNvCxnSpPr/>
            <p:nvPr userDrawn="1"/>
          </p:nvCxnSpPr>
          <p:spPr>
            <a:xfrm>
              <a:off x="4007768" y="-598222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Gerade Verbindung 112"/>
            <p:cNvCxnSpPr/>
            <p:nvPr userDrawn="1"/>
          </p:nvCxnSpPr>
          <p:spPr>
            <a:xfrm>
              <a:off x="5987988" y="-835143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Gerade Verbindung 33"/>
            <p:cNvCxnSpPr/>
            <p:nvPr userDrawn="1"/>
          </p:nvCxnSpPr>
          <p:spPr>
            <a:xfrm rot="5400000" flipV="1">
              <a:off x="-204708" y="826746"/>
              <a:ext cx="0" cy="144000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Gerade Verbindung 34"/>
            <p:cNvCxnSpPr/>
            <p:nvPr userDrawn="1"/>
          </p:nvCxnSpPr>
          <p:spPr>
            <a:xfrm rot="5400000" flipV="1">
              <a:off x="-204708" y="6785999"/>
              <a:ext cx="0" cy="144000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Gerade Verbindung 35"/>
            <p:cNvCxnSpPr/>
            <p:nvPr userDrawn="1"/>
          </p:nvCxnSpPr>
          <p:spPr>
            <a:xfrm rot="10800000" flipV="1">
              <a:off x="11928473" y="-361302"/>
              <a:ext cx="0" cy="144000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38"/>
            <p:cNvCxnSpPr/>
            <p:nvPr userDrawn="1"/>
          </p:nvCxnSpPr>
          <p:spPr>
            <a:xfrm rot="10800000" flipV="1">
              <a:off x="0" y="-361302"/>
              <a:ext cx="0" cy="144000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50" name="Gerade Verbindung 37"/>
          <p:cNvCxnSpPr/>
          <p:nvPr userDrawn="1"/>
        </p:nvCxnSpPr>
        <p:spPr>
          <a:xfrm>
            <a:off x="11712624" y="6993412"/>
            <a:ext cx="0" cy="144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feld 50"/>
          <p:cNvSpPr txBox="1"/>
          <p:nvPr userDrawn="1"/>
        </p:nvSpPr>
        <p:spPr>
          <a:xfrm>
            <a:off x="-1791723" y="799523"/>
            <a:ext cx="1514371" cy="184666"/>
          </a:xfrm>
          <a:prstGeom prst="rect">
            <a:avLst/>
          </a:prstGeom>
          <a:noFill/>
        </p:spPr>
        <p:txBody>
          <a:bodyPr wrap="none" lIns="72000" tIns="0" rIns="72000" bIns="0" rtlCol="0" anchor="ctr">
            <a:spAutoFit/>
          </a:bodyPr>
          <a:lstStyle/>
          <a:p>
            <a:pPr algn="r"/>
            <a:r>
              <a:rPr lang="de-DE" sz="1200" noProof="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abelle</a:t>
            </a:r>
            <a:r>
              <a:rPr lang="de-DE" sz="1200" baseline="0" noProof="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  <a:r>
              <a:rPr lang="de-DE" sz="1200" noProof="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(Vollflächig)</a:t>
            </a:r>
          </a:p>
        </p:txBody>
      </p:sp>
    </p:spTree>
    <p:extLst>
      <p:ext uri="{BB962C8B-B14F-4D97-AF65-F5344CB8AC3E}">
        <p14:creationId xmlns:p14="http://schemas.microsoft.com/office/powerpoint/2010/main" val="2435284410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deckblat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/>
          <p:cNvSpPr/>
          <p:nvPr userDrawn="1"/>
        </p:nvSpPr>
        <p:spPr>
          <a:xfrm>
            <a:off x="-794" y="0"/>
            <a:ext cx="12193588" cy="89999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" name="object 4">
            <a:extLst>
              <a:ext uri="{FF2B5EF4-FFF2-40B4-BE49-F238E27FC236}">
                <a16:creationId xmlns:a16="http://schemas.microsoft.com/office/drawing/2014/main" id="{880C4227-47B7-694C-8443-CF01E2AE097C}"/>
              </a:ext>
            </a:extLst>
          </p:cNvPr>
          <p:cNvSpPr/>
          <p:nvPr userDrawn="1"/>
        </p:nvSpPr>
        <p:spPr>
          <a:xfrm>
            <a:off x="2681" y="899998"/>
            <a:ext cx="12193200" cy="158460"/>
          </a:xfrm>
          <a:custGeom>
            <a:avLst/>
            <a:gdLst/>
            <a:ahLst/>
            <a:cxnLst/>
            <a:rect l="l" t="t" r="r" b="b"/>
            <a:pathLst>
              <a:path w="12192635">
                <a:moveTo>
                  <a:pt x="0" y="0"/>
                </a:moveTo>
                <a:lnTo>
                  <a:pt x="12192113" y="0"/>
                </a:lnTo>
              </a:path>
            </a:pathLst>
          </a:custGeom>
          <a:ln w="28575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366626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feld 7"/>
          <p:cNvSpPr txBox="1"/>
          <p:nvPr userDrawn="1"/>
        </p:nvSpPr>
        <p:spPr>
          <a:xfrm rot="16200000">
            <a:off x="8631237" y="3297236"/>
            <a:ext cx="6857999" cy="263527"/>
          </a:xfrm>
          <a:prstGeom prst="rect">
            <a:avLst/>
          </a:prstGeom>
          <a:solidFill>
            <a:schemeClr val="bg2"/>
          </a:solidFill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endParaRPr lang="de-DE" sz="800" kern="1200" spc="-30" baseline="0" dirty="0">
              <a:solidFill>
                <a:schemeClr val="accent5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Textfeld 8"/>
          <p:cNvSpPr txBox="1"/>
          <p:nvPr userDrawn="1"/>
        </p:nvSpPr>
        <p:spPr>
          <a:xfrm rot="16200000">
            <a:off x="11605877" y="322597"/>
            <a:ext cx="908719" cy="263527"/>
          </a:xfrm>
          <a:prstGeom prst="rect">
            <a:avLst/>
          </a:prstGeom>
          <a:noFill/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r>
              <a:rPr lang="de-DE" sz="800" kern="1200" spc="-3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© Rödl &amp; Partner </a:t>
            </a:r>
          </a:p>
        </p:txBody>
      </p:sp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>
          <a:xfrm>
            <a:off x="263525" y="260648"/>
            <a:ext cx="11449049" cy="396000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de-DE" dirty="0" err="1"/>
              <a:t>kapitel</a:t>
            </a:r>
            <a:endParaRPr lang="en-GB" dirty="0"/>
          </a:p>
        </p:txBody>
      </p:sp>
      <p:sp>
        <p:nvSpPr>
          <p:cNvPr id="17" name="Foliennummernplatzhalter 1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4CFEB0D3-1EB3-4F08-8062-95FFB9749870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75696495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pfzeile Untertitel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platzhalter 14"/>
          <p:cNvSpPr>
            <a:spLocks noGrp="1"/>
          </p:cNvSpPr>
          <p:nvPr>
            <p:ph type="body" sz="quarter" idx="13"/>
          </p:nvPr>
        </p:nvSpPr>
        <p:spPr>
          <a:xfrm>
            <a:off x="263525" y="1457326"/>
            <a:ext cx="11449048" cy="4610100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GB" dirty="0"/>
          </a:p>
        </p:txBody>
      </p:sp>
      <p:sp>
        <p:nvSpPr>
          <p:cNvPr id="5" name="Rechteck 4"/>
          <p:cNvSpPr/>
          <p:nvPr userDrawn="1"/>
        </p:nvSpPr>
        <p:spPr>
          <a:xfrm>
            <a:off x="-794" y="0"/>
            <a:ext cx="12193588" cy="89999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" name="object 4">
            <a:extLst>
              <a:ext uri="{FF2B5EF4-FFF2-40B4-BE49-F238E27FC236}">
                <a16:creationId xmlns:a16="http://schemas.microsoft.com/office/drawing/2014/main" id="{880C4227-47B7-694C-8443-CF01E2AE097C}"/>
              </a:ext>
            </a:extLst>
          </p:cNvPr>
          <p:cNvSpPr/>
          <p:nvPr userDrawn="1"/>
        </p:nvSpPr>
        <p:spPr>
          <a:xfrm>
            <a:off x="2681" y="899998"/>
            <a:ext cx="12193200" cy="158460"/>
          </a:xfrm>
          <a:custGeom>
            <a:avLst/>
            <a:gdLst/>
            <a:ahLst/>
            <a:cxnLst/>
            <a:rect l="l" t="t" r="r" b="b"/>
            <a:pathLst>
              <a:path w="12192635">
                <a:moveTo>
                  <a:pt x="0" y="0"/>
                </a:moveTo>
                <a:lnTo>
                  <a:pt x="12192113" y="0"/>
                </a:lnTo>
              </a:path>
            </a:pathLst>
          </a:custGeom>
          <a:ln w="28575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327852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feld 7"/>
          <p:cNvSpPr txBox="1"/>
          <p:nvPr userDrawn="1"/>
        </p:nvSpPr>
        <p:spPr>
          <a:xfrm rot="16200000">
            <a:off x="8631237" y="3297236"/>
            <a:ext cx="6857999" cy="263527"/>
          </a:xfrm>
          <a:prstGeom prst="rect">
            <a:avLst/>
          </a:prstGeom>
          <a:solidFill>
            <a:schemeClr val="bg2"/>
          </a:solidFill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endParaRPr lang="de-DE" sz="800" kern="1200" spc="-30" baseline="0" dirty="0">
              <a:solidFill>
                <a:schemeClr val="accent5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Textfeld 8"/>
          <p:cNvSpPr txBox="1"/>
          <p:nvPr userDrawn="1"/>
        </p:nvSpPr>
        <p:spPr>
          <a:xfrm rot="16200000">
            <a:off x="11605877" y="322597"/>
            <a:ext cx="908719" cy="263527"/>
          </a:xfrm>
          <a:prstGeom prst="rect">
            <a:avLst/>
          </a:prstGeom>
          <a:noFill/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r>
              <a:rPr lang="de-DE" sz="800" kern="1200" spc="-3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© Rödl &amp; Partner </a:t>
            </a:r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>
          <a:xfrm>
            <a:off x="263525" y="260648"/>
            <a:ext cx="11449049" cy="396000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263525" y="1065214"/>
            <a:ext cx="11449048" cy="288000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Untertitel durch Klicken hinzufügen</a:t>
            </a:r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2" hasCustomPrompt="1"/>
          </p:nvPr>
        </p:nvSpPr>
        <p:spPr>
          <a:xfrm>
            <a:off x="263524" y="6248400"/>
            <a:ext cx="11449049" cy="204788"/>
          </a:xfrm>
        </p:spPr>
        <p:txBody>
          <a:bodyPr vert="horz" lIns="0" tIns="0" rIns="0" bIns="0" rtlCol="0" anchor="b">
            <a:noAutofit/>
          </a:bodyPr>
          <a:lstStyle>
            <a:lvl1pPr>
              <a:defRPr lang="de-DE" sz="1000" dirty="0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Fußnote durch Klicken hinzufügen</a:t>
            </a:r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4CFEB0D3-1EB3-4F08-8062-95FFB9749870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80794617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pfzeile Untertitel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/>
          <p:cNvSpPr/>
          <p:nvPr userDrawn="1"/>
        </p:nvSpPr>
        <p:spPr>
          <a:xfrm>
            <a:off x="-794" y="0"/>
            <a:ext cx="12193588" cy="89999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" name="object 4">
            <a:extLst>
              <a:ext uri="{FF2B5EF4-FFF2-40B4-BE49-F238E27FC236}">
                <a16:creationId xmlns:a16="http://schemas.microsoft.com/office/drawing/2014/main" id="{880C4227-47B7-694C-8443-CF01E2AE097C}"/>
              </a:ext>
            </a:extLst>
          </p:cNvPr>
          <p:cNvSpPr/>
          <p:nvPr userDrawn="1"/>
        </p:nvSpPr>
        <p:spPr>
          <a:xfrm>
            <a:off x="2681" y="899998"/>
            <a:ext cx="12193200" cy="158460"/>
          </a:xfrm>
          <a:custGeom>
            <a:avLst/>
            <a:gdLst/>
            <a:ahLst/>
            <a:cxnLst/>
            <a:rect l="l" t="t" r="r" b="b"/>
            <a:pathLst>
              <a:path w="12192635">
                <a:moveTo>
                  <a:pt x="0" y="0"/>
                </a:moveTo>
                <a:lnTo>
                  <a:pt x="12192113" y="0"/>
                </a:lnTo>
              </a:path>
            </a:pathLst>
          </a:custGeom>
          <a:ln w="28575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65770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feld 7"/>
          <p:cNvSpPr txBox="1"/>
          <p:nvPr userDrawn="1"/>
        </p:nvSpPr>
        <p:spPr>
          <a:xfrm rot="16200000">
            <a:off x="8631237" y="3297236"/>
            <a:ext cx="6857999" cy="263527"/>
          </a:xfrm>
          <a:prstGeom prst="rect">
            <a:avLst/>
          </a:prstGeom>
          <a:solidFill>
            <a:schemeClr val="bg2"/>
          </a:solidFill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endParaRPr lang="de-DE" sz="800" kern="1200" spc="-30" baseline="0" dirty="0">
              <a:solidFill>
                <a:schemeClr val="accent5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Textfeld 8"/>
          <p:cNvSpPr txBox="1"/>
          <p:nvPr userDrawn="1"/>
        </p:nvSpPr>
        <p:spPr>
          <a:xfrm rot="16200000">
            <a:off x="11605877" y="322597"/>
            <a:ext cx="908719" cy="263527"/>
          </a:xfrm>
          <a:prstGeom prst="rect">
            <a:avLst/>
          </a:prstGeom>
          <a:noFill/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r>
              <a:rPr lang="de-DE" sz="800" kern="1200" spc="-3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© Rödl &amp; Partner </a:t>
            </a:r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>
          <a:xfrm>
            <a:off x="263525" y="260648"/>
            <a:ext cx="11449049" cy="396000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263525" y="1065214"/>
            <a:ext cx="11449048" cy="288000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Untertitel durch Klicken hinzufügen</a:t>
            </a:r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4CFEB0D3-1EB3-4F08-8062-95FFB9749870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35024891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deckblat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/>
          <p:cNvSpPr/>
          <p:nvPr userDrawn="1"/>
        </p:nvSpPr>
        <p:spPr>
          <a:xfrm>
            <a:off x="-794" y="0"/>
            <a:ext cx="12193588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" name="object 4">
            <a:extLst>
              <a:ext uri="{FF2B5EF4-FFF2-40B4-BE49-F238E27FC236}">
                <a16:creationId xmlns:a16="http://schemas.microsoft.com/office/drawing/2014/main" id="{880C4227-47B7-694C-8443-CF01E2AE097C}"/>
              </a:ext>
            </a:extLst>
          </p:cNvPr>
          <p:cNvSpPr/>
          <p:nvPr userDrawn="1"/>
        </p:nvSpPr>
        <p:spPr>
          <a:xfrm>
            <a:off x="2681" y="899998"/>
            <a:ext cx="12193200" cy="158460"/>
          </a:xfrm>
          <a:custGeom>
            <a:avLst/>
            <a:gdLst/>
            <a:ahLst/>
            <a:cxnLst/>
            <a:rect l="l" t="t" r="r" b="b"/>
            <a:pathLst>
              <a:path w="12192635">
                <a:moveTo>
                  <a:pt x="0" y="0"/>
                </a:moveTo>
                <a:lnTo>
                  <a:pt x="12192113" y="0"/>
                </a:lnTo>
              </a:path>
            </a:pathLst>
          </a:custGeom>
          <a:ln w="28575">
            <a:solidFill>
              <a:schemeClr val="bg1"/>
            </a:solidFill>
          </a:ln>
        </p:spPr>
        <p:txBody>
          <a:bodyPr wrap="square" lIns="0" tIns="0" rIns="0" bIns="0" rtlCol="0"/>
          <a:lstStyle/>
          <a:p>
            <a:endParaRPr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934636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feld 7"/>
          <p:cNvSpPr txBox="1"/>
          <p:nvPr userDrawn="1"/>
        </p:nvSpPr>
        <p:spPr>
          <a:xfrm rot="16200000">
            <a:off x="8631237" y="3297236"/>
            <a:ext cx="6857999" cy="263527"/>
          </a:xfrm>
          <a:prstGeom prst="rect">
            <a:avLst/>
          </a:prstGeom>
          <a:solidFill>
            <a:schemeClr val="bg2"/>
          </a:solidFill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endParaRPr lang="de-DE" sz="800" kern="1200" spc="-30" baseline="0" dirty="0">
              <a:solidFill>
                <a:schemeClr val="accent5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Textfeld 8"/>
          <p:cNvSpPr txBox="1"/>
          <p:nvPr userDrawn="1"/>
        </p:nvSpPr>
        <p:spPr>
          <a:xfrm rot="16200000">
            <a:off x="11605877" y="322597"/>
            <a:ext cx="908719" cy="263527"/>
          </a:xfrm>
          <a:prstGeom prst="rect">
            <a:avLst/>
          </a:prstGeom>
          <a:noFill/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r>
              <a:rPr lang="de-DE" sz="800" kern="1200" spc="-3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© Rödl &amp; Partner </a:t>
            </a:r>
          </a:p>
        </p:txBody>
      </p:sp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>
          <a:xfrm>
            <a:off x="263525" y="260648"/>
            <a:ext cx="11449049" cy="39600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de-DE" dirty="0" err="1"/>
              <a:t>kapitel</a:t>
            </a:r>
            <a:endParaRPr lang="en-GB" dirty="0"/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4CFEB0D3-1EB3-4F08-8062-95FFB9749870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15263876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deckblat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/>
          <p:cNvSpPr/>
          <p:nvPr userDrawn="1"/>
        </p:nvSpPr>
        <p:spPr>
          <a:xfrm>
            <a:off x="-794" y="0"/>
            <a:ext cx="12193588" cy="89999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199144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feld 7"/>
          <p:cNvSpPr txBox="1"/>
          <p:nvPr userDrawn="1"/>
        </p:nvSpPr>
        <p:spPr>
          <a:xfrm rot="16200000">
            <a:off x="8631237" y="3297236"/>
            <a:ext cx="6857999" cy="263527"/>
          </a:xfrm>
          <a:prstGeom prst="rect">
            <a:avLst/>
          </a:prstGeom>
          <a:solidFill>
            <a:schemeClr val="bg2"/>
          </a:solidFill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endParaRPr lang="de-DE" sz="800" kern="1200" spc="-30" baseline="0" dirty="0">
              <a:solidFill>
                <a:schemeClr val="accent5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Textfeld 8"/>
          <p:cNvSpPr txBox="1"/>
          <p:nvPr userDrawn="1"/>
        </p:nvSpPr>
        <p:spPr>
          <a:xfrm rot="16200000">
            <a:off x="11605877" y="322597"/>
            <a:ext cx="908719" cy="263527"/>
          </a:xfrm>
          <a:prstGeom prst="rect">
            <a:avLst/>
          </a:prstGeom>
          <a:noFill/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r>
              <a:rPr lang="de-DE" sz="800" kern="1200" spc="-3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© Rödl &amp; Partner </a:t>
            </a:r>
          </a:p>
        </p:txBody>
      </p:sp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>
          <a:xfrm>
            <a:off x="263525" y="260648"/>
            <a:ext cx="11449049" cy="39600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de-DE" dirty="0" err="1"/>
              <a:t>kapitel</a:t>
            </a:r>
            <a:endParaRPr lang="en-GB" dirty="0"/>
          </a:p>
        </p:txBody>
      </p:sp>
      <p:sp>
        <p:nvSpPr>
          <p:cNvPr id="17" name="Foliennummernplatzhalter 1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4CFEB0D3-1EB3-4F08-8062-95FFB9749870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59204798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pfzeile Untertitel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platzhalter 14"/>
          <p:cNvSpPr>
            <a:spLocks noGrp="1"/>
          </p:cNvSpPr>
          <p:nvPr>
            <p:ph type="body" sz="quarter" idx="13"/>
          </p:nvPr>
        </p:nvSpPr>
        <p:spPr>
          <a:xfrm>
            <a:off x="263525" y="1457326"/>
            <a:ext cx="11449048" cy="4610100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GB" dirty="0"/>
          </a:p>
        </p:txBody>
      </p:sp>
      <p:sp>
        <p:nvSpPr>
          <p:cNvPr id="5" name="Rechteck 4"/>
          <p:cNvSpPr/>
          <p:nvPr userDrawn="1"/>
        </p:nvSpPr>
        <p:spPr>
          <a:xfrm>
            <a:off x="-794" y="0"/>
            <a:ext cx="12193588" cy="89999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960113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feld 7"/>
          <p:cNvSpPr txBox="1"/>
          <p:nvPr userDrawn="1"/>
        </p:nvSpPr>
        <p:spPr>
          <a:xfrm rot="16200000">
            <a:off x="8631237" y="3297236"/>
            <a:ext cx="6857999" cy="263527"/>
          </a:xfrm>
          <a:prstGeom prst="rect">
            <a:avLst/>
          </a:prstGeom>
          <a:solidFill>
            <a:schemeClr val="bg2"/>
          </a:solidFill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endParaRPr lang="de-DE" sz="800" kern="1200" spc="-30" baseline="0" dirty="0">
              <a:solidFill>
                <a:schemeClr val="accent5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Textfeld 8"/>
          <p:cNvSpPr txBox="1"/>
          <p:nvPr userDrawn="1"/>
        </p:nvSpPr>
        <p:spPr>
          <a:xfrm rot="16200000">
            <a:off x="11605877" y="322597"/>
            <a:ext cx="908719" cy="263527"/>
          </a:xfrm>
          <a:prstGeom prst="rect">
            <a:avLst/>
          </a:prstGeom>
          <a:noFill/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r>
              <a:rPr lang="de-DE" sz="800" kern="1200" spc="-3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© Rödl &amp; Partner </a:t>
            </a:r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>
          <a:xfrm>
            <a:off x="263525" y="260648"/>
            <a:ext cx="11449049" cy="39600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263525" y="1065214"/>
            <a:ext cx="11449048" cy="288000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Untertitel durch Klicken hinzufügen</a:t>
            </a:r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2" hasCustomPrompt="1"/>
          </p:nvPr>
        </p:nvSpPr>
        <p:spPr>
          <a:xfrm>
            <a:off x="263524" y="6248400"/>
            <a:ext cx="11449049" cy="204788"/>
          </a:xfrm>
        </p:spPr>
        <p:txBody>
          <a:bodyPr vert="horz" lIns="0" tIns="0" rIns="0" bIns="0" rtlCol="0" anchor="b">
            <a:noAutofit/>
          </a:bodyPr>
          <a:lstStyle>
            <a:lvl1pPr>
              <a:defRPr lang="de-DE" sz="1000" dirty="0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Fußnote durch Klicken hinzufügen</a:t>
            </a:r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4CFEB0D3-1EB3-4F08-8062-95FFB9749870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86970093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pfzeile Untertitel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/>
          <p:cNvSpPr/>
          <p:nvPr userDrawn="1"/>
        </p:nvSpPr>
        <p:spPr>
          <a:xfrm>
            <a:off x="-794" y="0"/>
            <a:ext cx="12193588" cy="89999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908950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feld 7"/>
          <p:cNvSpPr txBox="1"/>
          <p:nvPr userDrawn="1"/>
        </p:nvSpPr>
        <p:spPr>
          <a:xfrm rot="16200000">
            <a:off x="8631237" y="3297236"/>
            <a:ext cx="6857999" cy="263527"/>
          </a:xfrm>
          <a:prstGeom prst="rect">
            <a:avLst/>
          </a:prstGeom>
          <a:solidFill>
            <a:schemeClr val="bg2"/>
          </a:solidFill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endParaRPr lang="de-DE" sz="800" kern="1200" spc="-30" baseline="0" dirty="0">
              <a:solidFill>
                <a:schemeClr val="accent5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Textfeld 8"/>
          <p:cNvSpPr txBox="1"/>
          <p:nvPr userDrawn="1"/>
        </p:nvSpPr>
        <p:spPr>
          <a:xfrm rot="16200000">
            <a:off x="11605877" y="322597"/>
            <a:ext cx="908719" cy="263527"/>
          </a:xfrm>
          <a:prstGeom prst="rect">
            <a:avLst/>
          </a:prstGeom>
          <a:noFill/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r>
              <a:rPr lang="de-DE" sz="800" kern="1200" spc="-3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© Rödl &amp; Partner </a:t>
            </a:r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>
          <a:xfrm>
            <a:off x="263525" y="260648"/>
            <a:ext cx="11449049" cy="39600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263525" y="1065214"/>
            <a:ext cx="11449048" cy="288000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Untertitel durch Klicken hinzufügen</a:t>
            </a:r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4CFEB0D3-1EB3-4F08-8062-95FFB9749870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95310118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pfzeile farbig Untertitel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platzhalter 14"/>
          <p:cNvSpPr>
            <a:spLocks noGrp="1"/>
          </p:cNvSpPr>
          <p:nvPr>
            <p:ph type="body" sz="quarter" idx="13"/>
          </p:nvPr>
        </p:nvSpPr>
        <p:spPr>
          <a:xfrm>
            <a:off x="263525" y="1457326"/>
            <a:ext cx="11449048" cy="4610100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GB" dirty="0"/>
          </a:p>
        </p:txBody>
      </p:sp>
      <p:sp>
        <p:nvSpPr>
          <p:cNvPr id="12" name="object 4">
            <a:extLst>
              <a:ext uri="{FF2B5EF4-FFF2-40B4-BE49-F238E27FC236}">
                <a16:creationId xmlns:a16="http://schemas.microsoft.com/office/drawing/2014/main" id="{880C4227-47B7-694C-8443-CF01E2AE097C}"/>
              </a:ext>
            </a:extLst>
          </p:cNvPr>
          <p:cNvSpPr/>
          <p:nvPr userDrawn="1"/>
        </p:nvSpPr>
        <p:spPr>
          <a:xfrm>
            <a:off x="2681" y="899998"/>
            <a:ext cx="12193200" cy="158460"/>
          </a:xfrm>
          <a:custGeom>
            <a:avLst/>
            <a:gdLst/>
            <a:ahLst/>
            <a:cxnLst/>
            <a:rect l="l" t="t" r="r" b="b"/>
            <a:pathLst>
              <a:path w="12192635">
                <a:moveTo>
                  <a:pt x="0" y="0"/>
                </a:moveTo>
                <a:lnTo>
                  <a:pt x="12192113" y="0"/>
                </a:lnTo>
              </a:path>
            </a:pathLst>
          </a:custGeom>
          <a:ln w="28575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529494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feld 7"/>
          <p:cNvSpPr txBox="1"/>
          <p:nvPr userDrawn="1"/>
        </p:nvSpPr>
        <p:spPr>
          <a:xfrm rot="16200000">
            <a:off x="8631237" y="3297236"/>
            <a:ext cx="6857999" cy="263527"/>
          </a:xfrm>
          <a:prstGeom prst="rect">
            <a:avLst/>
          </a:prstGeom>
          <a:solidFill>
            <a:schemeClr val="bg2"/>
          </a:solidFill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endParaRPr lang="de-DE" sz="800" kern="1200" spc="-30" baseline="0" dirty="0">
              <a:solidFill>
                <a:schemeClr val="accent5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Textfeld 8"/>
          <p:cNvSpPr txBox="1"/>
          <p:nvPr userDrawn="1"/>
        </p:nvSpPr>
        <p:spPr>
          <a:xfrm rot="16200000">
            <a:off x="11605877" y="322597"/>
            <a:ext cx="908719" cy="263527"/>
          </a:xfrm>
          <a:prstGeom prst="rect">
            <a:avLst/>
          </a:prstGeom>
          <a:noFill/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r>
              <a:rPr lang="de-DE" sz="800" kern="1200" spc="-3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© Rödl &amp; Partner </a:t>
            </a:r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>
          <a:xfrm>
            <a:off x="263525" y="260648"/>
            <a:ext cx="11449049" cy="396000"/>
          </a:xfrm>
        </p:spPr>
        <p:txBody>
          <a:bodyPr/>
          <a:lstStyle>
            <a:lvl1pPr>
              <a:defRPr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263525" y="1065214"/>
            <a:ext cx="11449048" cy="288000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Untertitel durch Klicken hinzufügen</a:t>
            </a:r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2" hasCustomPrompt="1"/>
          </p:nvPr>
        </p:nvSpPr>
        <p:spPr>
          <a:xfrm>
            <a:off x="263524" y="6248400"/>
            <a:ext cx="11449049" cy="204788"/>
          </a:xfrm>
        </p:spPr>
        <p:txBody>
          <a:bodyPr vert="horz" lIns="0" tIns="0" rIns="0" bIns="0" rtlCol="0" anchor="b">
            <a:noAutofit/>
          </a:bodyPr>
          <a:lstStyle>
            <a:lvl1pPr>
              <a:defRPr lang="de-DE" sz="1000" dirty="0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Fußnote durch Klicken hinzufügen</a:t>
            </a:r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4CFEB0D3-1EB3-4F08-8062-95FFB9749870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82768101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deckblat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/>
          <p:cNvSpPr/>
          <p:nvPr userDrawn="1"/>
        </p:nvSpPr>
        <p:spPr>
          <a:xfrm>
            <a:off x="-794" y="0"/>
            <a:ext cx="12193588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" name="object 4">
            <a:extLst>
              <a:ext uri="{FF2B5EF4-FFF2-40B4-BE49-F238E27FC236}">
                <a16:creationId xmlns:a16="http://schemas.microsoft.com/office/drawing/2014/main" id="{880C4227-47B7-694C-8443-CF01E2AE097C}"/>
              </a:ext>
            </a:extLst>
          </p:cNvPr>
          <p:cNvSpPr/>
          <p:nvPr userDrawn="1"/>
        </p:nvSpPr>
        <p:spPr>
          <a:xfrm>
            <a:off x="2681" y="899998"/>
            <a:ext cx="12193200" cy="158460"/>
          </a:xfrm>
          <a:custGeom>
            <a:avLst/>
            <a:gdLst/>
            <a:ahLst/>
            <a:cxnLst/>
            <a:rect l="l" t="t" r="r" b="b"/>
            <a:pathLst>
              <a:path w="12192635">
                <a:moveTo>
                  <a:pt x="0" y="0"/>
                </a:moveTo>
                <a:lnTo>
                  <a:pt x="12192113" y="0"/>
                </a:lnTo>
              </a:path>
            </a:pathLst>
          </a:custGeom>
          <a:ln w="28575">
            <a:solidFill>
              <a:schemeClr val="bg1"/>
            </a:solidFill>
          </a:ln>
        </p:spPr>
        <p:txBody>
          <a:bodyPr wrap="square" lIns="0" tIns="0" rIns="0" bIns="0" rtlCol="0"/>
          <a:lstStyle/>
          <a:p>
            <a:endParaRPr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477811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feld 7"/>
          <p:cNvSpPr txBox="1"/>
          <p:nvPr userDrawn="1"/>
        </p:nvSpPr>
        <p:spPr>
          <a:xfrm rot="16200000">
            <a:off x="8631237" y="3297236"/>
            <a:ext cx="6857999" cy="263527"/>
          </a:xfrm>
          <a:prstGeom prst="rect">
            <a:avLst/>
          </a:prstGeom>
          <a:solidFill>
            <a:schemeClr val="bg2"/>
          </a:solidFill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endParaRPr lang="de-DE" sz="800" kern="1200" spc="-30" baseline="0" dirty="0">
              <a:solidFill>
                <a:schemeClr val="accent5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Textfeld 8"/>
          <p:cNvSpPr txBox="1"/>
          <p:nvPr userDrawn="1"/>
        </p:nvSpPr>
        <p:spPr>
          <a:xfrm rot="16200000">
            <a:off x="11605877" y="322597"/>
            <a:ext cx="908719" cy="263527"/>
          </a:xfrm>
          <a:prstGeom prst="rect">
            <a:avLst/>
          </a:prstGeom>
          <a:noFill/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r>
              <a:rPr lang="de-DE" sz="800" kern="1200" spc="-3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© Rödl &amp; Partner </a:t>
            </a:r>
          </a:p>
        </p:txBody>
      </p:sp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>
          <a:xfrm>
            <a:off x="263525" y="260648"/>
            <a:ext cx="11449049" cy="39600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de-DE" dirty="0" err="1"/>
              <a:t>kapitel</a:t>
            </a:r>
            <a:endParaRPr lang="en-GB" dirty="0"/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4CFEB0D3-1EB3-4F08-8062-95FFB9749870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92873379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deckblat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/>
          <p:cNvSpPr/>
          <p:nvPr userDrawn="1"/>
        </p:nvSpPr>
        <p:spPr>
          <a:xfrm>
            <a:off x="-794" y="0"/>
            <a:ext cx="12193588" cy="89999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156531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feld 7"/>
          <p:cNvSpPr txBox="1"/>
          <p:nvPr userDrawn="1"/>
        </p:nvSpPr>
        <p:spPr>
          <a:xfrm rot="16200000">
            <a:off x="8631237" y="3297236"/>
            <a:ext cx="6857999" cy="263527"/>
          </a:xfrm>
          <a:prstGeom prst="rect">
            <a:avLst/>
          </a:prstGeom>
          <a:solidFill>
            <a:schemeClr val="bg2"/>
          </a:solidFill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endParaRPr lang="de-DE" sz="800" kern="1200" spc="-30" baseline="0" dirty="0">
              <a:solidFill>
                <a:schemeClr val="accent5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Textfeld 8"/>
          <p:cNvSpPr txBox="1"/>
          <p:nvPr userDrawn="1"/>
        </p:nvSpPr>
        <p:spPr>
          <a:xfrm rot="16200000">
            <a:off x="11605877" y="322597"/>
            <a:ext cx="908719" cy="263527"/>
          </a:xfrm>
          <a:prstGeom prst="rect">
            <a:avLst/>
          </a:prstGeom>
          <a:noFill/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r>
              <a:rPr lang="de-DE" sz="800" kern="1200" spc="-3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© Rödl &amp; Partner </a:t>
            </a:r>
          </a:p>
        </p:txBody>
      </p:sp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>
          <a:xfrm>
            <a:off x="263525" y="260648"/>
            <a:ext cx="11449049" cy="39600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de-DE" dirty="0" err="1"/>
              <a:t>kapitel</a:t>
            </a:r>
            <a:endParaRPr lang="en-GB" dirty="0"/>
          </a:p>
        </p:txBody>
      </p:sp>
      <p:sp>
        <p:nvSpPr>
          <p:cNvPr id="17" name="Foliennummernplatzhalter 1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4CFEB0D3-1EB3-4F08-8062-95FFB9749870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3611740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instiegsfolie_Bild quer 40%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675962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ts val="66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de-DE" sz="5000" b="0" i="0" baseline="0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Rechteck 7"/>
          <p:cNvSpPr/>
          <p:nvPr userDrawn="1"/>
        </p:nvSpPr>
        <p:spPr>
          <a:xfrm>
            <a:off x="-794" y="0"/>
            <a:ext cx="12193588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263524" y="1134800"/>
            <a:ext cx="11664951" cy="892721"/>
          </a:xfrm>
        </p:spPr>
        <p:txBody>
          <a:bodyPr anchor="t"/>
          <a:lstStyle>
            <a:lvl1pPr>
              <a:lnSpc>
                <a:spcPts val="6600"/>
              </a:lnSpc>
              <a:defRPr sz="5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de-DE" dirty="0"/>
              <a:t>Titel der </a:t>
            </a:r>
            <a:r>
              <a:rPr lang="de-DE" dirty="0" err="1"/>
              <a:t>präsentation</a:t>
            </a:r>
            <a:endParaRPr lang="en-US" dirty="0"/>
          </a:p>
        </p:txBody>
      </p:sp>
      <p:pic>
        <p:nvPicPr>
          <p:cNvPr id="6154" name="Picture 10"/>
          <p:cNvPicPr>
            <a:picLocks noChangeAspect="1" noChangeArrowheads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63352" y="200024"/>
            <a:ext cx="4018011" cy="532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6" name="Textplatzhalter 20"/>
          <p:cNvSpPr>
            <a:spLocks noGrp="1"/>
          </p:cNvSpPr>
          <p:nvPr>
            <p:ph type="body" sz="quarter" idx="12" hasCustomPrompt="1"/>
          </p:nvPr>
        </p:nvSpPr>
        <p:spPr>
          <a:xfrm>
            <a:off x="264050" y="2566111"/>
            <a:ext cx="3744388" cy="640175"/>
          </a:xfrm>
        </p:spPr>
        <p:txBody>
          <a:bodyPr wrap="square" anchor="b" anchorCtr="0">
            <a:spAutoFit/>
          </a:bodyPr>
          <a:lstStyle>
            <a:lvl1pPr>
              <a:lnSpc>
                <a:spcPct val="130000"/>
              </a:lnSpc>
              <a:spcBef>
                <a:spcPts val="0"/>
              </a:spcBef>
              <a:defRPr sz="1600" cap="all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Untertitel durch Klicken bearbeiten</a:t>
            </a:r>
          </a:p>
        </p:txBody>
      </p:sp>
      <p:sp>
        <p:nvSpPr>
          <p:cNvPr id="28" name="Textplatzhalter 20"/>
          <p:cNvSpPr>
            <a:spLocks noGrp="1"/>
          </p:cNvSpPr>
          <p:nvPr>
            <p:ph type="body" sz="quarter" idx="13" hasCustomPrompt="1"/>
          </p:nvPr>
        </p:nvSpPr>
        <p:spPr>
          <a:xfrm>
            <a:off x="4284804" y="2960065"/>
            <a:ext cx="7453312" cy="246221"/>
          </a:xfrm>
        </p:spPr>
        <p:txBody>
          <a:bodyPr wrap="square" anchor="b">
            <a:spAutoFit/>
          </a:bodyPr>
          <a:lstStyle>
            <a:lvl1pPr>
              <a:spcBef>
                <a:spcPts val="0"/>
              </a:spcBef>
              <a:defRPr sz="1600" cap="none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Ort,</a:t>
            </a:r>
          </a:p>
        </p:txBody>
      </p:sp>
      <p:sp>
        <p:nvSpPr>
          <p:cNvPr id="19" name="object 4">
            <a:extLst>
              <a:ext uri="{FF2B5EF4-FFF2-40B4-BE49-F238E27FC236}">
                <a16:creationId xmlns:a16="http://schemas.microsoft.com/office/drawing/2014/main" id="{F1407FCD-A98D-8D4C-BAEA-A83B72042659}"/>
              </a:ext>
            </a:extLst>
          </p:cNvPr>
          <p:cNvSpPr/>
          <p:nvPr userDrawn="1"/>
        </p:nvSpPr>
        <p:spPr>
          <a:xfrm>
            <a:off x="0" y="899999"/>
            <a:ext cx="12192635" cy="0"/>
          </a:xfrm>
          <a:custGeom>
            <a:avLst/>
            <a:gdLst/>
            <a:ahLst/>
            <a:cxnLst/>
            <a:rect l="l" t="t" r="r" b="b"/>
            <a:pathLst>
              <a:path w="12192635">
                <a:moveTo>
                  <a:pt x="0" y="0"/>
                </a:moveTo>
                <a:lnTo>
                  <a:pt x="12192113" y="0"/>
                </a:lnTo>
              </a:path>
            </a:pathLst>
          </a:custGeom>
          <a:ln w="28575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4" name="Bildplatzhalter 13"/>
          <p:cNvSpPr>
            <a:spLocks noGrp="1"/>
          </p:cNvSpPr>
          <p:nvPr>
            <p:ph type="pic" sz="quarter" idx="17"/>
          </p:nvPr>
        </p:nvSpPr>
        <p:spPr>
          <a:xfrm>
            <a:off x="3176" y="3546000"/>
            <a:ext cx="12189618" cy="3312000"/>
          </a:xfrm>
          <a:solidFill>
            <a:schemeClr val="bg2"/>
          </a:solidFill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31" name="object 5">
            <a:extLst>
              <a:ext uri="{FF2B5EF4-FFF2-40B4-BE49-F238E27FC236}">
                <a16:creationId xmlns:a16="http://schemas.microsoft.com/office/drawing/2014/main" id="{E53813C0-5592-A544-AC61-84B1689DD6BA}"/>
              </a:ext>
            </a:extLst>
          </p:cNvPr>
          <p:cNvSpPr/>
          <p:nvPr userDrawn="1"/>
        </p:nvSpPr>
        <p:spPr>
          <a:xfrm>
            <a:off x="0" y="2027521"/>
            <a:ext cx="12192635" cy="0"/>
          </a:xfrm>
          <a:custGeom>
            <a:avLst/>
            <a:gdLst/>
            <a:ahLst/>
            <a:cxnLst/>
            <a:rect l="l" t="t" r="r" b="b"/>
            <a:pathLst>
              <a:path w="12192635">
                <a:moveTo>
                  <a:pt x="0" y="0"/>
                </a:moveTo>
                <a:lnTo>
                  <a:pt x="12192113" y="0"/>
                </a:lnTo>
              </a:path>
            </a:pathLst>
          </a:custGeom>
          <a:ln w="2540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2" name="object 6">
            <a:extLst>
              <a:ext uri="{FF2B5EF4-FFF2-40B4-BE49-F238E27FC236}">
                <a16:creationId xmlns:a16="http://schemas.microsoft.com/office/drawing/2014/main" id="{7A6E9864-542A-6F4C-965E-7D2AEBA2E01D}"/>
              </a:ext>
            </a:extLst>
          </p:cNvPr>
          <p:cNvSpPr/>
          <p:nvPr userDrawn="1"/>
        </p:nvSpPr>
        <p:spPr>
          <a:xfrm flipH="1">
            <a:off x="4041788" y="2027521"/>
            <a:ext cx="45719" cy="1509479"/>
          </a:xfrm>
          <a:custGeom>
            <a:avLst/>
            <a:gdLst/>
            <a:ahLst/>
            <a:cxnLst/>
            <a:rect l="l" t="t" r="r" b="b"/>
            <a:pathLst>
              <a:path h="4698365">
                <a:moveTo>
                  <a:pt x="0" y="0"/>
                </a:moveTo>
                <a:lnTo>
                  <a:pt x="0" y="4697996"/>
                </a:lnTo>
              </a:path>
            </a:pathLst>
          </a:custGeom>
          <a:ln w="285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3" name="object 5">
            <a:extLst>
              <a:ext uri="{FF2B5EF4-FFF2-40B4-BE49-F238E27FC236}">
                <a16:creationId xmlns:a16="http://schemas.microsoft.com/office/drawing/2014/main" id="{015ACE90-02E3-8C47-94C3-2D89724CC019}"/>
              </a:ext>
            </a:extLst>
          </p:cNvPr>
          <p:cNvSpPr/>
          <p:nvPr userDrawn="1"/>
        </p:nvSpPr>
        <p:spPr>
          <a:xfrm>
            <a:off x="-637" y="3537000"/>
            <a:ext cx="12192635" cy="0"/>
          </a:xfrm>
          <a:custGeom>
            <a:avLst/>
            <a:gdLst/>
            <a:ahLst/>
            <a:cxnLst/>
            <a:rect l="l" t="t" r="r" b="b"/>
            <a:pathLst>
              <a:path w="12192635">
                <a:moveTo>
                  <a:pt x="0" y="0"/>
                </a:moveTo>
                <a:lnTo>
                  <a:pt x="12192113" y="0"/>
                </a:lnTo>
              </a:path>
            </a:pathLst>
          </a:custGeom>
          <a:ln w="2540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6" name="Textplatzhalter 20">
            <a:extLst>
              <a:ext uri="{FF2B5EF4-FFF2-40B4-BE49-F238E27FC236}">
                <a16:creationId xmlns:a16="http://schemas.microsoft.com/office/drawing/2014/main" id="{A4C3430A-7E32-784A-A054-05C3781007F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281488" y="2626341"/>
            <a:ext cx="7453313" cy="246221"/>
          </a:xfrm>
        </p:spPr>
        <p:txBody>
          <a:bodyPr wrap="square" anchor="b">
            <a:noAutofit/>
          </a:bodyPr>
          <a:lstStyle>
            <a:lvl1pPr>
              <a:spcBef>
                <a:spcPts val="0"/>
              </a:spcBef>
              <a:defRPr sz="1600" cap="none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Name</a:t>
            </a:r>
          </a:p>
        </p:txBody>
      </p:sp>
      <p:sp>
        <p:nvSpPr>
          <p:cNvPr id="17" name="Datumsplatzhalter 4"/>
          <p:cNvSpPr>
            <a:spLocks noGrp="1"/>
          </p:cNvSpPr>
          <p:nvPr>
            <p:ph type="dt" sz="half" idx="2"/>
          </p:nvPr>
        </p:nvSpPr>
        <p:spPr>
          <a:xfrm>
            <a:off x="5207255" y="2956184"/>
            <a:ext cx="3024831" cy="246221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18" name="Textfeld 17"/>
          <p:cNvSpPr txBox="1"/>
          <p:nvPr userDrawn="1"/>
        </p:nvSpPr>
        <p:spPr>
          <a:xfrm>
            <a:off x="-974191" y="960180"/>
            <a:ext cx="696839" cy="184666"/>
          </a:xfrm>
          <a:prstGeom prst="rect">
            <a:avLst/>
          </a:prstGeom>
          <a:noFill/>
        </p:spPr>
        <p:txBody>
          <a:bodyPr wrap="none" lIns="72000" tIns="0" rIns="72000" bIns="0" rtlCol="0" anchor="ctr">
            <a:spAutoFit/>
          </a:bodyPr>
          <a:lstStyle/>
          <a:p>
            <a:pPr algn="r"/>
            <a:r>
              <a:rPr lang="de-DE" sz="1200" noProof="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extbox</a:t>
            </a:r>
          </a:p>
        </p:txBody>
      </p:sp>
      <p:sp>
        <p:nvSpPr>
          <p:cNvPr id="20" name="Textfeld 19"/>
          <p:cNvSpPr txBox="1"/>
          <p:nvPr userDrawn="1"/>
        </p:nvSpPr>
        <p:spPr>
          <a:xfrm>
            <a:off x="-1014869" y="-381635"/>
            <a:ext cx="990189" cy="184666"/>
          </a:xfrm>
          <a:prstGeom prst="rect">
            <a:avLst/>
          </a:prstGeom>
          <a:noFill/>
        </p:spPr>
        <p:txBody>
          <a:bodyPr wrap="none" lIns="72000" tIns="0" rIns="72000" bIns="0" rtlCol="0" anchor="ctr">
            <a:spAutoFit/>
          </a:bodyPr>
          <a:lstStyle/>
          <a:p>
            <a:pPr algn="r"/>
            <a:r>
              <a:rPr lang="de-DE" sz="1200" noProof="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Vier</a:t>
            </a:r>
            <a:r>
              <a:rPr lang="de-DE" sz="1200" baseline="0" noProof="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  <a:r>
              <a:rPr lang="de-DE" sz="1200" noProof="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Spalten</a:t>
            </a:r>
          </a:p>
        </p:txBody>
      </p:sp>
      <p:sp>
        <p:nvSpPr>
          <p:cNvPr id="21" name="Textfeld 20"/>
          <p:cNvSpPr txBox="1"/>
          <p:nvPr userDrawn="1"/>
        </p:nvSpPr>
        <p:spPr>
          <a:xfrm>
            <a:off x="-1032502" y="-618555"/>
            <a:ext cx="1007822" cy="184666"/>
          </a:xfrm>
          <a:prstGeom prst="rect">
            <a:avLst/>
          </a:prstGeom>
          <a:noFill/>
        </p:spPr>
        <p:txBody>
          <a:bodyPr wrap="none" lIns="72000" tIns="0" rIns="72000" bIns="0" rtlCol="0" anchor="ctr">
            <a:spAutoFit/>
          </a:bodyPr>
          <a:lstStyle/>
          <a:p>
            <a:pPr algn="r"/>
            <a:r>
              <a:rPr lang="de-DE" sz="1200" noProof="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Drei</a:t>
            </a:r>
            <a:r>
              <a:rPr lang="de-DE" sz="1200" baseline="0" noProof="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  <a:r>
              <a:rPr lang="de-DE" sz="1200" noProof="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Spalten</a:t>
            </a:r>
          </a:p>
        </p:txBody>
      </p:sp>
      <p:sp>
        <p:nvSpPr>
          <p:cNvPr id="22" name="Textfeld 21"/>
          <p:cNvSpPr txBox="1"/>
          <p:nvPr userDrawn="1"/>
        </p:nvSpPr>
        <p:spPr>
          <a:xfrm>
            <a:off x="-1067768" y="-855476"/>
            <a:ext cx="1043088" cy="184666"/>
          </a:xfrm>
          <a:prstGeom prst="rect">
            <a:avLst/>
          </a:prstGeom>
          <a:noFill/>
        </p:spPr>
        <p:txBody>
          <a:bodyPr wrap="none" lIns="72000" tIns="0" rIns="72000" bIns="0" rtlCol="0" anchor="ctr">
            <a:spAutoFit/>
          </a:bodyPr>
          <a:lstStyle/>
          <a:p>
            <a:pPr algn="r"/>
            <a:r>
              <a:rPr lang="de-DE" sz="1200" noProof="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Zwei Spalten</a:t>
            </a:r>
          </a:p>
        </p:txBody>
      </p:sp>
      <p:grpSp>
        <p:nvGrpSpPr>
          <p:cNvPr id="23" name="Gruppieren 22"/>
          <p:cNvGrpSpPr/>
          <p:nvPr userDrawn="1"/>
        </p:nvGrpSpPr>
        <p:grpSpPr>
          <a:xfrm>
            <a:off x="-276708" y="-835143"/>
            <a:ext cx="12205181" cy="7972555"/>
            <a:chOff x="-276708" y="-835143"/>
            <a:chExt cx="12205181" cy="7972555"/>
          </a:xfrm>
        </p:grpSpPr>
        <p:cxnSp>
          <p:nvCxnSpPr>
            <p:cNvPr id="24" name="Gerade Verbindung 23"/>
            <p:cNvCxnSpPr/>
            <p:nvPr userDrawn="1"/>
          </p:nvCxnSpPr>
          <p:spPr>
            <a:xfrm rot="5400000" flipV="1">
              <a:off x="-204708" y="980735"/>
              <a:ext cx="0" cy="1440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24"/>
            <p:cNvCxnSpPr/>
            <p:nvPr userDrawn="1"/>
          </p:nvCxnSpPr>
          <p:spPr>
            <a:xfrm rot="5400000" flipV="1">
              <a:off x="-204708" y="6381336"/>
              <a:ext cx="0" cy="1440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78"/>
            <p:cNvCxnSpPr/>
            <p:nvPr userDrawn="1"/>
          </p:nvCxnSpPr>
          <p:spPr>
            <a:xfrm>
              <a:off x="259147" y="6993412"/>
              <a:ext cx="0" cy="1440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 Verbindung mit Pfeil 28"/>
            <p:cNvCxnSpPr/>
            <p:nvPr userDrawn="1"/>
          </p:nvCxnSpPr>
          <p:spPr>
            <a:xfrm>
              <a:off x="263525" y="-526222"/>
              <a:ext cx="3492500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 Verbindung mit Pfeil 29"/>
            <p:cNvCxnSpPr/>
            <p:nvPr userDrawn="1"/>
          </p:nvCxnSpPr>
          <p:spPr>
            <a:xfrm>
              <a:off x="4259684" y="-526222"/>
              <a:ext cx="3457154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mit Pfeil 33"/>
            <p:cNvCxnSpPr/>
            <p:nvPr userDrawn="1"/>
          </p:nvCxnSpPr>
          <p:spPr>
            <a:xfrm>
              <a:off x="8220124" y="-526222"/>
              <a:ext cx="3492500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mit Pfeil 34"/>
            <p:cNvCxnSpPr/>
            <p:nvPr userDrawn="1"/>
          </p:nvCxnSpPr>
          <p:spPr>
            <a:xfrm>
              <a:off x="263525" y="-289302"/>
              <a:ext cx="2484438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mit Pfeil 35"/>
            <p:cNvCxnSpPr/>
            <p:nvPr userDrawn="1"/>
          </p:nvCxnSpPr>
          <p:spPr>
            <a:xfrm>
              <a:off x="3251200" y="-289302"/>
              <a:ext cx="2484438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 Verbindung mit Pfeil 36"/>
            <p:cNvCxnSpPr/>
            <p:nvPr userDrawn="1"/>
          </p:nvCxnSpPr>
          <p:spPr>
            <a:xfrm>
              <a:off x="6240462" y="-289302"/>
              <a:ext cx="2484438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 Verbindung mit Pfeil 37"/>
            <p:cNvCxnSpPr/>
            <p:nvPr userDrawn="1"/>
          </p:nvCxnSpPr>
          <p:spPr>
            <a:xfrm>
              <a:off x="9228186" y="-289302"/>
              <a:ext cx="2484438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 Verbindung mit Pfeil 38"/>
            <p:cNvCxnSpPr/>
            <p:nvPr userDrawn="1"/>
          </p:nvCxnSpPr>
          <p:spPr>
            <a:xfrm>
              <a:off x="263525" y="-763143"/>
              <a:ext cx="5472113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mit Pfeil 39"/>
            <p:cNvCxnSpPr/>
            <p:nvPr userDrawn="1"/>
          </p:nvCxnSpPr>
          <p:spPr>
            <a:xfrm>
              <a:off x="6240463" y="-763143"/>
              <a:ext cx="5472161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 Verbindung 107"/>
            <p:cNvCxnSpPr/>
            <p:nvPr userDrawn="1"/>
          </p:nvCxnSpPr>
          <p:spPr>
            <a:xfrm>
              <a:off x="2999272" y="-361302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 Verbindung 108"/>
            <p:cNvCxnSpPr/>
            <p:nvPr userDrawn="1"/>
          </p:nvCxnSpPr>
          <p:spPr>
            <a:xfrm>
              <a:off x="5987988" y="-361302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 Verbindung 109"/>
            <p:cNvCxnSpPr/>
            <p:nvPr userDrawn="1"/>
          </p:nvCxnSpPr>
          <p:spPr>
            <a:xfrm>
              <a:off x="8976320" y="-361302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Gerade Verbindung 110"/>
            <p:cNvCxnSpPr/>
            <p:nvPr userDrawn="1"/>
          </p:nvCxnSpPr>
          <p:spPr>
            <a:xfrm>
              <a:off x="7968208" y="-598222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Gerade Verbindung 111"/>
            <p:cNvCxnSpPr/>
            <p:nvPr userDrawn="1"/>
          </p:nvCxnSpPr>
          <p:spPr>
            <a:xfrm>
              <a:off x="4007768" y="-598222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Gerade Verbindung 112"/>
            <p:cNvCxnSpPr/>
            <p:nvPr userDrawn="1"/>
          </p:nvCxnSpPr>
          <p:spPr>
            <a:xfrm>
              <a:off x="5987988" y="-835143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Gerade Verbindung 33"/>
            <p:cNvCxnSpPr/>
            <p:nvPr userDrawn="1"/>
          </p:nvCxnSpPr>
          <p:spPr>
            <a:xfrm rot="5400000" flipV="1">
              <a:off x="-204708" y="826746"/>
              <a:ext cx="0" cy="144000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Gerade Verbindung 34"/>
            <p:cNvCxnSpPr/>
            <p:nvPr userDrawn="1"/>
          </p:nvCxnSpPr>
          <p:spPr>
            <a:xfrm rot="5400000" flipV="1">
              <a:off x="-204708" y="6785999"/>
              <a:ext cx="0" cy="144000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35"/>
            <p:cNvCxnSpPr/>
            <p:nvPr userDrawn="1"/>
          </p:nvCxnSpPr>
          <p:spPr>
            <a:xfrm rot="10800000" flipV="1">
              <a:off x="11928473" y="-361302"/>
              <a:ext cx="0" cy="144000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38"/>
            <p:cNvCxnSpPr/>
            <p:nvPr userDrawn="1"/>
          </p:nvCxnSpPr>
          <p:spPr>
            <a:xfrm rot="10800000" flipV="1">
              <a:off x="0" y="-361302"/>
              <a:ext cx="0" cy="144000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51" name="Gerade Verbindung 37"/>
          <p:cNvCxnSpPr/>
          <p:nvPr userDrawn="1"/>
        </p:nvCxnSpPr>
        <p:spPr>
          <a:xfrm>
            <a:off x="11712624" y="6993412"/>
            <a:ext cx="0" cy="144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Textfeld 51"/>
          <p:cNvSpPr txBox="1"/>
          <p:nvPr userDrawn="1"/>
        </p:nvSpPr>
        <p:spPr>
          <a:xfrm>
            <a:off x="-1791723" y="799523"/>
            <a:ext cx="1514371" cy="184666"/>
          </a:xfrm>
          <a:prstGeom prst="rect">
            <a:avLst/>
          </a:prstGeom>
          <a:noFill/>
        </p:spPr>
        <p:txBody>
          <a:bodyPr wrap="none" lIns="72000" tIns="0" rIns="72000" bIns="0" rtlCol="0" anchor="ctr">
            <a:spAutoFit/>
          </a:bodyPr>
          <a:lstStyle/>
          <a:p>
            <a:pPr algn="r"/>
            <a:r>
              <a:rPr lang="de-DE" sz="1200" noProof="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abelle</a:t>
            </a:r>
            <a:r>
              <a:rPr lang="de-DE" sz="1200" baseline="0" noProof="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  <a:r>
              <a:rPr lang="de-DE" sz="1200" noProof="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(Vollflächig)</a:t>
            </a:r>
          </a:p>
        </p:txBody>
      </p:sp>
    </p:spTree>
    <p:extLst>
      <p:ext uri="{BB962C8B-B14F-4D97-AF65-F5344CB8AC3E}">
        <p14:creationId xmlns:p14="http://schemas.microsoft.com/office/powerpoint/2010/main" val="1128082523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pfzeile Untertitel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platzhalter 14"/>
          <p:cNvSpPr>
            <a:spLocks noGrp="1"/>
          </p:cNvSpPr>
          <p:nvPr>
            <p:ph type="body" sz="quarter" idx="13"/>
          </p:nvPr>
        </p:nvSpPr>
        <p:spPr>
          <a:xfrm>
            <a:off x="263525" y="1457326"/>
            <a:ext cx="11449048" cy="4610100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GB" dirty="0"/>
          </a:p>
        </p:txBody>
      </p:sp>
      <p:sp>
        <p:nvSpPr>
          <p:cNvPr id="5" name="Rechteck 4"/>
          <p:cNvSpPr/>
          <p:nvPr userDrawn="1"/>
        </p:nvSpPr>
        <p:spPr>
          <a:xfrm>
            <a:off x="-794" y="0"/>
            <a:ext cx="12193588" cy="89999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00735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feld 7"/>
          <p:cNvSpPr txBox="1"/>
          <p:nvPr userDrawn="1"/>
        </p:nvSpPr>
        <p:spPr>
          <a:xfrm rot="16200000">
            <a:off x="8631237" y="3297236"/>
            <a:ext cx="6857999" cy="263527"/>
          </a:xfrm>
          <a:prstGeom prst="rect">
            <a:avLst/>
          </a:prstGeom>
          <a:solidFill>
            <a:schemeClr val="bg2"/>
          </a:solidFill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endParaRPr lang="de-DE" sz="800" kern="1200" spc="-30" baseline="0" dirty="0">
              <a:solidFill>
                <a:schemeClr val="accent5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Textfeld 8"/>
          <p:cNvSpPr txBox="1"/>
          <p:nvPr userDrawn="1"/>
        </p:nvSpPr>
        <p:spPr>
          <a:xfrm rot="16200000">
            <a:off x="11605877" y="322597"/>
            <a:ext cx="908719" cy="263527"/>
          </a:xfrm>
          <a:prstGeom prst="rect">
            <a:avLst/>
          </a:prstGeom>
          <a:noFill/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r>
              <a:rPr lang="de-DE" sz="800" kern="1200" spc="-3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© Rödl &amp; Partner </a:t>
            </a:r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>
          <a:xfrm>
            <a:off x="263525" y="260648"/>
            <a:ext cx="11449049" cy="39600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263525" y="1065214"/>
            <a:ext cx="11449048" cy="288000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Untertitel durch Klicken hinzufügen</a:t>
            </a:r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2" hasCustomPrompt="1"/>
          </p:nvPr>
        </p:nvSpPr>
        <p:spPr>
          <a:xfrm>
            <a:off x="263524" y="6248400"/>
            <a:ext cx="11449049" cy="204788"/>
          </a:xfrm>
        </p:spPr>
        <p:txBody>
          <a:bodyPr vert="horz" lIns="0" tIns="0" rIns="0" bIns="0" rtlCol="0" anchor="b">
            <a:noAutofit/>
          </a:bodyPr>
          <a:lstStyle>
            <a:lvl1pPr>
              <a:defRPr lang="de-DE" sz="1000" dirty="0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Fußnote durch Klicken hinzufügen</a:t>
            </a:r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4CFEB0D3-1EB3-4F08-8062-95FFB9749870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82286171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pfzeile Untertitel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/>
          <p:cNvSpPr/>
          <p:nvPr userDrawn="1"/>
        </p:nvSpPr>
        <p:spPr>
          <a:xfrm>
            <a:off x="-794" y="0"/>
            <a:ext cx="12193588" cy="89999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104488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feld 7"/>
          <p:cNvSpPr txBox="1"/>
          <p:nvPr userDrawn="1"/>
        </p:nvSpPr>
        <p:spPr>
          <a:xfrm rot="16200000">
            <a:off x="8631237" y="3297236"/>
            <a:ext cx="6857999" cy="263527"/>
          </a:xfrm>
          <a:prstGeom prst="rect">
            <a:avLst/>
          </a:prstGeom>
          <a:solidFill>
            <a:schemeClr val="bg2"/>
          </a:solidFill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endParaRPr lang="de-DE" sz="800" kern="1200" spc="-30" baseline="0" dirty="0">
              <a:solidFill>
                <a:schemeClr val="accent5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Textfeld 8"/>
          <p:cNvSpPr txBox="1"/>
          <p:nvPr userDrawn="1"/>
        </p:nvSpPr>
        <p:spPr>
          <a:xfrm rot="16200000">
            <a:off x="11605877" y="322597"/>
            <a:ext cx="908719" cy="263527"/>
          </a:xfrm>
          <a:prstGeom prst="rect">
            <a:avLst/>
          </a:prstGeom>
          <a:noFill/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r>
              <a:rPr lang="de-DE" sz="800" kern="1200" spc="-3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© Rödl &amp; Partner </a:t>
            </a:r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>
          <a:xfrm>
            <a:off x="263525" y="260648"/>
            <a:ext cx="11449049" cy="39600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263525" y="1065214"/>
            <a:ext cx="11449048" cy="288000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Untertitel durch Klicken hinzufügen</a:t>
            </a:r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4CFEB0D3-1EB3-4F08-8062-95FFB9749870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01074728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pfzeile farbig Untertitel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platzhalter 14"/>
          <p:cNvSpPr>
            <a:spLocks noGrp="1"/>
          </p:cNvSpPr>
          <p:nvPr>
            <p:ph type="body" sz="quarter" idx="13"/>
          </p:nvPr>
        </p:nvSpPr>
        <p:spPr>
          <a:xfrm>
            <a:off x="263525" y="1457326"/>
            <a:ext cx="11449048" cy="4610100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GB" dirty="0"/>
          </a:p>
        </p:txBody>
      </p:sp>
      <p:sp>
        <p:nvSpPr>
          <p:cNvPr id="12" name="object 4">
            <a:extLst>
              <a:ext uri="{FF2B5EF4-FFF2-40B4-BE49-F238E27FC236}">
                <a16:creationId xmlns:a16="http://schemas.microsoft.com/office/drawing/2014/main" id="{880C4227-47B7-694C-8443-CF01E2AE097C}"/>
              </a:ext>
            </a:extLst>
          </p:cNvPr>
          <p:cNvSpPr/>
          <p:nvPr userDrawn="1"/>
        </p:nvSpPr>
        <p:spPr>
          <a:xfrm>
            <a:off x="2681" y="899998"/>
            <a:ext cx="12193200" cy="158460"/>
          </a:xfrm>
          <a:custGeom>
            <a:avLst/>
            <a:gdLst/>
            <a:ahLst/>
            <a:cxnLst/>
            <a:rect l="l" t="t" r="r" b="b"/>
            <a:pathLst>
              <a:path w="12192635">
                <a:moveTo>
                  <a:pt x="0" y="0"/>
                </a:moveTo>
                <a:lnTo>
                  <a:pt x="12192113" y="0"/>
                </a:lnTo>
              </a:path>
            </a:pathLst>
          </a:custGeom>
          <a:ln w="28575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789688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feld 7"/>
          <p:cNvSpPr txBox="1"/>
          <p:nvPr userDrawn="1"/>
        </p:nvSpPr>
        <p:spPr>
          <a:xfrm rot="16200000">
            <a:off x="8631237" y="3297236"/>
            <a:ext cx="6857999" cy="263527"/>
          </a:xfrm>
          <a:prstGeom prst="rect">
            <a:avLst/>
          </a:prstGeom>
          <a:solidFill>
            <a:schemeClr val="bg2"/>
          </a:solidFill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endParaRPr lang="de-DE" sz="800" kern="1200" spc="-30" baseline="0" dirty="0">
              <a:solidFill>
                <a:schemeClr val="accent5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Textfeld 8"/>
          <p:cNvSpPr txBox="1"/>
          <p:nvPr userDrawn="1"/>
        </p:nvSpPr>
        <p:spPr>
          <a:xfrm rot="16200000">
            <a:off x="11605877" y="322597"/>
            <a:ext cx="908719" cy="263527"/>
          </a:xfrm>
          <a:prstGeom prst="rect">
            <a:avLst/>
          </a:prstGeom>
          <a:noFill/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r>
              <a:rPr lang="de-DE" sz="800" kern="1200" spc="-3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© Rödl &amp; Partner </a:t>
            </a:r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>
          <a:xfrm>
            <a:off x="263525" y="260648"/>
            <a:ext cx="11449049" cy="396000"/>
          </a:xfrm>
        </p:spPr>
        <p:txBody>
          <a:bodyPr/>
          <a:lstStyle>
            <a:lvl1pPr>
              <a:defRPr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263525" y="1065214"/>
            <a:ext cx="11449048" cy="288000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Untertitel durch Klicken hinzufügen</a:t>
            </a:r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2" hasCustomPrompt="1"/>
          </p:nvPr>
        </p:nvSpPr>
        <p:spPr>
          <a:xfrm>
            <a:off x="263524" y="6248400"/>
            <a:ext cx="11449049" cy="204788"/>
          </a:xfrm>
        </p:spPr>
        <p:txBody>
          <a:bodyPr vert="horz" lIns="0" tIns="0" rIns="0" bIns="0" rtlCol="0" anchor="b">
            <a:noAutofit/>
          </a:bodyPr>
          <a:lstStyle>
            <a:lvl1pPr>
              <a:defRPr lang="de-DE" sz="1000" dirty="0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Fußnote durch Klicken hinzufügen</a:t>
            </a:r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4CFEB0D3-1EB3-4F08-8062-95FFB9749870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54788871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deckblat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/>
          <p:cNvSpPr/>
          <p:nvPr userDrawn="1"/>
        </p:nvSpPr>
        <p:spPr>
          <a:xfrm>
            <a:off x="-794" y="0"/>
            <a:ext cx="12193588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" name="object 4">
            <a:extLst>
              <a:ext uri="{FF2B5EF4-FFF2-40B4-BE49-F238E27FC236}">
                <a16:creationId xmlns:a16="http://schemas.microsoft.com/office/drawing/2014/main" id="{880C4227-47B7-694C-8443-CF01E2AE097C}"/>
              </a:ext>
            </a:extLst>
          </p:cNvPr>
          <p:cNvSpPr/>
          <p:nvPr userDrawn="1"/>
        </p:nvSpPr>
        <p:spPr>
          <a:xfrm>
            <a:off x="2681" y="899998"/>
            <a:ext cx="12193200" cy="158460"/>
          </a:xfrm>
          <a:custGeom>
            <a:avLst/>
            <a:gdLst/>
            <a:ahLst/>
            <a:cxnLst/>
            <a:rect l="l" t="t" r="r" b="b"/>
            <a:pathLst>
              <a:path w="12192635">
                <a:moveTo>
                  <a:pt x="0" y="0"/>
                </a:moveTo>
                <a:lnTo>
                  <a:pt x="12192113" y="0"/>
                </a:lnTo>
              </a:path>
            </a:pathLst>
          </a:custGeom>
          <a:ln w="28575">
            <a:solidFill>
              <a:schemeClr val="bg1"/>
            </a:solidFill>
          </a:ln>
        </p:spPr>
        <p:txBody>
          <a:bodyPr wrap="square" lIns="0" tIns="0" rIns="0" bIns="0" rtlCol="0"/>
          <a:lstStyle/>
          <a:p>
            <a:endParaRPr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686908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feld 7"/>
          <p:cNvSpPr txBox="1"/>
          <p:nvPr userDrawn="1"/>
        </p:nvSpPr>
        <p:spPr>
          <a:xfrm rot="16200000">
            <a:off x="8631237" y="3297236"/>
            <a:ext cx="6857999" cy="263527"/>
          </a:xfrm>
          <a:prstGeom prst="rect">
            <a:avLst/>
          </a:prstGeom>
          <a:solidFill>
            <a:schemeClr val="bg2"/>
          </a:solidFill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endParaRPr lang="de-DE" sz="800" kern="1200" spc="-30" baseline="0" dirty="0">
              <a:solidFill>
                <a:schemeClr val="accent5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Textfeld 8"/>
          <p:cNvSpPr txBox="1"/>
          <p:nvPr userDrawn="1"/>
        </p:nvSpPr>
        <p:spPr>
          <a:xfrm rot="16200000">
            <a:off x="11605877" y="322597"/>
            <a:ext cx="908719" cy="263527"/>
          </a:xfrm>
          <a:prstGeom prst="rect">
            <a:avLst/>
          </a:prstGeom>
          <a:noFill/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r>
              <a:rPr lang="de-DE" sz="800" kern="1200" spc="-3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© Rödl &amp; Partner </a:t>
            </a:r>
          </a:p>
        </p:txBody>
      </p:sp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>
          <a:xfrm>
            <a:off x="263525" y="260648"/>
            <a:ext cx="11449049" cy="39600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de-DE" dirty="0" err="1"/>
              <a:t>kapitel</a:t>
            </a:r>
            <a:endParaRPr lang="en-GB" dirty="0"/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4CFEB0D3-1EB3-4F08-8062-95FFB9749870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65132350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deckblat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/>
          <p:cNvSpPr/>
          <p:nvPr userDrawn="1"/>
        </p:nvSpPr>
        <p:spPr>
          <a:xfrm>
            <a:off x="-794" y="0"/>
            <a:ext cx="12193588" cy="89999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124181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feld 7"/>
          <p:cNvSpPr txBox="1"/>
          <p:nvPr userDrawn="1"/>
        </p:nvSpPr>
        <p:spPr>
          <a:xfrm rot="16200000">
            <a:off x="8631237" y="3297236"/>
            <a:ext cx="6857999" cy="263527"/>
          </a:xfrm>
          <a:prstGeom prst="rect">
            <a:avLst/>
          </a:prstGeom>
          <a:solidFill>
            <a:schemeClr val="bg2"/>
          </a:solidFill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endParaRPr lang="de-DE" sz="800" kern="1200" spc="-30" baseline="0" dirty="0">
              <a:solidFill>
                <a:schemeClr val="accent5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Textfeld 8"/>
          <p:cNvSpPr txBox="1"/>
          <p:nvPr userDrawn="1"/>
        </p:nvSpPr>
        <p:spPr>
          <a:xfrm rot="16200000">
            <a:off x="11605877" y="322597"/>
            <a:ext cx="908719" cy="263527"/>
          </a:xfrm>
          <a:prstGeom prst="rect">
            <a:avLst/>
          </a:prstGeom>
          <a:noFill/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r>
              <a:rPr lang="de-DE" sz="800" kern="1200" spc="-3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© Rödl &amp; Partner </a:t>
            </a:r>
          </a:p>
        </p:txBody>
      </p:sp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>
          <a:xfrm>
            <a:off x="263525" y="260648"/>
            <a:ext cx="11449049" cy="39600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de-DE" dirty="0" err="1"/>
              <a:t>kapitel</a:t>
            </a:r>
            <a:endParaRPr lang="en-GB" dirty="0"/>
          </a:p>
        </p:txBody>
      </p:sp>
      <p:sp>
        <p:nvSpPr>
          <p:cNvPr id="17" name="Foliennummernplatzhalter 1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4CFEB0D3-1EB3-4F08-8062-95FFB9749870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44955011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pfzeile Untertitel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platzhalter 14"/>
          <p:cNvSpPr>
            <a:spLocks noGrp="1"/>
          </p:cNvSpPr>
          <p:nvPr>
            <p:ph type="body" sz="quarter" idx="13"/>
          </p:nvPr>
        </p:nvSpPr>
        <p:spPr>
          <a:xfrm>
            <a:off x="263525" y="1457326"/>
            <a:ext cx="11449048" cy="4610100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GB" dirty="0"/>
          </a:p>
        </p:txBody>
      </p:sp>
      <p:sp>
        <p:nvSpPr>
          <p:cNvPr id="5" name="Rechteck 4"/>
          <p:cNvSpPr/>
          <p:nvPr userDrawn="1"/>
        </p:nvSpPr>
        <p:spPr>
          <a:xfrm>
            <a:off x="-794" y="0"/>
            <a:ext cx="12193588" cy="89999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097060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feld 7"/>
          <p:cNvSpPr txBox="1"/>
          <p:nvPr userDrawn="1"/>
        </p:nvSpPr>
        <p:spPr>
          <a:xfrm rot="16200000">
            <a:off x="8631237" y="3297236"/>
            <a:ext cx="6857999" cy="263527"/>
          </a:xfrm>
          <a:prstGeom prst="rect">
            <a:avLst/>
          </a:prstGeom>
          <a:solidFill>
            <a:schemeClr val="bg2"/>
          </a:solidFill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endParaRPr lang="de-DE" sz="800" kern="1200" spc="-30" baseline="0" dirty="0">
              <a:solidFill>
                <a:schemeClr val="accent5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Textfeld 8"/>
          <p:cNvSpPr txBox="1"/>
          <p:nvPr userDrawn="1"/>
        </p:nvSpPr>
        <p:spPr>
          <a:xfrm rot="16200000">
            <a:off x="11605877" y="322597"/>
            <a:ext cx="908719" cy="263527"/>
          </a:xfrm>
          <a:prstGeom prst="rect">
            <a:avLst/>
          </a:prstGeom>
          <a:noFill/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r>
              <a:rPr lang="de-DE" sz="800" kern="1200" spc="-3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© Rödl &amp; Partner </a:t>
            </a:r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>
          <a:xfrm>
            <a:off x="263525" y="260648"/>
            <a:ext cx="11449049" cy="39600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263525" y="1065214"/>
            <a:ext cx="11449048" cy="288000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Untertitel durch Klicken hinzufügen</a:t>
            </a:r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2" hasCustomPrompt="1"/>
          </p:nvPr>
        </p:nvSpPr>
        <p:spPr>
          <a:xfrm>
            <a:off x="263524" y="6248400"/>
            <a:ext cx="11449049" cy="204788"/>
          </a:xfrm>
        </p:spPr>
        <p:txBody>
          <a:bodyPr vert="horz" lIns="0" tIns="0" rIns="0" bIns="0" rtlCol="0" anchor="b">
            <a:noAutofit/>
          </a:bodyPr>
          <a:lstStyle>
            <a:lvl1pPr>
              <a:defRPr lang="de-DE" sz="1000" dirty="0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Fußnote durch Klicken hinzufügen</a:t>
            </a:r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4CFEB0D3-1EB3-4F08-8062-95FFB9749870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56824630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pfzeile Unter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/>
          <p:cNvSpPr/>
          <p:nvPr userDrawn="1"/>
        </p:nvSpPr>
        <p:spPr>
          <a:xfrm>
            <a:off x="-794" y="0"/>
            <a:ext cx="12193588" cy="89999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266366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feld 7"/>
          <p:cNvSpPr txBox="1"/>
          <p:nvPr userDrawn="1"/>
        </p:nvSpPr>
        <p:spPr>
          <a:xfrm rot="16200000">
            <a:off x="8631237" y="3297236"/>
            <a:ext cx="6857999" cy="263527"/>
          </a:xfrm>
          <a:prstGeom prst="rect">
            <a:avLst/>
          </a:prstGeom>
          <a:solidFill>
            <a:schemeClr val="bg2"/>
          </a:solidFill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endParaRPr lang="de-DE" sz="800" kern="1200" spc="-30" baseline="0" dirty="0">
              <a:solidFill>
                <a:schemeClr val="accent5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Textfeld 8"/>
          <p:cNvSpPr txBox="1"/>
          <p:nvPr userDrawn="1"/>
        </p:nvSpPr>
        <p:spPr>
          <a:xfrm rot="16200000">
            <a:off x="11605877" y="322597"/>
            <a:ext cx="908719" cy="263527"/>
          </a:xfrm>
          <a:prstGeom prst="rect">
            <a:avLst/>
          </a:prstGeom>
          <a:noFill/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r>
              <a:rPr lang="de-DE" sz="800" kern="1200" spc="-3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© Rödl &amp; Partner </a:t>
            </a:r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>
          <a:xfrm>
            <a:off x="263525" y="260648"/>
            <a:ext cx="11449049" cy="39600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263525" y="1065214"/>
            <a:ext cx="11449048" cy="288000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Untertitel durch Klicken hinzufügen</a:t>
            </a:r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4CFEB0D3-1EB3-4F08-8062-95FFB9749870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84559092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pfzeile farbig Untertitel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platzhalter 14"/>
          <p:cNvSpPr>
            <a:spLocks noGrp="1"/>
          </p:cNvSpPr>
          <p:nvPr>
            <p:ph type="body" sz="quarter" idx="13"/>
          </p:nvPr>
        </p:nvSpPr>
        <p:spPr>
          <a:xfrm>
            <a:off x="263525" y="1457326"/>
            <a:ext cx="11449048" cy="4610100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GB" dirty="0"/>
          </a:p>
        </p:txBody>
      </p:sp>
      <p:sp>
        <p:nvSpPr>
          <p:cNvPr id="12" name="object 4">
            <a:extLst>
              <a:ext uri="{FF2B5EF4-FFF2-40B4-BE49-F238E27FC236}">
                <a16:creationId xmlns:a16="http://schemas.microsoft.com/office/drawing/2014/main" id="{880C4227-47B7-694C-8443-CF01E2AE097C}"/>
              </a:ext>
            </a:extLst>
          </p:cNvPr>
          <p:cNvSpPr/>
          <p:nvPr userDrawn="1"/>
        </p:nvSpPr>
        <p:spPr>
          <a:xfrm>
            <a:off x="2681" y="899998"/>
            <a:ext cx="12193200" cy="158460"/>
          </a:xfrm>
          <a:custGeom>
            <a:avLst/>
            <a:gdLst/>
            <a:ahLst/>
            <a:cxnLst/>
            <a:rect l="l" t="t" r="r" b="b"/>
            <a:pathLst>
              <a:path w="12192635">
                <a:moveTo>
                  <a:pt x="0" y="0"/>
                </a:moveTo>
                <a:lnTo>
                  <a:pt x="12192113" y="0"/>
                </a:lnTo>
              </a:path>
            </a:pathLst>
          </a:custGeom>
          <a:ln w="28575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481515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feld 7"/>
          <p:cNvSpPr txBox="1"/>
          <p:nvPr userDrawn="1"/>
        </p:nvSpPr>
        <p:spPr>
          <a:xfrm rot="16200000">
            <a:off x="8631237" y="3297236"/>
            <a:ext cx="6857999" cy="263527"/>
          </a:xfrm>
          <a:prstGeom prst="rect">
            <a:avLst/>
          </a:prstGeom>
          <a:solidFill>
            <a:schemeClr val="bg2"/>
          </a:solidFill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endParaRPr lang="de-DE" sz="800" kern="1200" spc="-30" baseline="0" dirty="0">
              <a:solidFill>
                <a:schemeClr val="accent5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Textfeld 8"/>
          <p:cNvSpPr txBox="1"/>
          <p:nvPr userDrawn="1"/>
        </p:nvSpPr>
        <p:spPr>
          <a:xfrm rot="16200000">
            <a:off x="11605877" y="322597"/>
            <a:ext cx="908719" cy="263527"/>
          </a:xfrm>
          <a:prstGeom prst="rect">
            <a:avLst/>
          </a:prstGeom>
          <a:noFill/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r>
              <a:rPr lang="de-DE" sz="800" kern="1200" spc="-3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© Rödl &amp; Partner </a:t>
            </a:r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>
          <a:xfrm>
            <a:off x="263525" y="260648"/>
            <a:ext cx="11449049" cy="396000"/>
          </a:xfrm>
        </p:spPr>
        <p:txBody>
          <a:bodyPr/>
          <a:lstStyle>
            <a:lvl1pPr>
              <a:defRPr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263525" y="1065214"/>
            <a:ext cx="11449048" cy="288000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Untertitel durch Klicken hinzufügen</a:t>
            </a:r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2" hasCustomPrompt="1"/>
          </p:nvPr>
        </p:nvSpPr>
        <p:spPr>
          <a:xfrm>
            <a:off x="263524" y="6248400"/>
            <a:ext cx="11449049" cy="204788"/>
          </a:xfrm>
        </p:spPr>
        <p:txBody>
          <a:bodyPr vert="horz" lIns="0" tIns="0" rIns="0" bIns="0" rtlCol="0" anchor="b">
            <a:noAutofit/>
          </a:bodyPr>
          <a:lstStyle>
            <a:lvl1pPr>
              <a:defRPr lang="de-DE" sz="1000" dirty="0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Fußnote durch Klicken hinzufügen</a:t>
            </a:r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4CFEB0D3-1EB3-4F08-8062-95FFB9749870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22756991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pfzeile Untertitel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platzhalter 14"/>
          <p:cNvSpPr>
            <a:spLocks noGrp="1"/>
          </p:cNvSpPr>
          <p:nvPr>
            <p:ph type="body" sz="quarter" idx="13"/>
          </p:nvPr>
        </p:nvSpPr>
        <p:spPr>
          <a:xfrm>
            <a:off x="263525" y="1457326"/>
            <a:ext cx="11449048" cy="4610100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GB" dirty="0"/>
          </a:p>
        </p:txBody>
      </p:sp>
      <p:sp>
        <p:nvSpPr>
          <p:cNvPr id="5" name="Rechteck 4"/>
          <p:cNvSpPr/>
          <p:nvPr userDrawn="1"/>
        </p:nvSpPr>
        <p:spPr>
          <a:xfrm>
            <a:off x="-794" y="0"/>
            <a:ext cx="12193588" cy="89999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" name="object 4">
            <a:extLst>
              <a:ext uri="{FF2B5EF4-FFF2-40B4-BE49-F238E27FC236}">
                <a16:creationId xmlns:a16="http://schemas.microsoft.com/office/drawing/2014/main" id="{880C4227-47B7-694C-8443-CF01E2AE097C}"/>
              </a:ext>
            </a:extLst>
          </p:cNvPr>
          <p:cNvSpPr/>
          <p:nvPr userDrawn="1"/>
        </p:nvSpPr>
        <p:spPr>
          <a:xfrm>
            <a:off x="2681" y="899998"/>
            <a:ext cx="12193200" cy="158460"/>
          </a:xfrm>
          <a:custGeom>
            <a:avLst/>
            <a:gdLst/>
            <a:ahLst/>
            <a:cxnLst/>
            <a:rect l="l" t="t" r="r" b="b"/>
            <a:pathLst>
              <a:path w="12192635">
                <a:moveTo>
                  <a:pt x="0" y="0"/>
                </a:moveTo>
                <a:lnTo>
                  <a:pt x="12192113" y="0"/>
                </a:lnTo>
              </a:path>
            </a:pathLst>
          </a:custGeom>
          <a:ln w="28575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097849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feld 7"/>
          <p:cNvSpPr txBox="1"/>
          <p:nvPr userDrawn="1"/>
        </p:nvSpPr>
        <p:spPr>
          <a:xfrm rot="16200000">
            <a:off x="8631237" y="3297236"/>
            <a:ext cx="6857999" cy="263527"/>
          </a:xfrm>
          <a:prstGeom prst="rect">
            <a:avLst/>
          </a:prstGeom>
          <a:solidFill>
            <a:schemeClr val="bg2"/>
          </a:solidFill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endParaRPr lang="de-DE" sz="800" kern="1200" spc="-30" baseline="0" dirty="0">
              <a:solidFill>
                <a:schemeClr val="accent5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Textfeld 8"/>
          <p:cNvSpPr txBox="1"/>
          <p:nvPr userDrawn="1"/>
        </p:nvSpPr>
        <p:spPr>
          <a:xfrm rot="16200000">
            <a:off x="11605877" y="322597"/>
            <a:ext cx="908719" cy="263527"/>
          </a:xfrm>
          <a:prstGeom prst="rect">
            <a:avLst/>
          </a:prstGeom>
          <a:noFill/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r>
              <a:rPr lang="de-DE" sz="800" kern="1200" spc="-3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© Rödl &amp; Partner </a:t>
            </a:r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>
          <a:xfrm>
            <a:off x="263525" y="260648"/>
            <a:ext cx="11449049" cy="396000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263525" y="1065214"/>
            <a:ext cx="11449048" cy="288000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Untertitel durch Klicken hinzufügen</a:t>
            </a:r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2" hasCustomPrompt="1"/>
          </p:nvPr>
        </p:nvSpPr>
        <p:spPr>
          <a:xfrm>
            <a:off x="263524" y="6248400"/>
            <a:ext cx="11449049" cy="204788"/>
          </a:xfrm>
        </p:spPr>
        <p:txBody>
          <a:bodyPr vert="horz" lIns="0" tIns="0" rIns="0" bIns="0" rtlCol="0" anchor="b">
            <a:noAutofit/>
          </a:bodyPr>
          <a:lstStyle>
            <a:lvl1pPr>
              <a:defRPr lang="de-DE" sz="1000" dirty="0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Fußnote durch Klicken hinzufügen</a:t>
            </a:r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4CFEB0D3-1EB3-4F08-8062-95FFB9749870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78697582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pfzeile Untertitel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/>
          <p:cNvSpPr/>
          <p:nvPr userDrawn="1"/>
        </p:nvSpPr>
        <p:spPr>
          <a:xfrm>
            <a:off x="-794" y="0"/>
            <a:ext cx="12193588" cy="89999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" name="object 4">
            <a:extLst>
              <a:ext uri="{FF2B5EF4-FFF2-40B4-BE49-F238E27FC236}">
                <a16:creationId xmlns:a16="http://schemas.microsoft.com/office/drawing/2014/main" id="{880C4227-47B7-694C-8443-CF01E2AE097C}"/>
              </a:ext>
            </a:extLst>
          </p:cNvPr>
          <p:cNvSpPr/>
          <p:nvPr userDrawn="1"/>
        </p:nvSpPr>
        <p:spPr>
          <a:xfrm>
            <a:off x="2681" y="899998"/>
            <a:ext cx="12193200" cy="158460"/>
          </a:xfrm>
          <a:custGeom>
            <a:avLst/>
            <a:gdLst/>
            <a:ahLst/>
            <a:cxnLst/>
            <a:rect l="l" t="t" r="r" b="b"/>
            <a:pathLst>
              <a:path w="12192635">
                <a:moveTo>
                  <a:pt x="0" y="0"/>
                </a:moveTo>
                <a:lnTo>
                  <a:pt x="12192113" y="0"/>
                </a:lnTo>
              </a:path>
            </a:pathLst>
          </a:custGeom>
          <a:ln w="28575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974877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feld 7"/>
          <p:cNvSpPr txBox="1"/>
          <p:nvPr userDrawn="1"/>
        </p:nvSpPr>
        <p:spPr>
          <a:xfrm rot="16200000">
            <a:off x="8631237" y="3297236"/>
            <a:ext cx="6857999" cy="263527"/>
          </a:xfrm>
          <a:prstGeom prst="rect">
            <a:avLst/>
          </a:prstGeom>
          <a:solidFill>
            <a:schemeClr val="bg2"/>
          </a:solidFill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endParaRPr lang="de-DE" sz="800" kern="1200" spc="-30" baseline="0" dirty="0">
              <a:solidFill>
                <a:schemeClr val="accent5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Textfeld 8"/>
          <p:cNvSpPr txBox="1"/>
          <p:nvPr userDrawn="1"/>
        </p:nvSpPr>
        <p:spPr>
          <a:xfrm rot="16200000">
            <a:off x="11605877" y="322597"/>
            <a:ext cx="908719" cy="263527"/>
          </a:xfrm>
          <a:prstGeom prst="rect">
            <a:avLst/>
          </a:prstGeom>
          <a:noFill/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r>
              <a:rPr lang="de-DE" sz="800" kern="1200" spc="-3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© Rödl &amp; Partner </a:t>
            </a:r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>
          <a:xfrm>
            <a:off x="263525" y="260648"/>
            <a:ext cx="11449049" cy="396000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263525" y="1065214"/>
            <a:ext cx="11449048" cy="288000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Untertitel durch Klicken hinzufügen</a:t>
            </a:r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4CFEB0D3-1EB3-4F08-8062-95FFB9749870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5470902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780523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de-DE" sz="2800" b="0" i="0" baseline="0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" name="Rechteck 12"/>
          <p:cNvSpPr/>
          <p:nvPr userDrawn="1"/>
        </p:nvSpPr>
        <p:spPr>
          <a:xfrm>
            <a:off x="-794" y="0"/>
            <a:ext cx="12193588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cxnSp>
        <p:nvCxnSpPr>
          <p:cNvPr id="8" name="Gerade Verbindung 7"/>
          <p:cNvCxnSpPr/>
          <p:nvPr userDrawn="1"/>
        </p:nvCxnSpPr>
        <p:spPr>
          <a:xfrm>
            <a:off x="-1" y="900000"/>
            <a:ext cx="12204000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4"/>
          <p:cNvCxnSpPr/>
          <p:nvPr userDrawn="1"/>
        </p:nvCxnSpPr>
        <p:spPr>
          <a:xfrm>
            <a:off x="5988050" y="918000"/>
            <a:ext cx="0" cy="594000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8655417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pfzeile Untertitel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platzhalter 14"/>
          <p:cNvSpPr>
            <a:spLocks noGrp="1"/>
          </p:cNvSpPr>
          <p:nvPr>
            <p:ph type="body" sz="quarter" idx="13"/>
          </p:nvPr>
        </p:nvSpPr>
        <p:spPr>
          <a:xfrm>
            <a:off x="263525" y="1457326"/>
            <a:ext cx="11449048" cy="4610100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GB" dirty="0"/>
          </a:p>
        </p:txBody>
      </p:sp>
      <p:sp>
        <p:nvSpPr>
          <p:cNvPr id="5" name="Rechteck 4"/>
          <p:cNvSpPr/>
          <p:nvPr userDrawn="1"/>
        </p:nvSpPr>
        <p:spPr>
          <a:xfrm>
            <a:off x="-794" y="0"/>
            <a:ext cx="12193588" cy="89999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" name="object 4">
            <a:extLst>
              <a:ext uri="{FF2B5EF4-FFF2-40B4-BE49-F238E27FC236}">
                <a16:creationId xmlns:a16="http://schemas.microsoft.com/office/drawing/2014/main" id="{880C4227-47B7-694C-8443-CF01E2AE097C}"/>
              </a:ext>
            </a:extLst>
          </p:cNvPr>
          <p:cNvSpPr/>
          <p:nvPr userDrawn="1"/>
        </p:nvSpPr>
        <p:spPr>
          <a:xfrm>
            <a:off x="2681" y="899998"/>
            <a:ext cx="12193200" cy="158460"/>
          </a:xfrm>
          <a:custGeom>
            <a:avLst/>
            <a:gdLst/>
            <a:ahLst/>
            <a:cxnLst/>
            <a:rect l="l" t="t" r="r" b="b"/>
            <a:pathLst>
              <a:path w="12192635">
                <a:moveTo>
                  <a:pt x="0" y="0"/>
                </a:moveTo>
                <a:lnTo>
                  <a:pt x="12192113" y="0"/>
                </a:lnTo>
              </a:path>
            </a:pathLst>
          </a:custGeom>
          <a:ln w="28575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769924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feld 7"/>
          <p:cNvSpPr txBox="1"/>
          <p:nvPr userDrawn="1"/>
        </p:nvSpPr>
        <p:spPr>
          <a:xfrm rot="16200000">
            <a:off x="8631237" y="3297236"/>
            <a:ext cx="6857999" cy="263527"/>
          </a:xfrm>
          <a:prstGeom prst="rect">
            <a:avLst/>
          </a:prstGeom>
          <a:solidFill>
            <a:schemeClr val="bg2"/>
          </a:solidFill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endParaRPr lang="de-DE" sz="800" kern="1200" spc="-30" baseline="0" dirty="0">
              <a:solidFill>
                <a:schemeClr val="accent5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Textfeld 8"/>
          <p:cNvSpPr txBox="1"/>
          <p:nvPr userDrawn="1"/>
        </p:nvSpPr>
        <p:spPr>
          <a:xfrm rot="16200000">
            <a:off x="11605877" y="322597"/>
            <a:ext cx="908719" cy="263527"/>
          </a:xfrm>
          <a:prstGeom prst="rect">
            <a:avLst/>
          </a:prstGeom>
          <a:noFill/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r>
              <a:rPr lang="de-DE" sz="800" kern="1200" spc="-3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© Rödl &amp; Partner </a:t>
            </a:r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>
          <a:xfrm>
            <a:off x="263525" y="260648"/>
            <a:ext cx="11449049" cy="396000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263525" y="1065214"/>
            <a:ext cx="11449048" cy="288000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Untertitel durch Klicken hinzufügen</a:t>
            </a:r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2" hasCustomPrompt="1"/>
          </p:nvPr>
        </p:nvSpPr>
        <p:spPr>
          <a:xfrm>
            <a:off x="263524" y="6248400"/>
            <a:ext cx="11449049" cy="204788"/>
          </a:xfrm>
        </p:spPr>
        <p:txBody>
          <a:bodyPr vert="horz" lIns="0" tIns="0" rIns="0" bIns="0" rtlCol="0" anchor="b">
            <a:noAutofit/>
          </a:bodyPr>
          <a:lstStyle>
            <a:lvl1pPr>
              <a:defRPr lang="de-DE" sz="1000" dirty="0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Fußnote durch Klicken hinzufügen</a:t>
            </a:r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4CFEB0D3-1EB3-4F08-8062-95FFB9749870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08197565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pfzeile Untertitel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/>
          <p:cNvSpPr/>
          <p:nvPr userDrawn="1"/>
        </p:nvSpPr>
        <p:spPr>
          <a:xfrm>
            <a:off x="-794" y="0"/>
            <a:ext cx="12193588" cy="89999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" name="object 4">
            <a:extLst>
              <a:ext uri="{FF2B5EF4-FFF2-40B4-BE49-F238E27FC236}">
                <a16:creationId xmlns:a16="http://schemas.microsoft.com/office/drawing/2014/main" id="{880C4227-47B7-694C-8443-CF01E2AE097C}"/>
              </a:ext>
            </a:extLst>
          </p:cNvPr>
          <p:cNvSpPr/>
          <p:nvPr userDrawn="1"/>
        </p:nvSpPr>
        <p:spPr>
          <a:xfrm>
            <a:off x="2681" y="899998"/>
            <a:ext cx="12193200" cy="158460"/>
          </a:xfrm>
          <a:custGeom>
            <a:avLst/>
            <a:gdLst/>
            <a:ahLst/>
            <a:cxnLst/>
            <a:rect l="l" t="t" r="r" b="b"/>
            <a:pathLst>
              <a:path w="12192635">
                <a:moveTo>
                  <a:pt x="0" y="0"/>
                </a:moveTo>
                <a:lnTo>
                  <a:pt x="12192113" y="0"/>
                </a:lnTo>
              </a:path>
            </a:pathLst>
          </a:custGeom>
          <a:ln w="28575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600061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feld 7"/>
          <p:cNvSpPr txBox="1"/>
          <p:nvPr userDrawn="1"/>
        </p:nvSpPr>
        <p:spPr>
          <a:xfrm rot="16200000">
            <a:off x="8631237" y="3297236"/>
            <a:ext cx="6857999" cy="263527"/>
          </a:xfrm>
          <a:prstGeom prst="rect">
            <a:avLst/>
          </a:prstGeom>
          <a:solidFill>
            <a:schemeClr val="bg2"/>
          </a:solidFill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endParaRPr lang="de-DE" sz="800" kern="1200" spc="-30" baseline="0" dirty="0">
              <a:solidFill>
                <a:schemeClr val="accent5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Textfeld 8"/>
          <p:cNvSpPr txBox="1"/>
          <p:nvPr userDrawn="1"/>
        </p:nvSpPr>
        <p:spPr>
          <a:xfrm rot="16200000">
            <a:off x="11605877" y="322597"/>
            <a:ext cx="908719" cy="263527"/>
          </a:xfrm>
          <a:prstGeom prst="rect">
            <a:avLst/>
          </a:prstGeom>
          <a:noFill/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r>
              <a:rPr lang="de-DE" sz="800" kern="1200" spc="-3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© Rödl &amp; Partner </a:t>
            </a:r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>
          <a:xfrm>
            <a:off x="263525" y="260648"/>
            <a:ext cx="11449049" cy="396000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263525" y="1065214"/>
            <a:ext cx="11449048" cy="288000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Untertitel durch Klicken hinzufügen</a:t>
            </a:r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4CFEB0D3-1EB3-4F08-8062-95FFB9749870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84247868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instieg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143084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/>
          <p:cNvSpPr/>
          <p:nvPr userDrawn="1"/>
        </p:nvSpPr>
        <p:spPr>
          <a:xfrm>
            <a:off x="-794" y="0"/>
            <a:ext cx="12193588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cxnSp>
        <p:nvCxnSpPr>
          <p:cNvPr id="11" name="Gerade Verbindung 10"/>
          <p:cNvCxnSpPr/>
          <p:nvPr userDrawn="1"/>
        </p:nvCxnSpPr>
        <p:spPr>
          <a:xfrm>
            <a:off x="3971764" y="1664804"/>
            <a:ext cx="0" cy="5193196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platzhalter 20"/>
          <p:cNvSpPr>
            <a:spLocks noGrp="1"/>
          </p:cNvSpPr>
          <p:nvPr>
            <p:ph type="body" sz="quarter" idx="12" hasCustomPrompt="1"/>
          </p:nvPr>
        </p:nvSpPr>
        <p:spPr>
          <a:xfrm>
            <a:off x="4259263" y="5154545"/>
            <a:ext cx="7453312" cy="286745"/>
          </a:xfrm>
        </p:spPr>
        <p:txBody>
          <a:bodyPr wrap="square" anchor="b">
            <a:spAutoFit/>
          </a:bodyPr>
          <a:lstStyle>
            <a:lvl1pPr>
              <a:lnSpc>
                <a:spcPct val="130000"/>
              </a:lnSpc>
              <a:spcBef>
                <a:spcPts val="0"/>
              </a:spcBef>
              <a:defRPr sz="1600" cap="all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Untertitel durch Klicken bearbeiten</a:t>
            </a:r>
          </a:p>
        </p:txBody>
      </p:sp>
      <p:sp>
        <p:nvSpPr>
          <p:cNvPr id="25" name="Textplatzhalter 20"/>
          <p:cNvSpPr>
            <a:spLocks noGrp="1"/>
          </p:cNvSpPr>
          <p:nvPr>
            <p:ph type="body" sz="quarter" idx="13" hasCustomPrompt="1"/>
          </p:nvPr>
        </p:nvSpPr>
        <p:spPr>
          <a:xfrm>
            <a:off x="4259263" y="6207115"/>
            <a:ext cx="7453312" cy="246221"/>
          </a:xfrm>
        </p:spPr>
        <p:txBody>
          <a:bodyPr wrap="square" anchor="b">
            <a:spAutoFit/>
          </a:bodyPr>
          <a:lstStyle>
            <a:lvl1pPr>
              <a:spcBef>
                <a:spcPts val="0"/>
              </a:spcBef>
              <a:defRPr sz="1600" cap="none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Ort,</a:t>
            </a:r>
          </a:p>
        </p:txBody>
      </p:sp>
      <p:pic>
        <p:nvPicPr>
          <p:cNvPr id="17" name="Picture 10"/>
          <p:cNvPicPr>
            <a:picLocks noChangeAspect="1" noChangeArrowheads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63352" y="200024"/>
            <a:ext cx="4018011" cy="532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9" name="object 4">
            <a:extLst>
              <a:ext uri="{FF2B5EF4-FFF2-40B4-BE49-F238E27FC236}">
                <a16:creationId xmlns:a16="http://schemas.microsoft.com/office/drawing/2014/main" id="{F1407FCD-A98D-8D4C-BAEA-A83B72042659}"/>
              </a:ext>
            </a:extLst>
          </p:cNvPr>
          <p:cNvSpPr/>
          <p:nvPr userDrawn="1"/>
        </p:nvSpPr>
        <p:spPr>
          <a:xfrm>
            <a:off x="0" y="899999"/>
            <a:ext cx="12192635" cy="0"/>
          </a:xfrm>
          <a:custGeom>
            <a:avLst/>
            <a:gdLst/>
            <a:ahLst/>
            <a:cxnLst/>
            <a:rect l="l" t="t" r="r" b="b"/>
            <a:pathLst>
              <a:path w="12192635">
                <a:moveTo>
                  <a:pt x="0" y="0"/>
                </a:moveTo>
                <a:lnTo>
                  <a:pt x="12192113" y="0"/>
                </a:lnTo>
              </a:path>
            </a:pathLst>
          </a:custGeom>
          <a:ln w="28575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extplatzhalter 15"/>
          <p:cNvSpPr>
            <a:spLocks noGrp="1"/>
          </p:cNvSpPr>
          <p:nvPr>
            <p:ph type="body" sz="quarter" idx="14" hasCustomPrompt="1"/>
          </p:nvPr>
        </p:nvSpPr>
        <p:spPr>
          <a:xfrm>
            <a:off x="0" y="908720"/>
            <a:ext cx="12192794" cy="769441"/>
          </a:xfrm>
          <a:solidFill>
            <a:schemeClr val="tx2"/>
          </a:solidFill>
          <a:effectLst>
            <a:outerShdw dist="27940" dir="5400000" algn="t" rotWithShape="0">
              <a:prstClr val="black"/>
            </a:outerShdw>
          </a:effectLst>
        </p:spPr>
        <p:txBody>
          <a:bodyPr wrap="square" lIns="234000" bIns="0">
            <a:sp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5000" cap="all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Titel durch klicken hinzufügen</a:t>
            </a:r>
          </a:p>
        </p:txBody>
      </p:sp>
      <p:sp>
        <p:nvSpPr>
          <p:cNvPr id="14" name="Textplatzhalter 20">
            <a:extLst>
              <a:ext uri="{FF2B5EF4-FFF2-40B4-BE49-F238E27FC236}">
                <a16:creationId xmlns:a16="http://schemas.microsoft.com/office/drawing/2014/main" id="{B844ACB7-98F5-7044-A959-474A15FAEE0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259263" y="5877272"/>
            <a:ext cx="7453312" cy="246221"/>
          </a:xfrm>
        </p:spPr>
        <p:txBody>
          <a:bodyPr wrap="square" anchor="b">
            <a:spAutoFit/>
          </a:bodyPr>
          <a:lstStyle>
            <a:lvl1pPr>
              <a:spcBef>
                <a:spcPts val="0"/>
              </a:spcBef>
              <a:defRPr sz="1600" cap="none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Name</a:t>
            </a:r>
          </a:p>
        </p:txBody>
      </p:sp>
      <p:sp>
        <p:nvSpPr>
          <p:cNvPr id="16" name="Datumsplatzhalter 4"/>
          <p:cNvSpPr>
            <a:spLocks noGrp="1"/>
          </p:cNvSpPr>
          <p:nvPr>
            <p:ph type="dt" sz="half" idx="2"/>
          </p:nvPr>
        </p:nvSpPr>
        <p:spPr>
          <a:xfrm>
            <a:off x="5302872" y="6207115"/>
            <a:ext cx="6410325" cy="246221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1600">
                <a:solidFill>
                  <a:schemeClr val="tx1"/>
                </a:solidFill>
              </a:defRPr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939534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oll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699039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feld 3"/>
          <p:cNvSpPr txBox="1"/>
          <p:nvPr userDrawn="1"/>
        </p:nvSpPr>
        <p:spPr>
          <a:xfrm>
            <a:off x="-974191" y="960180"/>
            <a:ext cx="696839" cy="184666"/>
          </a:xfrm>
          <a:prstGeom prst="rect">
            <a:avLst/>
          </a:prstGeom>
          <a:noFill/>
        </p:spPr>
        <p:txBody>
          <a:bodyPr wrap="none" lIns="72000" tIns="0" rIns="72000" bIns="0" rtlCol="0" anchor="ctr">
            <a:spAutoFit/>
          </a:bodyPr>
          <a:lstStyle/>
          <a:p>
            <a:pPr algn="r"/>
            <a:r>
              <a:rPr lang="de-DE" sz="1200" noProof="0" dirty="0">
                <a:latin typeface="Arial" panose="020B0604020202020204" pitchFamily="34" charset="0"/>
                <a:cs typeface="Arial"/>
                <a:sym typeface="Arial" panose="020B0604020202020204" pitchFamily="34" charset="0"/>
              </a:rPr>
              <a:t>Textbox</a:t>
            </a:r>
          </a:p>
        </p:txBody>
      </p:sp>
      <p:sp>
        <p:nvSpPr>
          <p:cNvPr id="5" name="Textfeld 4"/>
          <p:cNvSpPr txBox="1"/>
          <p:nvPr userDrawn="1"/>
        </p:nvSpPr>
        <p:spPr>
          <a:xfrm>
            <a:off x="-1014869" y="-381635"/>
            <a:ext cx="990189" cy="184666"/>
          </a:xfrm>
          <a:prstGeom prst="rect">
            <a:avLst/>
          </a:prstGeom>
          <a:noFill/>
        </p:spPr>
        <p:txBody>
          <a:bodyPr wrap="none" lIns="72000" tIns="0" rIns="72000" bIns="0" rtlCol="0" anchor="ctr">
            <a:spAutoFit/>
          </a:bodyPr>
          <a:lstStyle/>
          <a:p>
            <a:pPr algn="r"/>
            <a:r>
              <a:rPr lang="de-DE" sz="1200" noProof="0" dirty="0">
                <a:latin typeface="Arial" panose="020B0604020202020204" pitchFamily="34" charset="0"/>
                <a:cs typeface="Arial"/>
                <a:sym typeface="Arial" panose="020B0604020202020204" pitchFamily="34" charset="0"/>
              </a:rPr>
              <a:t>Vier</a:t>
            </a:r>
            <a:r>
              <a:rPr lang="de-DE" sz="1200" baseline="0" noProof="0" dirty="0">
                <a:latin typeface="Arial" panose="020B0604020202020204" pitchFamily="34" charset="0"/>
                <a:cs typeface="Arial"/>
                <a:sym typeface="Arial" panose="020B0604020202020204" pitchFamily="34" charset="0"/>
              </a:rPr>
              <a:t> </a:t>
            </a:r>
            <a:r>
              <a:rPr lang="de-DE" sz="1200" noProof="0" dirty="0">
                <a:latin typeface="Arial" panose="020B0604020202020204" pitchFamily="34" charset="0"/>
                <a:cs typeface="Arial"/>
                <a:sym typeface="Arial" panose="020B0604020202020204" pitchFamily="34" charset="0"/>
              </a:rPr>
              <a:t>Spalten</a:t>
            </a:r>
          </a:p>
        </p:txBody>
      </p:sp>
      <p:sp>
        <p:nvSpPr>
          <p:cNvPr id="7" name="Textfeld 6"/>
          <p:cNvSpPr txBox="1"/>
          <p:nvPr userDrawn="1"/>
        </p:nvSpPr>
        <p:spPr>
          <a:xfrm>
            <a:off x="-1032502" y="-618555"/>
            <a:ext cx="1007822" cy="184666"/>
          </a:xfrm>
          <a:prstGeom prst="rect">
            <a:avLst/>
          </a:prstGeom>
          <a:noFill/>
        </p:spPr>
        <p:txBody>
          <a:bodyPr wrap="none" lIns="72000" tIns="0" rIns="72000" bIns="0" rtlCol="0" anchor="ctr">
            <a:spAutoFit/>
          </a:bodyPr>
          <a:lstStyle/>
          <a:p>
            <a:pPr algn="r"/>
            <a:r>
              <a:rPr lang="de-DE" sz="1200" noProof="0" dirty="0">
                <a:latin typeface="Arial" panose="020B0604020202020204" pitchFamily="34" charset="0"/>
                <a:cs typeface="Arial"/>
                <a:sym typeface="Arial" panose="020B0604020202020204" pitchFamily="34" charset="0"/>
              </a:rPr>
              <a:t>Drei</a:t>
            </a:r>
            <a:r>
              <a:rPr lang="de-DE" sz="1200" baseline="0" noProof="0" dirty="0">
                <a:latin typeface="Arial" panose="020B0604020202020204" pitchFamily="34" charset="0"/>
                <a:cs typeface="Arial"/>
                <a:sym typeface="Arial" panose="020B0604020202020204" pitchFamily="34" charset="0"/>
              </a:rPr>
              <a:t> </a:t>
            </a:r>
            <a:r>
              <a:rPr lang="de-DE" sz="1200" noProof="0" dirty="0">
                <a:latin typeface="Arial" panose="020B0604020202020204" pitchFamily="34" charset="0"/>
                <a:cs typeface="Arial"/>
                <a:sym typeface="Arial" panose="020B0604020202020204" pitchFamily="34" charset="0"/>
              </a:rPr>
              <a:t>Spalten</a:t>
            </a:r>
          </a:p>
        </p:txBody>
      </p:sp>
      <p:sp>
        <p:nvSpPr>
          <p:cNvPr id="8" name="Textfeld 7"/>
          <p:cNvSpPr txBox="1"/>
          <p:nvPr userDrawn="1"/>
        </p:nvSpPr>
        <p:spPr>
          <a:xfrm>
            <a:off x="-1067768" y="-855476"/>
            <a:ext cx="1043088" cy="184666"/>
          </a:xfrm>
          <a:prstGeom prst="rect">
            <a:avLst/>
          </a:prstGeom>
          <a:noFill/>
        </p:spPr>
        <p:txBody>
          <a:bodyPr wrap="none" lIns="72000" tIns="0" rIns="72000" bIns="0" rtlCol="0" anchor="ctr">
            <a:spAutoFit/>
          </a:bodyPr>
          <a:lstStyle/>
          <a:p>
            <a:pPr algn="r"/>
            <a:r>
              <a:rPr lang="de-DE" sz="1200" noProof="0" dirty="0">
                <a:latin typeface="Arial" panose="020B0604020202020204" pitchFamily="34" charset="0"/>
                <a:cs typeface="Arial"/>
                <a:sym typeface="Arial" panose="020B0604020202020204" pitchFamily="34" charset="0"/>
              </a:rPr>
              <a:t>Zwei Spalten</a:t>
            </a:r>
          </a:p>
        </p:txBody>
      </p:sp>
      <p:grpSp>
        <p:nvGrpSpPr>
          <p:cNvPr id="9" name="Gruppieren 8"/>
          <p:cNvGrpSpPr/>
          <p:nvPr userDrawn="1"/>
        </p:nvGrpSpPr>
        <p:grpSpPr>
          <a:xfrm>
            <a:off x="-276708" y="-835143"/>
            <a:ext cx="12205181" cy="7972555"/>
            <a:chOff x="-276708" y="-835143"/>
            <a:chExt cx="12205181" cy="7972555"/>
          </a:xfrm>
        </p:grpSpPr>
        <p:cxnSp>
          <p:nvCxnSpPr>
            <p:cNvPr id="10" name="Gerade Verbindung 23"/>
            <p:cNvCxnSpPr/>
            <p:nvPr userDrawn="1"/>
          </p:nvCxnSpPr>
          <p:spPr>
            <a:xfrm rot="5400000" flipV="1">
              <a:off x="-204708" y="980735"/>
              <a:ext cx="0" cy="1440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 Verbindung 24"/>
            <p:cNvCxnSpPr/>
            <p:nvPr userDrawn="1"/>
          </p:nvCxnSpPr>
          <p:spPr>
            <a:xfrm rot="5400000" flipV="1">
              <a:off x="-204708" y="6381336"/>
              <a:ext cx="0" cy="1440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 Verbindung 78"/>
            <p:cNvCxnSpPr/>
            <p:nvPr userDrawn="1"/>
          </p:nvCxnSpPr>
          <p:spPr>
            <a:xfrm>
              <a:off x="259147" y="6993412"/>
              <a:ext cx="0" cy="1440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Gerade Verbindung mit Pfeil 12"/>
            <p:cNvCxnSpPr/>
            <p:nvPr userDrawn="1"/>
          </p:nvCxnSpPr>
          <p:spPr>
            <a:xfrm>
              <a:off x="263525" y="-526222"/>
              <a:ext cx="3492500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 Verbindung mit Pfeil 13"/>
            <p:cNvCxnSpPr/>
            <p:nvPr userDrawn="1"/>
          </p:nvCxnSpPr>
          <p:spPr>
            <a:xfrm>
              <a:off x="4259684" y="-526222"/>
              <a:ext cx="3457154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 Verbindung mit Pfeil 14"/>
            <p:cNvCxnSpPr/>
            <p:nvPr userDrawn="1"/>
          </p:nvCxnSpPr>
          <p:spPr>
            <a:xfrm>
              <a:off x="8220124" y="-526222"/>
              <a:ext cx="3492500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Gerade Verbindung mit Pfeil 15"/>
            <p:cNvCxnSpPr/>
            <p:nvPr userDrawn="1"/>
          </p:nvCxnSpPr>
          <p:spPr>
            <a:xfrm>
              <a:off x="263525" y="-289302"/>
              <a:ext cx="2484438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mit Pfeil 16"/>
            <p:cNvCxnSpPr/>
            <p:nvPr userDrawn="1"/>
          </p:nvCxnSpPr>
          <p:spPr>
            <a:xfrm>
              <a:off x="3251200" y="-289302"/>
              <a:ext cx="2484438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mit Pfeil 17"/>
            <p:cNvCxnSpPr/>
            <p:nvPr userDrawn="1"/>
          </p:nvCxnSpPr>
          <p:spPr>
            <a:xfrm>
              <a:off x="6240462" y="-289302"/>
              <a:ext cx="2484438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mit Pfeil 18"/>
            <p:cNvCxnSpPr/>
            <p:nvPr userDrawn="1"/>
          </p:nvCxnSpPr>
          <p:spPr>
            <a:xfrm>
              <a:off x="9228186" y="-289302"/>
              <a:ext cx="2484438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mit Pfeil 19"/>
            <p:cNvCxnSpPr/>
            <p:nvPr userDrawn="1"/>
          </p:nvCxnSpPr>
          <p:spPr>
            <a:xfrm>
              <a:off x="263525" y="-763143"/>
              <a:ext cx="5472113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mit Pfeil 20"/>
            <p:cNvCxnSpPr/>
            <p:nvPr userDrawn="1"/>
          </p:nvCxnSpPr>
          <p:spPr>
            <a:xfrm>
              <a:off x="6240463" y="-763143"/>
              <a:ext cx="5472161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 Verbindung 107"/>
            <p:cNvCxnSpPr/>
            <p:nvPr userDrawn="1"/>
          </p:nvCxnSpPr>
          <p:spPr>
            <a:xfrm>
              <a:off x="2999272" y="-361302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 Verbindung 108"/>
            <p:cNvCxnSpPr/>
            <p:nvPr userDrawn="1"/>
          </p:nvCxnSpPr>
          <p:spPr>
            <a:xfrm>
              <a:off x="5987988" y="-361302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109"/>
            <p:cNvCxnSpPr/>
            <p:nvPr userDrawn="1"/>
          </p:nvCxnSpPr>
          <p:spPr>
            <a:xfrm>
              <a:off x="8976320" y="-361302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110"/>
            <p:cNvCxnSpPr/>
            <p:nvPr userDrawn="1"/>
          </p:nvCxnSpPr>
          <p:spPr>
            <a:xfrm>
              <a:off x="7968208" y="-598222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 Verbindung 111"/>
            <p:cNvCxnSpPr/>
            <p:nvPr userDrawn="1"/>
          </p:nvCxnSpPr>
          <p:spPr>
            <a:xfrm>
              <a:off x="4007768" y="-598222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112"/>
            <p:cNvCxnSpPr/>
            <p:nvPr userDrawn="1"/>
          </p:nvCxnSpPr>
          <p:spPr>
            <a:xfrm>
              <a:off x="5987988" y="-835143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 Verbindung 33"/>
            <p:cNvCxnSpPr/>
            <p:nvPr userDrawn="1"/>
          </p:nvCxnSpPr>
          <p:spPr>
            <a:xfrm rot="5400000" flipV="1">
              <a:off x="-204708" y="826746"/>
              <a:ext cx="0" cy="144000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 Verbindung 34"/>
            <p:cNvCxnSpPr/>
            <p:nvPr userDrawn="1"/>
          </p:nvCxnSpPr>
          <p:spPr>
            <a:xfrm rot="5400000" flipV="1">
              <a:off x="-204708" y="6785999"/>
              <a:ext cx="0" cy="144000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 Verbindung 35"/>
            <p:cNvCxnSpPr/>
            <p:nvPr userDrawn="1"/>
          </p:nvCxnSpPr>
          <p:spPr>
            <a:xfrm rot="10800000" flipV="1">
              <a:off x="11928473" y="-361302"/>
              <a:ext cx="0" cy="144000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 Verbindung 38"/>
            <p:cNvCxnSpPr/>
            <p:nvPr userDrawn="1"/>
          </p:nvCxnSpPr>
          <p:spPr>
            <a:xfrm rot="10800000" flipV="1">
              <a:off x="0" y="-361302"/>
              <a:ext cx="0" cy="144000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32" name="Gerade Verbindung 37"/>
          <p:cNvCxnSpPr/>
          <p:nvPr userDrawn="1"/>
        </p:nvCxnSpPr>
        <p:spPr>
          <a:xfrm>
            <a:off x="11712624" y="6993412"/>
            <a:ext cx="0" cy="144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feld 32"/>
          <p:cNvSpPr txBox="1"/>
          <p:nvPr userDrawn="1"/>
        </p:nvSpPr>
        <p:spPr>
          <a:xfrm>
            <a:off x="-1791723" y="799523"/>
            <a:ext cx="1514371" cy="184666"/>
          </a:xfrm>
          <a:prstGeom prst="rect">
            <a:avLst/>
          </a:prstGeom>
          <a:noFill/>
        </p:spPr>
        <p:txBody>
          <a:bodyPr wrap="none" lIns="72000" tIns="0" rIns="72000" bIns="0" rtlCol="0" anchor="ctr">
            <a:spAutoFit/>
          </a:bodyPr>
          <a:lstStyle/>
          <a:p>
            <a:pPr algn="r"/>
            <a:r>
              <a:rPr lang="de-DE" sz="1200" noProof="0" dirty="0">
                <a:solidFill>
                  <a:srgbClr val="FF0000"/>
                </a:solidFill>
                <a:latin typeface="Arial" panose="020B0604020202020204" pitchFamily="34" charset="0"/>
                <a:cs typeface="Arial"/>
                <a:sym typeface="Arial" panose="020B0604020202020204" pitchFamily="34" charset="0"/>
              </a:rPr>
              <a:t>Tabelle</a:t>
            </a:r>
            <a:r>
              <a:rPr lang="de-DE" sz="1200" baseline="0" noProof="0" dirty="0">
                <a:solidFill>
                  <a:srgbClr val="FF0000"/>
                </a:solidFill>
                <a:latin typeface="Arial" panose="020B0604020202020204" pitchFamily="34" charset="0"/>
                <a:cs typeface="Arial"/>
                <a:sym typeface="Arial" panose="020B0604020202020204" pitchFamily="34" charset="0"/>
              </a:rPr>
              <a:t> </a:t>
            </a:r>
            <a:r>
              <a:rPr lang="de-DE" sz="1200" noProof="0" dirty="0">
                <a:solidFill>
                  <a:srgbClr val="FF0000"/>
                </a:solidFill>
                <a:latin typeface="Arial" panose="020B0604020202020204" pitchFamily="34" charset="0"/>
                <a:cs typeface="Arial"/>
                <a:sym typeface="Arial" panose="020B0604020202020204" pitchFamily="34" charset="0"/>
              </a:rPr>
              <a:t>(Vollflächig)</a:t>
            </a:r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6858000"/>
          </a:xfrm>
          <a:solidFill>
            <a:schemeClr val="bg2"/>
          </a:solidFill>
        </p:spPr>
        <p:txBody>
          <a:bodyPr/>
          <a:lstStyle>
            <a:lvl1pPr>
              <a:defRPr/>
            </a:lvl1pPr>
          </a:lstStyle>
          <a:p>
            <a:r>
              <a:rPr lang="de-DE"/>
              <a:t>Bild durch Klicken auf Symbol hinzufüge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53950148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instiegsfolie_Bild hoch 50%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 userDrawn="1"/>
        </p:nvSpPr>
        <p:spPr>
          <a:xfrm>
            <a:off x="-794" y="0"/>
            <a:ext cx="12193588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19" name="object 4">
            <a:extLst>
              <a:ext uri="{FF2B5EF4-FFF2-40B4-BE49-F238E27FC236}">
                <a16:creationId xmlns:a16="http://schemas.microsoft.com/office/drawing/2014/main" id="{F1407FCD-A98D-8D4C-BAEA-A83B72042659}"/>
              </a:ext>
            </a:extLst>
          </p:cNvPr>
          <p:cNvSpPr/>
          <p:nvPr userDrawn="1"/>
        </p:nvSpPr>
        <p:spPr>
          <a:xfrm>
            <a:off x="0" y="899999"/>
            <a:ext cx="12192635" cy="0"/>
          </a:xfrm>
          <a:custGeom>
            <a:avLst/>
            <a:gdLst/>
            <a:ahLst/>
            <a:cxnLst/>
            <a:rect l="l" t="t" r="r" b="b"/>
            <a:pathLst>
              <a:path w="12192635">
                <a:moveTo>
                  <a:pt x="0" y="0"/>
                </a:moveTo>
                <a:lnTo>
                  <a:pt x="12192113" y="0"/>
                </a:lnTo>
              </a:path>
            </a:pathLst>
          </a:custGeom>
          <a:ln w="28575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Bildplatzhalter 13"/>
          <p:cNvSpPr>
            <a:spLocks noGrp="1"/>
          </p:cNvSpPr>
          <p:nvPr>
            <p:ph type="pic" sz="quarter" idx="17"/>
          </p:nvPr>
        </p:nvSpPr>
        <p:spPr>
          <a:xfrm>
            <a:off x="6043200" y="0"/>
            <a:ext cx="6148800" cy="6858000"/>
          </a:xfrm>
          <a:solidFill>
            <a:schemeClr val="bg2"/>
          </a:solidFill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529546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154" name="Picture 10"/>
          <p:cNvPicPr>
            <a:picLocks noChangeAspect="1" noChangeArrowheads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63352" y="200024"/>
            <a:ext cx="4018011" cy="532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6" name="Textplatzhalter 20"/>
          <p:cNvSpPr>
            <a:spLocks noGrp="1"/>
          </p:cNvSpPr>
          <p:nvPr>
            <p:ph type="body" sz="quarter" idx="12" hasCustomPrompt="1"/>
          </p:nvPr>
        </p:nvSpPr>
        <p:spPr>
          <a:xfrm>
            <a:off x="1966051" y="4761887"/>
            <a:ext cx="3744000" cy="606833"/>
          </a:xfrm>
        </p:spPr>
        <p:txBody>
          <a:bodyPr wrap="square" anchor="b">
            <a:spAutoFit/>
          </a:bodyPr>
          <a:lstStyle>
            <a:lvl1pPr>
              <a:lnSpc>
                <a:spcPct val="130000"/>
              </a:lnSpc>
              <a:spcBef>
                <a:spcPts val="0"/>
              </a:spcBef>
              <a:defRPr sz="1600" cap="all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Untertitel durch Klicken bearbeiten</a:t>
            </a:r>
          </a:p>
        </p:txBody>
      </p:sp>
      <p:sp>
        <p:nvSpPr>
          <p:cNvPr id="28" name="Textplatzhalter 20"/>
          <p:cNvSpPr>
            <a:spLocks noGrp="1"/>
          </p:cNvSpPr>
          <p:nvPr>
            <p:ph type="body" sz="quarter" idx="13" hasCustomPrompt="1"/>
          </p:nvPr>
        </p:nvSpPr>
        <p:spPr>
          <a:xfrm>
            <a:off x="1966051" y="6207115"/>
            <a:ext cx="3949929" cy="246221"/>
          </a:xfrm>
        </p:spPr>
        <p:txBody>
          <a:bodyPr wrap="square" anchor="b">
            <a:spAutoFit/>
          </a:bodyPr>
          <a:lstStyle>
            <a:lvl1pPr>
              <a:spcBef>
                <a:spcPts val="0"/>
              </a:spcBef>
              <a:defRPr sz="1600" cap="none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Ort,</a:t>
            </a:r>
          </a:p>
        </p:txBody>
      </p:sp>
      <p:sp>
        <p:nvSpPr>
          <p:cNvPr id="21" name="object 6">
            <a:extLst>
              <a:ext uri="{FF2B5EF4-FFF2-40B4-BE49-F238E27FC236}">
                <a16:creationId xmlns:a16="http://schemas.microsoft.com/office/drawing/2014/main" id="{7A6E9864-542A-6F4C-965E-7D2AEBA2E01D}"/>
              </a:ext>
            </a:extLst>
          </p:cNvPr>
          <p:cNvSpPr/>
          <p:nvPr userDrawn="1"/>
        </p:nvSpPr>
        <p:spPr>
          <a:xfrm>
            <a:off x="1710074" y="1710000"/>
            <a:ext cx="45719" cy="5148000"/>
          </a:xfrm>
          <a:custGeom>
            <a:avLst/>
            <a:gdLst/>
            <a:ahLst/>
            <a:cxnLst/>
            <a:rect l="l" t="t" r="r" b="b"/>
            <a:pathLst>
              <a:path h="4698365">
                <a:moveTo>
                  <a:pt x="0" y="0"/>
                </a:moveTo>
                <a:lnTo>
                  <a:pt x="0" y="4697996"/>
                </a:lnTo>
              </a:path>
            </a:pathLst>
          </a:custGeom>
          <a:ln w="285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Textplatzhalter 15"/>
          <p:cNvSpPr>
            <a:spLocks noGrp="1"/>
          </p:cNvSpPr>
          <p:nvPr>
            <p:ph type="body" sz="quarter" idx="14" hasCustomPrompt="1"/>
          </p:nvPr>
        </p:nvSpPr>
        <p:spPr>
          <a:xfrm>
            <a:off x="-16405" y="944724"/>
            <a:ext cx="6037200" cy="2308324"/>
          </a:xfrm>
          <a:solidFill>
            <a:schemeClr val="tx2"/>
          </a:solidFill>
          <a:effectLst>
            <a:outerShdw dist="27940" dir="5400000" algn="t" rotWithShape="0">
              <a:prstClr val="black"/>
            </a:outerShdw>
          </a:effectLst>
        </p:spPr>
        <p:txBody>
          <a:bodyPr wrap="square" lIns="234000" rIns="144000" bIns="0">
            <a:sp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5000" cap="all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Titel durch klicken hinzufügen</a:t>
            </a:r>
          </a:p>
        </p:txBody>
      </p:sp>
      <p:sp>
        <p:nvSpPr>
          <p:cNvPr id="23" name="object 6">
            <a:extLst>
              <a:ext uri="{FF2B5EF4-FFF2-40B4-BE49-F238E27FC236}">
                <a16:creationId xmlns:a16="http://schemas.microsoft.com/office/drawing/2014/main" id="{35B15152-362B-804E-8180-EB8D98DF2756}"/>
              </a:ext>
            </a:extLst>
          </p:cNvPr>
          <p:cNvSpPr/>
          <p:nvPr userDrawn="1"/>
        </p:nvSpPr>
        <p:spPr>
          <a:xfrm>
            <a:off x="6032536" y="-6350"/>
            <a:ext cx="45719" cy="6864350"/>
          </a:xfrm>
          <a:custGeom>
            <a:avLst/>
            <a:gdLst/>
            <a:ahLst/>
            <a:cxnLst/>
            <a:rect l="l" t="t" r="r" b="b"/>
            <a:pathLst>
              <a:path h="4698365">
                <a:moveTo>
                  <a:pt x="0" y="0"/>
                </a:moveTo>
                <a:lnTo>
                  <a:pt x="0" y="4697996"/>
                </a:lnTo>
              </a:path>
            </a:pathLst>
          </a:custGeom>
          <a:ln w="2540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Textplatzhalter 20">
            <a:extLst>
              <a:ext uri="{FF2B5EF4-FFF2-40B4-BE49-F238E27FC236}">
                <a16:creationId xmlns:a16="http://schemas.microsoft.com/office/drawing/2014/main" id="{154663BA-8C19-9E4F-A02C-E19A516A7A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966051" y="5877272"/>
            <a:ext cx="3950723" cy="246221"/>
          </a:xfrm>
        </p:spPr>
        <p:txBody>
          <a:bodyPr wrap="square" anchor="b">
            <a:spAutoFit/>
          </a:bodyPr>
          <a:lstStyle>
            <a:lvl1pPr>
              <a:spcBef>
                <a:spcPts val="0"/>
              </a:spcBef>
              <a:defRPr sz="1600" cap="none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Name</a:t>
            </a:r>
          </a:p>
        </p:txBody>
      </p:sp>
      <p:sp>
        <p:nvSpPr>
          <p:cNvPr id="18" name="Datumsplatzhalter 4"/>
          <p:cNvSpPr>
            <a:spLocks noGrp="1"/>
          </p:cNvSpPr>
          <p:nvPr>
            <p:ph type="dt" sz="half" idx="2"/>
          </p:nvPr>
        </p:nvSpPr>
        <p:spPr>
          <a:xfrm>
            <a:off x="2891149" y="6207115"/>
            <a:ext cx="3024831" cy="246221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1600">
                <a:solidFill>
                  <a:schemeClr val="tx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17" name="Textfeld 16"/>
          <p:cNvSpPr txBox="1"/>
          <p:nvPr userDrawn="1"/>
        </p:nvSpPr>
        <p:spPr>
          <a:xfrm>
            <a:off x="-974191" y="960180"/>
            <a:ext cx="696839" cy="184666"/>
          </a:xfrm>
          <a:prstGeom prst="rect">
            <a:avLst/>
          </a:prstGeom>
          <a:noFill/>
        </p:spPr>
        <p:txBody>
          <a:bodyPr wrap="none" lIns="72000" tIns="0" rIns="72000" bIns="0" rtlCol="0" anchor="ctr">
            <a:spAutoFit/>
          </a:bodyPr>
          <a:lstStyle/>
          <a:p>
            <a:pPr algn="r"/>
            <a:r>
              <a:rPr lang="de-DE" sz="1200" noProof="0" dirty="0">
                <a:latin typeface="Arial" panose="020B0604020202020204" pitchFamily="34" charset="0"/>
                <a:cs typeface="Arial"/>
                <a:sym typeface="Arial" panose="020B0604020202020204" pitchFamily="34" charset="0"/>
              </a:rPr>
              <a:t>Textbox</a:t>
            </a:r>
          </a:p>
        </p:txBody>
      </p:sp>
      <p:sp>
        <p:nvSpPr>
          <p:cNvPr id="20" name="Textfeld 19"/>
          <p:cNvSpPr txBox="1"/>
          <p:nvPr userDrawn="1"/>
        </p:nvSpPr>
        <p:spPr>
          <a:xfrm>
            <a:off x="-1014869" y="-381635"/>
            <a:ext cx="990189" cy="184666"/>
          </a:xfrm>
          <a:prstGeom prst="rect">
            <a:avLst/>
          </a:prstGeom>
          <a:noFill/>
        </p:spPr>
        <p:txBody>
          <a:bodyPr wrap="none" lIns="72000" tIns="0" rIns="72000" bIns="0" rtlCol="0" anchor="ctr">
            <a:spAutoFit/>
          </a:bodyPr>
          <a:lstStyle/>
          <a:p>
            <a:pPr algn="r"/>
            <a:r>
              <a:rPr lang="de-DE" sz="1200" noProof="0" dirty="0">
                <a:latin typeface="Arial" panose="020B0604020202020204" pitchFamily="34" charset="0"/>
                <a:cs typeface="Arial"/>
                <a:sym typeface="Arial" panose="020B0604020202020204" pitchFamily="34" charset="0"/>
              </a:rPr>
              <a:t>Vier</a:t>
            </a:r>
            <a:r>
              <a:rPr lang="de-DE" sz="1200" baseline="0" noProof="0" dirty="0">
                <a:latin typeface="Arial" panose="020B0604020202020204" pitchFamily="34" charset="0"/>
                <a:cs typeface="Arial"/>
                <a:sym typeface="Arial" panose="020B0604020202020204" pitchFamily="34" charset="0"/>
              </a:rPr>
              <a:t> </a:t>
            </a:r>
            <a:r>
              <a:rPr lang="de-DE" sz="1200" noProof="0" dirty="0">
                <a:latin typeface="Arial" panose="020B0604020202020204" pitchFamily="34" charset="0"/>
                <a:cs typeface="Arial"/>
                <a:sym typeface="Arial" panose="020B0604020202020204" pitchFamily="34" charset="0"/>
              </a:rPr>
              <a:t>Spalten</a:t>
            </a:r>
          </a:p>
        </p:txBody>
      </p:sp>
      <p:sp>
        <p:nvSpPr>
          <p:cNvPr id="22" name="Textfeld 21"/>
          <p:cNvSpPr txBox="1"/>
          <p:nvPr userDrawn="1"/>
        </p:nvSpPr>
        <p:spPr>
          <a:xfrm>
            <a:off x="-1032502" y="-618555"/>
            <a:ext cx="1007822" cy="184666"/>
          </a:xfrm>
          <a:prstGeom prst="rect">
            <a:avLst/>
          </a:prstGeom>
          <a:noFill/>
        </p:spPr>
        <p:txBody>
          <a:bodyPr wrap="none" lIns="72000" tIns="0" rIns="72000" bIns="0" rtlCol="0" anchor="ctr">
            <a:spAutoFit/>
          </a:bodyPr>
          <a:lstStyle/>
          <a:p>
            <a:pPr algn="r"/>
            <a:r>
              <a:rPr lang="de-DE" sz="1200" noProof="0" dirty="0">
                <a:latin typeface="Arial" panose="020B0604020202020204" pitchFamily="34" charset="0"/>
                <a:cs typeface="Arial"/>
                <a:sym typeface="Arial" panose="020B0604020202020204" pitchFamily="34" charset="0"/>
              </a:rPr>
              <a:t>Drei</a:t>
            </a:r>
            <a:r>
              <a:rPr lang="de-DE" sz="1200" baseline="0" noProof="0" dirty="0">
                <a:latin typeface="Arial" panose="020B0604020202020204" pitchFamily="34" charset="0"/>
                <a:cs typeface="Arial"/>
                <a:sym typeface="Arial" panose="020B0604020202020204" pitchFamily="34" charset="0"/>
              </a:rPr>
              <a:t> </a:t>
            </a:r>
            <a:r>
              <a:rPr lang="de-DE" sz="1200" noProof="0" dirty="0">
                <a:latin typeface="Arial" panose="020B0604020202020204" pitchFamily="34" charset="0"/>
                <a:cs typeface="Arial"/>
                <a:sym typeface="Arial" panose="020B0604020202020204" pitchFamily="34" charset="0"/>
              </a:rPr>
              <a:t>Spalten</a:t>
            </a:r>
          </a:p>
        </p:txBody>
      </p:sp>
      <p:sp>
        <p:nvSpPr>
          <p:cNvPr id="24" name="Textfeld 23"/>
          <p:cNvSpPr txBox="1"/>
          <p:nvPr userDrawn="1"/>
        </p:nvSpPr>
        <p:spPr>
          <a:xfrm>
            <a:off x="-1067768" y="-855476"/>
            <a:ext cx="1043088" cy="184666"/>
          </a:xfrm>
          <a:prstGeom prst="rect">
            <a:avLst/>
          </a:prstGeom>
          <a:noFill/>
        </p:spPr>
        <p:txBody>
          <a:bodyPr wrap="none" lIns="72000" tIns="0" rIns="72000" bIns="0" rtlCol="0" anchor="ctr">
            <a:spAutoFit/>
          </a:bodyPr>
          <a:lstStyle/>
          <a:p>
            <a:pPr algn="r"/>
            <a:r>
              <a:rPr lang="de-DE" sz="1200" noProof="0" dirty="0">
                <a:latin typeface="Arial" panose="020B0604020202020204" pitchFamily="34" charset="0"/>
                <a:cs typeface="Arial"/>
                <a:sym typeface="Arial" panose="020B0604020202020204" pitchFamily="34" charset="0"/>
              </a:rPr>
              <a:t>Zwei Spalten</a:t>
            </a:r>
          </a:p>
        </p:txBody>
      </p:sp>
      <p:grpSp>
        <p:nvGrpSpPr>
          <p:cNvPr id="25" name="Gruppieren 24"/>
          <p:cNvGrpSpPr/>
          <p:nvPr userDrawn="1"/>
        </p:nvGrpSpPr>
        <p:grpSpPr>
          <a:xfrm>
            <a:off x="-276708" y="-835143"/>
            <a:ext cx="12205181" cy="7972555"/>
            <a:chOff x="-276708" y="-835143"/>
            <a:chExt cx="12205181" cy="7972555"/>
          </a:xfrm>
        </p:grpSpPr>
        <p:cxnSp>
          <p:nvCxnSpPr>
            <p:cNvPr id="27" name="Gerade Verbindung 23"/>
            <p:cNvCxnSpPr/>
            <p:nvPr userDrawn="1"/>
          </p:nvCxnSpPr>
          <p:spPr>
            <a:xfrm rot="5400000" flipV="1">
              <a:off x="-204708" y="980735"/>
              <a:ext cx="0" cy="1440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 Verbindung 24"/>
            <p:cNvCxnSpPr/>
            <p:nvPr userDrawn="1"/>
          </p:nvCxnSpPr>
          <p:spPr>
            <a:xfrm rot="5400000" flipV="1">
              <a:off x="-204708" y="6381336"/>
              <a:ext cx="0" cy="1440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 Verbindung 78"/>
            <p:cNvCxnSpPr/>
            <p:nvPr userDrawn="1"/>
          </p:nvCxnSpPr>
          <p:spPr>
            <a:xfrm>
              <a:off x="259147" y="6993412"/>
              <a:ext cx="0" cy="1440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 Verbindung mit Pfeil 30"/>
            <p:cNvCxnSpPr/>
            <p:nvPr userDrawn="1"/>
          </p:nvCxnSpPr>
          <p:spPr>
            <a:xfrm>
              <a:off x="263525" y="-526222"/>
              <a:ext cx="3492500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 Verbindung mit Pfeil 31"/>
            <p:cNvCxnSpPr/>
            <p:nvPr userDrawn="1"/>
          </p:nvCxnSpPr>
          <p:spPr>
            <a:xfrm>
              <a:off x="4259684" y="-526222"/>
              <a:ext cx="3457154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mit Pfeil 32"/>
            <p:cNvCxnSpPr/>
            <p:nvPr userDrawn="1"/>
          </p:nvCxnSpPr>
          <p:spPr>
            <a:xfrm>
              <a:off x="8220124" y="-526222"/>
              <a:ext cx="3492500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mit Pfeil 33"/>
            <p:cNvCxnSpPr/>
            <p:nvPr userDrawn="1"/>
          </p:nvCxnSpPr>
          <p:spPr>
            <a:xfrm>
              <a:off x="263525" y="-289302"/>
              <a:ext cx="2484438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mit Pfeil 34"/>
            <p:cNvCxnSpPr/>
            <p:nvPr userDrawn="1"/>
          </p:nvCxnSpPr>
          <p:spPr>
            <a:xfrm>
              <a:off x="3251200" y="-289302"/>
              <a:ext cx="2484438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mit Pfeil 35"/>
            <p:cNvCxnSpPr/>
            <p:nvPr userDrawn="1"/>
          </p:nvCxnSpPr>
          <p:spPr>
            <a:xfrm>
              <a:off x="6240462" y="-289302"/>
              <a:ext cx="2484438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 Verbindung mit Pfeil 36"/>
            <p:cNvCxnSpPr/>
            <p:nvPr userDrawn="1"/>
          </p:nvCxnSpPr>
          <p:spPr>
            <a:xfrm>
              <a:off x="9228186" y="-289302"/>
              <a:ext cx="2484438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 Verbindung mit Pfeil 37"/>
            <p:cNvCxnSpPr/>
            <p:nvPr userDrawn="1"/>
          </p:nvCxnSpPr>
          <p:spPr>
            <a:xfrm>
              <a:off x="263525" y="-763143"/>
              <a:ext cx="5472113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 Verbindung mit Pfeil 38"/>
            <p:cNvCxnSpPr/>
            <p:nvPr userDrawn="1"/>
          </p:nvCxnSpPr>
          <p:spPr>
            <a:xfrm>
              <a:off x="6240463" y="-763143"/>
              <a:ext cx="5472161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107"/>
            <p:cNvCxnSpPr/>
            <p:nvPr userDrawn="1"/>
          </p:nvCxnSpPr>
          <p:spPr>
            <a:xfrm>
              <a:off x="2999272" y="-361302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 Verbindung 108"/>
            <p:cNvCxnSpPr/>
            <p:nvPr userDrawn="1"/>
          </p:nvCxnSpPr>
          <p:spPr>
            <a:xfrm>
              <a:off x="5987988" y="-361302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 Verbindung 109"/>
            <p:cNvCxnSpPr/>
            <p:nvPr userDrawn="1"/>
          </p:nvCxnSpPr>
          <p:spPr>
            <a:xfrm>
              <a:off x="8976320" y="-361302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 Verbindung 110"/>
            <p:cNvCxnSpPr/>
            <p:nvPr userDrawn="1"/>
          </p:nvCxnSpPr>
          <p:spPr>
            <a:xfrm>
              <a:off x="7968208" y="-598222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Gerade Verbindung 111"/>
            <p:cNvCxnSpPr/>
            <p:nvPr userDrawn="1"/>
          </p:nvCxnSpPr>
          <p:spPr>
            <a:xfrm>
              <a:off x="4007768" y="-598222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Gerade Verbindung 112"/>
            <p:cNvCxnSpPr/>
            <p:nvPr userDrawn="1"/>
          </p:nvCxnSpPr>
          <p:spPr>
            <a:xfrm>
              <a:off x="5987988" y="-835143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Gerade Verbindung 33"/>
            <p:cNvCxnSpPr/>
            <p:nvPr userDrawn="1"/>
          </p:nvCxnSpPr>
          <p:spPr>
            <a:xfrm rot="5400000" flipV="1">
              <a:off x="-204708" y="826746"/>
              <a:ext cx="0" cy="144000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Gerade Verbindung 34"/>
            <p:cNvCxnSpPr/>
            <p:nvPr userDrawn="1"/>
          </p:nvCxnSpPr>
          <p:spPr>
            <a:xfrm rot="5400000" flipV="1">
              <a:off x="-204708" y="6785999"/>
              <a:ext cx="0" cy="144000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Gerade Verbindung 35"/>
            <p:cNvCxnSpPr/>
            <p:nvPr userDrawn="1"/>
          </p:nvCxnSpPr>
          <p:spPr>
            <a:xfrm rot="10800000" flipV="1">
              <a:off x="11928473" y="-361302"/>
              <a:ext cx="0" cy="144000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38"/>
            <p:cNvCxnSpPr/>
            <p:nvPr userDrawn="1"/>
          </p:nvCxnSpPr>
          <p:spPr>
            <a:xfrm rot="10800000" flipV="1">
              <a:off x="0" y="-361302"/>
              <a:ext cx="0" cy="144000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50" name="Gerade Verbindung 37"/>
          <p:cNvCxnSpPr/>
          <p:nvPr userDrawn="1"/>
        </p:nvCxnSpPr>
        <p:spPr>
          <a:xfrm>
            <a:off x="11712624" y="6993412"/>
            <a:ext cx="0" cy="144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feld 50"/>
          <p:cNvSpPr txBox="1"/>
          <p:nvPr userDrawn="1"/>
        </p:nvSpPr>
        <p:spPr>
          <a:xfrm>
            <a:off x="-1791723" y="799523"/>
            <a:ext cx="1514371" cy="184666"/>
          </a:xfrm>
          <a:prstGeom prst="rect">
            <a:avLst/>
          </a:prstGeom>
          <a:noFill/>
        </p:spPr>
        <p:txBody>
          <a:bodyPr wrap="none" lIns="72000" tIns="0" rIns="72000" bIns="0" rtlCol="0" anchor="ctr">
            <a:spAutoFit/>
          </a:bodyPr>
          <a:lstStyle/>
          <a:p>
            <a:pPr algn="r"/>
            <a:r>
              <a:rPr lang="de-DE" sz="1200" noProof="0" dirty="0">
                <a:solidFill>
                  <a:srgbClr val="FF0000"/>
                </a:solidFill>
                <a:latin typeface="Arial" panose="020B0604020202020204" pitchFamily="34" charset="0"/>
                <a:cs typeface="Arial"/>
                <a:sym typeface="Arial" panose="020B0604020202020204" pitchFamily="34" charset="0"/>
              </a:rPr>
              <a:t>Tabelle</a:t>
            </a:r>
            <a:r>
              <a:rPr lang="de-DE" sz="1200" baseline="0" noProof="0" dirty="0">
                <a:solidFill>
                  <a:srgbClr val="FF0000"/>
                </a:solidFill>
                <a:latin typeface="Arial" panose="020B0604020202020204" pitchFamily="34" charset="0"/>
                <a:cs typeface="Arial"/>
                <a:sym typeface="Arial" panose="020B0604020202020204" pitchFamily="34" charset="0"/>
              </a:rPr>
              <a:t> </a:t>
            </a:r>
            <a:r>
              <a:rPr lang="de-DE" sz="1200" noProof="0" dirty="0">
                <a:solidFill>
                  <a:srgbClr val="FF0000"/>
                </a:solidFill>
                <a:latin typeface="Arial" panose="020B0604020202020204" pitchFamily="34" charset="0"/>
                <a:cs typeface="Arial"/>
                <a:sym typeface="Arial" panose="020B0604020202020204" pitchFamily="34" charset="0"/>
              </a:rPr>
              <a:t>(Vollflächig)</a:t>
            </a:r>
          </a:p>
        </p:txBody>
      </p:sp>
    </p:spTree>
    <p:extLst>
      <p:ext uri="{BB962C8B-B14F-4D97-AF65-F5344CB8AC3E}">
        <p14:creationId xmlns:p14="http://schemas.microsoft.com/office/powerpoint/2010/main" val="3410031274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instiegsfolie_Bild hoch 30%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 userDrawn="1"/>
        </p:nvSpPr>
        <p:spPr>
          <a:xfrm>
            <a:off x="-794" y="0"/>
            <a:ext cx="12193588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3" name="Rechteck 2"/>
          <p:cNvSpPr/>
          <p:nvPr userDrawn="1"/>
        </p:nvSpPr>
        <p:spPr>
          <a:xfrm>
            <a:off x="8004212" y="0"/>
            <a:ext cx="3924261" cy="3140968"/>
          </a:xfrm>
          <a:prstGeom prst="rect">
            <a:avLst/>
          </a:prstGeom>
          <a:solidFill>
            <a:schemeClr val="bg1"/>
          </a:solidFill>
          <a:ln w="28575" cmpd="sng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16000" indent="-216000" algn="l">
              <a:buFont typeface="Arial" panose="020B0604020202020204" pitchFamily="34" charset="0"/>
              <a:buChar char="•"/>
            </a:pPr>
            <a:endParaRPr lang="de-DE" sz="1600" dirty="0" err="1"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504412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154" name="Picture 10"/>
          <p:cNvPicPr>
            <a:picLocks noChangeAspect="1" noChangeArrowheads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63352" y="200024"/>
            <a:ext cx="4018011" cy="532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6" name="Textplatzhalter 20"/>
          <p:cNvSpPr>
            <a:spLocks noGrp="1"/>
          </p:cNvSpPr>
          <p:nvPr>
            <p:ph type="body" sz="quarter" idx="12" hasCustomPrompt="1"/>
          </p:nvPr>
        </p:nvSpPr>
        <p:spPr>
          <a:xfrm>
            <a:off x="1966051" y="5081975"/>
            <a:ext cx="5724000" cy="286745"/>
          </a:xfrm>
        </p:spPr>
        <p:txBody>
          <a:bodyPr wrap="square" anchor="b">
            <a:spAutoFit/>
          </a:bodyPr>
          <a:lstStyle>
            <a:lvl1pPr>
              <a:lnSpc>
                <a:spcPct val="130000"/>
              </a:lnSpc>
              <a:spcBef>
                <a:spcPts val="0"/>
              </a:spcBef>
              <a:defRPr sz="1600" cap="all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Untertitel durch Klicken bearbeiten</a:t>
            </a:r>
          </a:p>
        </p:txBody>
      </p:sp>
      <p:sp>
        <p:nvSpPr>
          <p:cNvPr id="28" name="Textplatzhalter 20"/>
          <p:cNvSpPr>
            <a:spLocks noGrp="1"/>
          </p:cNvSpPr>
          <p:nvPr>
            <p:ph type="body" sz="quarter" idx="13" hasCustomPrompt="1"/>
          </p:nvPr>
        </p:nvSpPr>
        <p:spPr>
          <a:xfrm>
            <a:off x="1966051" y="6207115"/>
            <a:ext cx="3950723" cy="246221"/>
          </a:xfrm>
        </p:spPr>
        <p:txBody>
          <a:bodyPr wrap="square" anchor="b">
            <a:spAutoFit/>
          </a:bodyPr>
          <a:lstStyle>
            <a:lvl1pPr>
              <a:spcBef>
                <a:spcPts val="0"/>
              </a:spcBef>
              <a:defRPr sz="1600" cap="none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Ort,</a:t>
            </a:r>
          </a:p>
        </p:txBody>
      </p:sp>
      <p:sp>
        <p:nvSpPr>
          <p:cNvPr id="19" name="object 4">
            <a:extLst>
              <a:ext uri="{FF2B5EF4-FFF2-40B4-BE49-F238E27FC236}">
                <a16:creationId xmlns:a16="http://schemas.microsoft.com/office/drawing/2014/main" id="{F1407FCD-A98D-8D4C-BAEA-A83B72042659}"/>
              </a:ext>
            </a:extLst>
          </p:cNvPr>
          <p:cNvSpPr/>
          <p:nvPr userDrawn="1"/>
        </p:nvSpPr>
        <p:spPr>
          <a:xfrm>
            <a:off x="0" y="899999"/>
            <a:ext cx="12192635" cy="0"/>
          </a:xfrm>
          <a:custGeom>
            <a:avLst/>
            <a:gdLst/>
            <a:ahLst/>
            <a:cxnLst/>
            <a:rect l="l" t="t" r="r" b="b"/>
            <a:pathLst>
              <a:path w="12192635">
                <a:moveTo>
                  <a:pt x="0" y="0"/>
                </a:moveTo>
                <a:lnTo>
                  <a:pt x="12192113" y="0"/>
                </a:lnTo>
              </a:path>
            </a:pathLst>
          </a:custGeom>
          <a:ln w="28575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object 6">
            <a:extLst>
              <a:ext uri="{FF2B5EF4-FFF2-40B4-BE49-F238E27FC236}">
                <a16:creationId xmlns:a16="http://schemas.microsoft.com/office/drawing/2014/main" id="{7A6E9864-542A-6F4C-965E-7D2AEBA2E01D}"/>
              </a:ext>
            </a:extLst>
          </p:cNvPr>
          <p:cNvSpPr/>
          <p:nvPr userDrawn="1"/>
        </p:nvSpPr>
        <p:spPr>
          <a:xfrm>
            <a:off x="1710074" y="1674000"/>
            <a:ext cx="45719" cy="5184000"/>
          </a:xfrm>
          <a:custGeom>
            <a:avLst/>
            <a:gdLst/>
            <a:ahLst/>
            <a:cxnLst/>
            <a:rect l="l" t="t" r="r" b="b"/>
            <a:pathLst>
              <a:path h="4698365">
                <a:moveTo>
                  <a:pt x="0" y="0"/>
                </a:moveTo>
                <a:lnTo>
                  <a:pt x="0" y="4697996"/>
                </a:lnTo>
              </a:path>
            </a:pathLst>
          </a:custGeom>
          <a:ln w="285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Bildplatzhalter 13"/>
          <p:cNvSpPr>
            <a:spLocks noGrp="1"/>
          </p:cNvSpPr>
          <p:nvPr>
            <p:ph type="pic" sz="quarter" idx="17"/>
          </p:nvPr>
        </p:nvSpPr>
        <p:spPr>
          <a:xfrm>
            <a:off x="7915200" y="0"/>
            <a:ext cx="4276800" cy="6858000"/>
          </a:xfrm>
          <a:solidFill>
            <a:schemeClr val="bg2"/>
          </a:solidFill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3" name="object 6">
            <a:extLst>
              <a:ext uri="{FF2B5EF4-FFF2-40B4-BE49-F238E27FC236}">
                <a16:creationId xmlns:a16="http://schemas.microsoft.com/office/drawing/2014/main" id="{35B15152-362B-804E-8180-EB8D98DF2756}"/>
              </a:ext>
            </a:extLst>
          </p:cNvPr>
          <p:cNvSpPr/>
          <p:nvPr userDrawn="1"/>
        </p:nvSpPr>
        <p:spPr>
          <a:xfrm>
            <a:off x="7885596" y="-6350"/>
            <a:ext cx="57324" cy="6864350"/>
          </a:xfrm>
          <a:custGeom>
            <a:avLst/>
            <a:gdLst/>
            <a:ahLst/>
            <a:cxnLst/>
            <a:rect l="l" t="t" r="r" b="b"/>
            <a:pathLst>
              <a:path h="4698365">
                <a:moveTo>
                  <a:pt x="0" y="0"/>
                </a:moveTo>
                <a:lnTo>
                  <a:pt x="0" y="4697996"/>
                </a:lnTo>
              </a:path>
            </a:pathLst>
          </a:custGeom>
          <a:ln w="2540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Textplatzhalter 15"/>
          <p:cNvSpPr>
            <a:spLocks noGrp="1"/>
          </p:cNvSpPr>
          <p:nvPr>
            <p:ph type="body" sz="quarter" idx="14" hasCustomPrompt="1"/>
          </p:nvPr>
        </p:nvSpPr>
        <p:spPr>
          <a:xfrm>
            <a:off x="-16405" y="944724"/>
            <a:ext cx="7902000" cy="1538883"/>
          </a:xfrm>
          <a:solidFill>
            <a:schemeClr val="tx2"/>
          </a:solidFill>
          <a:effectLst>
            <a:outerShdw dist="27940" dir="5400000" algn="t" rotWithShape="0">
              <a:prstClr val="black"/>
            </a:outerShdw>
          </a:effectLst>
        </p:spPr>
        <p:txBody>
          <a:bodyPr wrap="square" lIns="234000" rIns="144000" bIns="0">
            <a:sp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5000" cap="all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Titel durch klicken hinzufügen</a:t>
            </a:r>
          </a:p>
        </p:txBody>
      </p:sp>
      <p:sp>
        <p:nvSpPr>
          <p:cNvPr id="17" name="Textplatzhalter 20">
            <a:extLst>
              <a:ext uri="{FF2B5EF4-FFF2-40B4-BE49-F238E27FC236}">
                <a16:creationId xmlns:a16="http://schemas.microsoft.com/office/drawing/2014/main" id="{933EB4BE-B7DA-FF4C-B744-5423D0C89B3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966051" y="5877272"/>
            <a:ext cx="3950723" cy="246221"/>
          </a:xfrm>
        </p:spPr>
        <p:txBody>
          <a:bodyPr wrap="square" anchor="b">
            <a:spAutoFit/>
          </a:bodyPr>
          <a:lstStyle>
            <a:lvl1pPr>
              <a:spcBef>
                <a:spcPts val="0"/>
              </a:spcBef>
              <a:defRPr sz="1600" cap="none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Name</a:t>
            </a:r>
          </a:p>
        </p:txBody>
      </p:sp>
      <p:sp>
        <p:nvSpPr>
          <p:cNvPr id="18" name="Datumsplatzhalter 4"/>
          <p:cNvSpPr>
            <a:spLocks noGrp="1"/>
          </p:cNvSpPr>
          <p:nvPr>
            <p:ph type="dt" sz="half" idx="2"/>
          </p:nvPr>
        </p:nvSpPr>
        <p:spPr>
          <a:xfrm>
            <a:off x="2891149" y="6207115"/>
            <a:ext cx="3025625" cy="246221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1600">
                <a:solidFill>
                  <a:schemeClr val="tx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16" name="Textfeld 15"/>
          <p:cNvSpPr txBox="1"/>
          <p:nvPr userDrawn="1"/>
        </p:nvSpPr>
        <p:spPr>
          <a:xfrm>
            <a:off x="-974191" y="960180"/>
            <a:ext cx="696839" cy="184666"/>
          </a:xfrm>
          <a:prstGeom prst="rect">
            <a:avLst/>
          </a:prstGeom>
          <a:noFill/>
        </p:spPr>
        <p:txBody>
          <a:bodyPr wrap="none" lIns="72000" tIns="0" rIns="72000" bIns="0" rtlCol="0" anchor="ctr">
            <a:spAutoFit/>
          </a:bodyPr>
          <a:lstStyle/>
          <a:p>
            <a:pPr algn="r"/>
            <a:r>
              <a:rPr lang="de-DE" sz="1200" noProof="0" dirty="0">
                <a:latin typeface="Arial" panose="020B0604020202020204" pitchFamily="34" charset="0"/>
                <a:cs typeface="Arial"/>
                <a:sym typeface="Arial" panose="020B0604020202020204" pitchFamily="34" charset="0"/>
              </a:rPr>
              <a:t>Textbox</a:t>
            </a:r>
          </a:p>
        </p:txBody>
      </p:sp>
      <p:sp>
        <p:nvSpPr>
          <p:cNvPr id="20" name="Textfeld 19"/>
          <p:cNvSpPr txBox="1"/>
          <p:nvPr userDrawn="1"/>
        </p:nvSpPr>
        <p:spPr>
          <a:xfrm>
            <a:off x="-1014869" y="-381635"/>
            <a:ext cx="990189" cy="184666"/>
          </a:xfrm>
          <a:prstGeom prst="rect">
            <a:avLst/>
          </a:prstGeom>
          <a:noFill/>
        </p:spPr>
        <p:txBody>
          <a:bodyPr wrap="none" lIns="72000" tIns="0" rIns="72000" bIns="0" rtlCol="0" anchor="ctr">
            <a:spAutoFit/>
          </a:bodyPr>
          <a:lstStyle/>
          <a:p>
            <a:pPr algn="r"/>
            <a:r>
              <a:rPr lang="de-DE" sz="1200" noProof="0" dirty="0">
                <a:latin typeface="Arial" panose="020B0604020202020204" pitchFamily="34" charset="0"/>
                <a:cs typeface="Arial"/>
                <a:sym typeface="Arial" panose="020B0604020202020204" pitchFamily="34" charset="0"/>
              </a:rPr>
              <a:t>Vier</a:t>
            </a:r>
            <a:r>
              <a:rPr lang="de-DE" sz="1200" baseline="0" noProof="0" dirty="0">
                <a:latin typeface="Arial" panose="020B0604020202020204" pitchFamily="34" charset="0"/>
                <a:cs typeface="Arial"/>
                <a:sym typeface="Arial" panose="020B0604020202020204" pitchFamily="34" charset="0"/>
              </a:rPr>
              <a:t> </a:t>
            </a:r>
            <a:r>
              <a:rPr lang="de-DE" sz="1200" noProof="0" dirty="0">
                <a:latin typeface="Arial" panose="020B0604020202020204" pitchFamily="34" charset="0"/>
                <a:cs typeface="Arial"/>
                <a:sym typeface="Arial" panose="020B0604020202020204" pitchFamily="34" charset="0"/>
              </a:rPr>
              <a:t>Spalten</a:t>
            </a:r>
          </a:p>
        </p:txBody>
      </p:sp>
      <p:sp>
        <p:nvSpPr>
          <p:cNvPr id="22" name="Textfeld 21"/>
          <p:cNvSpPr txBox="1"/>
          <p:nvPr userDrawn="1"/>
        </p:nvSpPr>
        <p:spPr>
          <a:xfrm>
            <a:off x="-1032502" y="-618555"/>
            <a:ext cx="1007822" cy="184666"/>
          </a:xfrm>
          <a:prstGeom prst="rect">
            <a:avLst/>
          </a:prstGeom>
          <a:noFill/>
        </p:spPr>
        <p:txBody>
          <a:bodyPr wrap="none" lIns="72000" tIns="0" rIns="72000" bIns="0" rtlCol="0" anchor="ctr">
            <a:spAutoFit/>
          </a:bodyPr>
          <a:lstStyle/>
          <a:p>
            <a:pPr algn="r"/>
            <a:r>
              <a:rPr lang="de-DE" sz="1200" noProof="0" dirty="0">
                <a:latin typeface="Arial" panose="020B0604020202020204" pitchFamily="34" charset="0"/>
                <a:cs typeface="Arial"/>
                <a:sym typeface="Arial" panose="020B0604020202020204" pitchFamily="34" charset="0"/>
              </a:rPr>
              <a:t>Drei</a:t>
            </a:r>
            <a:r>
              <a:rPr lang="de-DE" sz="1200" baseline="0" noProof="0" dirty="0">
                <a:latin typeface="Arial" panose="020B0604020202020204" pitchFamily="34" charset="0"/>
                <a:cs typeface="Arial"/>
                <a:sym typeface="Arial" panose="020B0604020202020204" pitchFamily="34" charset="0"/>
              </a:rPr>
              <a:t> </a:t>
            </a:r>
            <a:r>
              <a:rPr lang="de-DE" sz="1200" noProof="0" dirty="0">
                <a:latin typeface="Arial" panose="020B0604020202020204" pitchFamily="34" charset="0"/>
                <a:cs typeface="Arial"/>
                <a:sym typeface="Arial" panose="020B0604020202020204" pitchFamily="34" charset="0"/>
              </a:rPr>
              <a:t>Spalten</a:t>
            </a:r>
          </a:p>
        </p:txBody>
      </p:sp>
      <p:sp>
        <p:nvSpPr>
          <p:cNvPr id="24" name="Textfeld 23"/>
          <p:cNvSpPr txBox="1"/>
          <p:nvPr userDrawn="1"/>
        </p:nvSpPr>
        <p:spPr>
          <a:xfrm>
            <a:off x="-1067768" y="-855476"/>
            <a:ext cx="1043088" cy="184666"/>
          </a:xfrm>
          <a:prstGeom prst="rect">
            <a:avLst/>
          </a:prstGeom>
          <a:noFill/>
        </p:spPr>
        <p:txBody>
          <a:bodyPr wrap="none" lIns="72000" tIns="0" rIns="72000" bIns="0" rtlCol="0" anchor="ctr">
            <a:spAutoFit/>
          </a:bodyPr>
          <a:lstStyle/>
          <a:p>
            <a:pPr algn="r"/>
            <a:r>
              <a:rPr lang="de-DE" sz="1200" noProof="0" dirty="0">
                <a:latin typeface="Arial" panose="020B0604020202020204" pitchFamily="34" charset="0"/>
                <a:cs typeface="Arial"/>
                <a:sym typeface="Arial" panose="020B0604020202020204" pitchFamily="34" charset="0"/>
              </a:rPr>
              <a:t>Zwei Spalten</a:t>
            </a:r>
          </a:p>
        </p:txBody>
      </p:sp>
      <p:grpSp>
        <p:nvGrpSpPr>
          <p:cNvPr id="25" name="Gruppieren 24"/>
          <p:cNvGrpSpPr/>
          <p:nvPr userDrawn="1"/>
        </p:nvGrpSpPr>
        <p:grpSpPr>
          <a:xfrm>
            <a:off x="-276708" y="-835143"/>
            <a:ext cx="12205181" cy="7972555"/>
            <a:chOff x="-276708" y="-835143"/>
            <a:chExt cx="12205181" cy="7972555"/>
          </a:xfrm>
        </p:grpSpPr>
        <p:cxnSp>
          <p:nvCxnSpPr>
            <p:cNvPr id="27" name="Gerade Verbindung 23"/>
            <p:cNvCxnSpPr/>
            <p:nvPr userDrawn="1"/>
          </p:nvCxnSpPr>
          <p:spPr>
            <a:xfrm rot="5400000" flipV="1">
              <a:off x="-204708" y="980735"/>
              <a:ext cx="0" cy="1440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 Verbindung 24"/>
            <p:cNvCxnSpPr/>
            <p:nvPr userDrawn="1"/>
          </p:nvCxnSpPr>
          <p:spPr>
            <a:xfrm rot="5400000" flipV="1">
              <a:off x="-204708" y="6381336"/>
              <a:ext cx="0" cy="1440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 Verbindung 78"/>
            <p:cNvCxnSpPr/>
            <p:nvPr userDrawn="1"/>
          </p:nvCxnSpPr>
          <p:spPr>
            <a:xfrm>
              <a:off x="259147" y="6993412"/>
              <a:ext cx="0" cy="1440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 Verbindung mit Pfeil 30"/>
            <p:cNvCxnSpPr/>
            <p:nvPr userDrawn="1"/>
          </p:nvCxnSpPr>
          <p:spPr>
            <a:xfrm>
              <a:off x="263525" y="-526222"/>
              <a:ext cx="3492500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 Verbindung mit Pfeil 31"/>
            <p:cNvCxnSpPr/>
            <p:nvPr userDrawn="1"/>
          </p:nvCxnSpPr>
          <p:spPr>
            <a:xfrm>
              <a:off x="4259684" y="-526222"/>
              <a:ext cx="3457154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mit Pfeil 32"/>
            <p:cNvCxnSpPr/>
            <p:nvPr userDrawn="1"/>
          </p:nvCxnSpPr>
          <p:spPr>
            <a:xfrm>
              <a:off x="8220124" y="-526222"/>
              <a:ext cx="3492500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mit Pfeil 33"/>
            <p:cNvCxnSpPr/>
            <p:nvPr userDrawn="1"/>
          </p:nvCxnSpPr>
          <p:spPr>
            <a:xfrm>
              <a:off x="263525" y="-289302"/>
              <a:ext cx="2484438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mit Pfeil 34"/>
            <p:cNvCxnSpPr/>
            <p:nvPr userDrawn="1"/>
          </p:nvCxnSpPr>
          <p:spPr>
            <a:xfrm>
              <a:off x="3251200" y="-289302"/>
              <a:ext cx="2484438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mit Pfeil 35"/>
            <p:cNvCxnSpPr/>
            <p:nvPr userDrawn="1"/>
          </p:nvCxnSpPr>
          <p:spPr>
            <a:xfrm>
              <a:off x="6240462" y="-289302"/>
              <a:ext cx="2484438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 Verbindung mit Pfeil 36"/>
            <p:cNvCxnSpPr/>
            <p:nvPr userDrawn="1"/>
          </p:nvCxnSpPr>
          <p:spPr>
            <a:xfrm>
              <a:off x="9228186" y="-289302"/>
              <a:ext cx="2484438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 Verbindung mit Pfeil 37"/>
            <p:cNvCxnSpPr/>
            <p:nvPr userDrawn="1"/>
          </p:nvCxnSpPr>
          <p:spPr>
            <a:xfrm>
              <a:off x="263525" y="-763143"/>
              <a:ext cx="5472113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 Verbindung mit Pfeil 38"/>
            <p:cNvCxnSpPr/>
            <p:nvPr userDrawn="1"/>
          </p:nvCxnSpPr>
          <p:spPr>
            <a:xfrm>
              <a:off x="6240463" y="-763143"/>
              <a:ext cx="5472161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107"/>
            <p:cNvCxnSpPr/>
            <p:nvPr userDrawn="1"/>
          </p:nvCxnSpPr>
          <p:spPr>
            <a:xfrm>
              <a:off x="2999272" y="-361302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 Verbindung 108"/>
            <p:cNvCxnSpPr/>
            <p:nvPr userDrawn="1"/>
          </p:nvCxnSpPr>
          <p:spPr>
            <a:xfrm>
              <a:off x="5987988" y="-361302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 Verbindung 109"/>
            <p:cNvCxnSpPr/>
            <p:nvPr userDrawn="1"/>
          </p:nvCxnSpPr>
          <p:spPr>
            <a:xfrm>
              <a:off x="8976320" y="-361302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 Verbindung 110"/>
            <p:cNvCxnSpPr/>
            <p:nvPr userDrawn="1"/>
          </p:nvCxnSpPr>
          <p:spPr>
            <a:xfrm>
              <a:off x="7968208" y="-598222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Gerade Verbindung 111"/>
            <p:cNvCxnSpPr/>
            <p:nvPr userDrawn="1"/>
          </p:nvCxnSpPr>
          <p:spPr>
            <a:xfrm>
              <a:off x="4007768" y="-598222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Gerade Verbindung 112"/>
            <p:cNvCxnSpPr/>
            <p:nvPr userDrawn="1"/>
          </p:nvCxnSpPr>
          <p:spPr>
            <a:xfrm>
              <a:off x="5987988" y="-835143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Gerade Verbindung 33"/>
            <p:cNvCxnSpPr/>
            <p:nvPr userDrawn="1"/>
          </p:nvCxnSpPr>
          <p:spPr>
            <a:xfrm rot="5400000" flipV="1">
              <a:off x="-204708" y="826746"/>
              <a:ext cx="0" cy="144000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Gerade Verbindung 34"/>
            <p:cNvCxnSpPr/>
            <p:nvPr userDrawn="1"/>
          </p:nvCxnSpPr>
          <p:spPr>
            <a:xfrm rot="5400000" flipV="1">
              <a:off x="-204708" y="6785999"/>
              <a:ext cx="0" cy="144000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Gerade Verbindung 35"/>
            <p:cNvCxnSpPr/>
            <p:nvPr userDrawn="1"/>
          </p:nvCxnSpPr>
          <p:spPr>
            <a:xfrm rot="10800000" flipV="1">
              <a:off x="11928473" y="-361302"/>
              <a:ext cx="0" cy="144000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38"/>
            <p:cNvCxnSpPr/>
            <p:nvPr userDrawn="1"/>
          </p:nvCxnSpPr>
          <p:spPr>
            <a:xfrm rot="10800000" flipV="1">
              <a:off x="0" y="-361302"/>
              <a:ext cx="0" cy="144000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50" name="Gerade Verbindung 37"/>
          <p:cNvCxnSpPr/>
          <p:nvPr userDrawn="1"/>
        </p:nvCxnSpPr>
        <p:spPr>
          <a:xfrm>
            <a:off x="11712624" y="6993412"/>
            <a:ext cx="0" cy="144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feld 50"/>
          <p:cNvSpPr txBox="1"/>
          <p:nvPr userDrawn="1"/>
        </p:nvSpPr>
        <p:spPr>
          <a:xfrm>
            <a:off x="-1791723" y="799523"/>
            <a:ext cx="1514371" cy="184666"/>
          </a:xfrm>
          <a:prstGeom prst="rect">
            <a:avLst/>
          </a:prstGeom>
          <a:noFill/>
        </p:spPr>
        <p:txBody>
          <a:bodyPr wrap="none" lIns="72000" tIns="0" rIns="72000" bIns="0" rtlCol="0" anchor="ctr">
            <a:spAutoFit/>
          </a:bodyPr>
          <a:lstStyle/>
          <a:p>
            <a:pPr algn="r"/>
            <a:r>
              <a:rPr lang="de-DE" sz="1200" noProof="0" dirty="0">
                <a:solidFill>
                  <a:srgbClr val="FF0000"/>
                </a:solidFill>
                <a:latin typeface="Arial" panose="020B0604020202020204" pitchFamily="34" charset="0"/>
                <a:cs typeface="Arial"/>
                <a:sym typeface="Arial" panose="020B0604020202020204" pitchFamily="34" charset="0"/>
              </a:rPr>
              <a:t>Tabelle</a:t>
            </a:r>
            <a:r>
              <a:rPr lang="de-DE" sz="1200" baseline="0" noProof="0" dirty="0">
                <a:solidFill>
                  <a:srgbClr val="FF0000"/>
                </a:solidFill>
                <a:latin typeface="Arial" panose="020B0604020202020204" pitchFamily="34" charset="0"/>
                <a:cs typeface="Arial"/>
                <a:sym typeface="Arial" panose="020B0604020202020204" pitchFamily="34" charset="0"/>
              </a:rPr>
              <a:t> </a:t>
            </a:r>
            <a:r>
              <a:rPr lang="de-DE" sz="1200" noProof="0" dirty="0">
                <a:solidFill>
                  <a:srgbClr val="FF0000"/>
                </a:solidFill>
                <a:latin typeface="Arial" panose="020B0604020202020204" pitchFamily="34" charset="0"/>
                <a:cs typeface="Arial"/>
                <a:sym typeface="Arial" panose="020B0604020202020204" pitchFamily="34" charset="0"/>
              </a:rPr>
              <a:t>(Vollflächig)</a:t>
            </a:r>
          </a:p>
        </p:txBody>
      </p:sp>
    </p:spTree>
    <p:extLst>
      <p:ext uri="{BB962C8B-B14F-4D97-AF65-F5344CB8AC3E}">
        <p14:creationId xmlns:p14="http://schemas.microsoft.com/office/powerpoint/2010/main" val="3353063387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instiegsfolie_Bild quer 40%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455868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ts val="66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de-DE" sz="5000" b="0" i="0" baseline="0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Rechteck 7"/>
          <p:cNvSpPr/>
          <p:nvPr userDrawn="1"/>
        </p:nvSpPr>
        <p:spPr>
          <a:xfrm>
            <a:off x="-794" y="0"/>
            <a:ext cx="12193588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263524" y="1134800"/>
            <a:ext cx="11664951" cy="892721"/>
          </a:xfrm>
        </p:spPr>
        <p:txBody>
          <a:bodyPr anchor="t"/>
          <a:lstStyle>
            <a:lvl1pPr>
              <a:lnSpc>
                <a:spcPts val="6600"/>
              </a:lnSpc>
              <a:defRPr sz="5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Titel der </a:t>
            </a:r>
            <a:r>
              <a:rPr lang="de-DE" dirty="0" err="1"/>
              <a:t>präsentation</a:t>
            </a:r>
            <a:endParaRPr lang="en-US" dirty="0"/>
          </a:p>
        </p:txBody>
      </p:sp>
      <p:pic>
        <p:nvPicPr>
          <p:cNvPr id="6154" name="Picture 10"/>
          <p:cNvPicPr>
            <a:picLocks noChangeAspect="1" noChangeArrowheads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63352" y="200024"/>
            <a:ext cx="4018011" cy="532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6" name="Textplatzhalter 20"/>
          <p:cNvSpPr>
            <a:spLocks noGrp="1"/>
          </p:cNvSpPr>
          <p:nvPr>
            <p:ph type="body" sz="quarter" idx="12" hasCustomPrompt="1"/>
          </p:nvPr>
        </p:nvSpPr>
        <p:spPr>
          <a:xfrm>
            <a:off x="264050" y="2599453"/>
            <a:ext cx="3744388" cy="606833"/>
          </a:xfrm>
        </p:spPr>
        <p:txBody>
          <a:bodyPr wrap="square" anchor="b" anchorCtr="0">
            <a:spAutoFit/>
          </a:bodyPr>
          <a:lstStyle>
            <a:lvl1pPr>
              <a:lnSpc>
                <a:spcPct val="130000"/>
              </a:lnSpc>
              <a:spcBef>
                <a:spcPts val="0"/>
              </a:spcBef>
              <a:defRPr sz="1600" cap="all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Untertitel durch Klicken bearbeiten</a:t>
            </a:r>
          </a:p>
        </p:txBody>
      </p:sp>
      <p:sp>
        <p:nvSpPr>
          <p:cNvPr id="28" name="Textplatzhalter 20"/>
          <p:cNvSpPr>
            <a:spLocks noGrp="1"/>
          </p:cNvSpPr>
          <p:nvPr>
            <p:ph type="body" sz="quarter" idx="13" hasCustomPrompt="1"/>
          </p:nvPr>
        </p:nvSpPr>
        <p:spPr>
          <a:xfrm>
            <a:off x="4284804" y="2960065"/>
            <a:ext cx="7453312" cy="246221"/>
          </a:xfrm>
        </p:spPr>
        <p:txBody>
          <a:bodyPr wrap="square" anchor="b">
            <a:spAutoFit/>
          </a:bodyPr>
          <a:lstStyle>
            <a:lvl1pPr>
              <a:spcBef>
                <a:spcPts val="0"/>
              </a:spcBef>
              <a:defRPr sz="1600" cap="none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Ort,</a:t>
            </a:r>
          </a:p>
        </p:txBody>
      </p:sp>
      <p:sp>
        <p:nvSpPr>
          <p:cNvPr id="19" name="object 4">
            <a:extLst>
              <a:ext uri="{FF2B5EF4-FFF2-40B4-BE49-F238E27FC236}">
                <a16:creationId xmlns:a16="http://schemas.microsoft.com/office/drawing/2014/main" id="{F1407FCD-A98D-8D4C-BAEA-A83B72042659}"/>
              </a:ext>
            </a:extLst>
          </p:cNvPr>
          <p:cNvSpPr/>
          <p:nvPr userDrawn="1"/>
        </p:nvSpPr>
        <p:spPr>
          <a:xfrm>
            <a:off x="0" y="899999"/>
            <a:ext cx="12192635" cy="0"/>
          </a:xfrm>
          <a:custGeom>
            <a:avLst/>
            <a:gdLst/>
            <a:ahLst/>
            <a:cxnLst/>
            <a:rect l="l" t="t" r="r" b="b"/>
            <a:pathLst>
              <a:path w="12192635">
                <a:moveTo>
                  <a:pt x="0" y="0"/>
                </a:moveTo>
                <a:lnTo>
                  <a:pt x="12192113" y="0"/>
                </a:lnTo>
              </a:path>
            </a:pathLst>
          </a:custGeom>
          <a:ln w="28575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Bildplatzhalter 13"/>
          <p:cNvSpPr>
            <a:spLocks noGrp="1"/>
          </p:cNvSpPr>
          <p:nvPr>
            <p:ph type="pic" sz="quarter" idx="17"/>
          </p:nvPr>
        </p:nvSpPr>
        <p:spPr>
          <a:xfrm>
            <a:off x="3176" y="3546000"/>
            <a:ext cx="12189618" cy="3312000"/>
          </a:xfrm>
          <a:solidFill>
            <a:schemeClr val="bg2"/>
          </a:solidFill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31" name="object 5">
            <a:extLst>
              <a:ext uri="{FF2B5EF4-FFF2-40B4-BE49-F238E27FC236}">
                <a16:creationId xmlns:a16="http://schemas.microsoft.com/office/drawing/2014/main" id="{E53813C0-5592-A544-AC61-84B1689DD6BA}"/>
              </a:ext>
            </a:extLst>
          </p:cNvPr>
          <p:cNvSpPr/>
          <p:nvPr userDrawn="1"/>
        </p:nvSpPr>
        <p:spPr>
          <a:xfrm>
            <a:off x="0" y="2027521"/>
            <a:ext cx="12192635" cy="0"/>
          </a:xfrm>
          <a:custGeom>
            <a:avLst/>
            <a:gdLst/>
            <a:ahLst/>
            <a:cxnLst/>
            <a:rect l="l" t="t" r="r" b="b"/>
            <a:pathLst>
              <a:path w="12192635">
                <a:moveTo>
                  <a:pt x="0" y="0"/>
                </a:moveTo>
                <a:lnTo>
                  <a:pt x="12192113" y="0"/>
                </a:lnTo>
              </a:path>
            </a:pathLst>
          </a:custGeom>
          <a:ln w="2540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2" name="object 6">
            <a:extLst>
              <a:ext uri="{FF2B5EF4-FFF2-40B4-BE49-F238E27FC236}">
                <a16:creationId xmlns:a16="http://schemas.microsoft.com/office/drawing/2014/main" id="{7A6E9864-542A-6F4C-965E-7D2AEBA2E01D}"/>
              </a:ext>
            </a:extLst>
          </p:cNvPr>
          <p:cNvSpPr/>
          <p:nvPr userDrawn="1"/>
        </p:nvSpPr>
        <p:spPr>
          <a:xfrm flipH="1">
            <a:off x="4041788" y="2027521"/>
            <a:ext cx="45719" cy="1509479"/>
          </a:xfrm>
          <a:custGeom>
            <a:avLst/>
            <a:gdLst/>
            <a:ahLst/>
            <a:cxnLst/>
            <a:rect l="l" t="t" r="r" b="b"/>
            <a:pathLst>
              <a:path h="4698365">
                <a:moveTo>
                  <a:pt x="0" y="0"/>
                </a:moveTo>
                <a:lnTo>
                  <a:pt x="0" y="4697996"/>
                </a:lnTo>
              </a:path>
            </a:pathLst>
          </a:custGeom>
          <a:ln w="285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3" name="object 5">
            <a:extLst>
              <a:ext uri="{FF2B5EF4-FFF2-40B4-BE49-F238E27FC236}">
                <a16:creationId xmlns:a16="http://schemas.microsoft.com/office/drawing/2014/main" id="{015ACE90-02E3-8C47-94C3-2D89724CC019}"/>
              </a:ext>
            </a:extLst>
          </p:cNvPr>
          <p:cNvSpPr/>
          <p:nvPr userDrawn="1"/>
        </p:nvSpPr>
        <p:spPr>
          <a:xfrm>
            <a:off x="-637" y="3537000"/>
            <a:ext cx="12192635" cy="0"/>
          </a:xfrm>
          <a:custGeom>
            <a:avLst/>
            <a:gdLst/>
            <a:ahLst/>
            <a:cxnLst/>
            <a:rect l="l" t="t" r="r" b="b"/>
            <a:pathLst>
              <a:path w="12192635">
                <a:moveTo>
                  <a:pt x="0" y="0"/>
                </a:moveTo>
                <a:lnTo>
                  <a:pt x="12192113" y="0"/>
                </a:lnTo>
              </a:path>
            </a:pathLst>
          </a:custGeom>
          <a:ln w="2540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Textplatzhalter 20">
            <a:extLst>
              <a:ext uri="{FF2B5EF4-FFF2-40B4-BE49-F238E27FC236}">
                <a16:creationId xmlns:a16="http://schemas.microsoft.com/office/drawing/2014/main" id="{A4C3430A-7E32-784A-A054-05C3781007F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281488" y="2626341"/>
            <a:ext cx="7453313" cy="246221"/>
          </a:xfrm>
        </p:spPr>
        <p:txBody>
          <a:bodyPr wrap="square" anchor="b">
            <a:noAutofit/>
          </a:bodyPr>
          <a:lstStyle>
            <a:lvl1pPr>
              <a:spcBef>
                <a:spcPts val="0"/>
              </a:spcBef>
              <a:defRPr sz="1600" cap="none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Name</a:t>
            </a:r>
          </a:p>
        </p:txBody>
      </p:sp>
      <p:sp>
        <p:nvSpPr>
          <p:cNvPr id="17" name="Datumsplatzhalter 4"/>
          <p:cNvSpPr>
            <a:spLocks noGrp="1"/>
          </p:cNvSpPr>
          <p:nvPr>
            <p:ph type="dt" sz="half" idx="2"/>
          </p:nvPr>
        </p:nvSpPr>
        <p:spPr>
          <a:xfrm>
            <a:off x="5207255" y="2956184"/>
            <a:ext cx="3024831" cy="246221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1600">
                <a:solidFill>
                  <a:schemeClr val="tx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18" name="Textfeld 17"/>
          <p:cNvSpPr txBox="1"/>
          <p:nvPr userDrawn="1"/>
        </p:nvSpPr>
        <p:spPr>
          <a:xfrm>
            <a:off x="-974191" y="960180"/>
            <a:ext cx="696839" cy="184666"/>
          </a:xfrm>
          <a:prstGeom prst="rect">
            <a:avLst/>
          </a:prstGeom>
          <a:noFill/>
        </p:spPr>
        <p:txBody>
          <a:bodyPr wrap="none" lIns="72000" tIns="0" rIns="72000" bIns="0" rtlCol="0" anchor="ctr">
            <a:spAutoFit/>
          </a:bodyPr>
          <a:lstStyle/>
          <a:p>
            <a:pPr algn="r"/>
            <a:r>
              <a:rPr lang="de-DE" sz="1200" noProof="0" dirty="0">
                <a:latin typeface="Arial" panose="020B0604020202020204" pitchFamily="34" charset="0"/>
                <a:cs typeface="Arial"/>
                <a:sym typeface="Arial" panose="020B0604020202020204" pitchFamily="34" charset="0"/>
              </a:rPr>
              <a:t>Textbox</a:t>
            </a:r>
          </a:p>
        </p:txBody>
      </p:sp>
      <p:sp>
        <p:nvSpPr>
          <p:cNvPr id="20" name="Textfeld 19"/>
          <p:cNvSpPr txBox="1"/>
          <p:nvPr userDrawn="1"/>
        </p:nvSpPr>
        <p:spPr>
          <a:xfrm>
            <a:off x="-1014869" y="-381635"/>
            <a:ext cx="990189" cy="184666"/>
          </a:xfrm>
          <a:prstGeom prst="rect">
            <a:avLst/>
          </a:prstGeom>
          <a:noFill/>
        </p:spPr>
        <p:txBody>
          <a:bodyPr wrap="none" lIns="72000" tIns="0" rIns="72000" bIns="0" rtlCol="0" anchor="ctr">
            <a:spAutoFit/>
          </a:bodyPr>
          <a:lstStyle/>
          <a:p>
            <a:pPr algn="r"/>
            <a:r>
              <a:rPr lang="de-DE" sz="1200" noProof="0" dirty="0">
                <a:latin typeface="Arial" panose="020B0604020202020204" pitchFamily="34" charset="0"/>
                <a:cs typeface="Arial"/>
                <a:sym typeface="Arial" panose="020B0604020202020204" pitchFamily="34" charset="0"/>
              </a:rPr>
              <a:t>Vier</a:t>
            </a:r>
            <a:r>
              <a:rPr lang="de-DE" sz="1200" baseline="0" noProof="0" dirty="0">
                <a:latin typeface="Arial" panose="020B0604020202020204" pitchFamily="34" charset="0"/>
                <a:cs typeface="Arial"/>
                <a:sym typeface="Arial" panose="020B0604020202020204" pitchFamily="34" charset="0"/>
              </a:rPr>
              <a:t> </a:t>
            </a:r>
            <a:r>
              <a:rPr lang="de-DE" sz="1200" noProof="0" dirty="0">
                <a:latin typeface="Arial" panose="020B0604020202020204" pitchFamily="34" charset="0"/>
                <a:cs typeface="Arial"/>
                <a:sym typeface="Arial" panose="020B0604020202020204" pitchFamily="34" charset="0"/>
              </a:rPr>
              <a:t>Spalten</a:t>
            </a:r>
          </a:p>
        </p:txBody>
      </p:sp>
      <p:sp>
        <p:nvSpPr>
          <p:cNvPr id="21" name="Textfeld 20"/>
          <p:cNvSpPr txBox="1"/>
          <p:nvPr userDrawn="1"/>
        </p:nvSpPr>
        <p:spPr>
          <a:xfrm>
            <a:off x="-1032502" y="-618555"/>
            <a:ext cx="1007822" cy="184666"/>
          </a:xfrm>
          <a:prstGeom prst="rect">
            <a:avLst/>
          </a:prstGeom>
          <a:noFill/>
        </p:spPr>
        <p:txBody>
          <a:bodyPr wrap="none" lIns="72000" tIns="0" rIns="72000" bIns="0" rtlCol="0" anchor="ctr">
            <a:spAutoFit/>
          </a:bodyPr>
          <a:lstStyle/>
          <a:p>
            <a:pPr algn="r"/>
            <a:r>
              <a:rPr lang="de-DE" sz="1200" noProof="0" dirty="0">
                <a:latin typeface="Arial" panose="020B0604020202020204" pitchFamily="34" charset="0"/>
                <a:cs typeface="Arial"/>
                <a:sym typeface="Arial" panose="020B0604020202020204" pitchFamily="34" charset="0"/>
              </a:rPr>
              <a:t>Drei</a:t>
            </a:r>
            <a:r>
              <a:rPr lang="de-DE" sz="1200" baseline="0" noProof="0" dirty="0">
                <a:latin typeface="Arial" panose="020B0604020202020204" pitchFamily="34" charset="0"/>
                <a:cs typeface="Arial"/>
                <a:sym typeface="Arial" panose="020B0604020202020204" pitchFamily="34" charset="0"/>
              </a:rPr>
              <a:t> </a:t>
            </a:r>
            <a:r>
              <a:rPr lang="de-DE" sz="1200" noProof="0" dirty="0">
                <a:latin typeface="Arial" panose="020B0604020202020204" pitchFamily="34" charset="0"/>
                <a:cs typeface="Arial"/>
                <a:sym typeface="Arial" panose="020B0604020202020204" pitchFamily="34" charset="0"/>
              </a:rPr>
              <a:t>Spalten</a:t>
            </a:r>
          </a:p>
        </p:txBody>
      </p:sp>
      <p:sp>
        <p:nvSpPr>
          <p:cNvPr id="22" name="Textfeld 21"/>
          <p:cNvSpPr txBox="1"/>
          <p:nvPr userDrawn="1"/>
        </p:nvSpPr>
        <p:spPr>
          <a:xfrm>
            <a:off x="-1067768" y="-855476"/>
            <a:ext cx="1043088" cy="184666"/>
          </a:xfrm>
          <a:prstGeom prst="rect">
            <a:avLst/>
          </a:prstGeom>
          <a:noFill/>
        </p:spPr>
        <p:txBody>
          <a:bodyPr wrap="none" lIns="72000" tIns="0" rIns="72000" bIns="0" rtlCol="0" anchor="ctr">
            <a:spAutoFit/>
          </a:bodyPr>
          <a:lstStyle/>
          <a:p>
            <a:pPr algn="r"/>
            <a:r>
              <a:rPr lang="de-DE" sz="1200" noProof="0" dirty="0">
                <a:latin typeface="Arial" panose="020B0604020202020204" pitchFamily="34" charset="0"/>
                <a:cs typeface="Arial"/>
                <a:sym typeface="Arial" panose="020B0604020202020204" pitchFamily="34" charset="0"/>
              </a:rPr>
              <a:t>Zwei Spalten</a:t>
            </a:r>
          </a:p>
        </p:txBody>
      </p:sp>
      <p:grpSp>
        <p:nvGrpSpPr>
          <p:cNvPr id="23" name="Gruppieren 22"/>
          <p:cNvGrpSpPr/>
          <p:nvPr userDrawn="1"/>
        </p:nvGrpSpPr>
        <p:grpSpPr>
          <a:xfrm>
            <a:off x="-276708" y="-835143"/>
            <a:ext cx="12205181" cy="7972555"/>
            <a:chOff x="-276708" y="-835143"/>
            <a:chExt cx="12205181" cy="7972555"/>
          </a:xfrm>
        </p:grpSpPr>
        <p:cxnSp>
          <p:nvCxnSpPr>
            <p:cNvPr id="24" name="Gerade Verbindung 23"/>
            <p:cNvCxnSpPr/>
            <p:nvPr userDrawn="1"/>
          </p:nvCxnSpPr>
          <p:spPr>
            <a:xfrm rot="5400000" flipV="1">
              <a:off x="-204708" y="980735"/>
              <a:ext cx="0" cy="1440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24"/>
            <p:cNvCxnSpPr/>
            <p:nvPr userDrawn="1"/>
          </p:nvCxnSpPr>
          <p:spPr>
            <a:xfrm rot="5400000" flipV="1">
              <a:off x="-204708" y="6381336"/>
              <a:ext cx="0" cy="1440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78"/>
            <p:cNvCxnSpPr/>
            <p:nvPr userDrawn="1"/>
          </p:nvCxnSpPr>
          <p:spPr>
            <a:xfrm>
              <a:off x="259147" y="6993412"/>
              <a:ext cx="0" cy="1440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 Verbindung mit Pfeil 28"/>
            <p:cNvCxnSpPr/>
            <p:nvPr userDrawn="1"/>
          </p:nvCxnSpPr>
          <p:spPr>
            <a:xfrm>
              <a:off x="263525" y="-526222"/>
              <a:ext cx="3492500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 Verbindung mit Pfeil 29"/>
            <p:cNvCxnSpPr/>
            <p:nvPr userDrawn="1"/>
          </p:nvCxnSpPr>
          <p:spPr>
            <a:xfrm>
              <a:off x="4259684" y="-526222"/>
              <a:ext cx="3457154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mit Pfeil 33"/>
            <p:cNvCxnSpPr/>
            <p:nvPr userDrawn="1"/>
          </p:nvCxnSpPr>
          <p:spPr>
            <a:xfrm>
              <a:off x="8220124" y="-526222"/>
              <a:ext cx="3492500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mit Pfeil 34"/>
            <p:cNvCxnSpPr/>
            <p:nvPr userDrawn="1"/>
          </p:nvCxnSpPr>
          <p:spPr>
            <a:xfrm>
              <a:off x="263525" y="-289302"/>
              <a:ext cx="2484438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mit Pfeil 35"/>
            <p:cNvCxnSpPr/>
            <p:nvPr userDrawn="1"/>
          </p:nvCxnSpPr>
          <p:spPr>
            <a:xfrm>
              <a:off x="3251200" y="-289302"/>
              <a:ext cx="2484438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 Verbindung mit Pfeil 36"/>
            <p:cNvCxnSpPr/>
            <p:nvPr userDrawn="1"/>
          </p:nvCxnSpPr>
          <p:spPr>
            <a:xfrm>
              <a:off x="6240462" y="-289302"/>
              <a:ext cx="2484438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 Verbindung mit Pfeil 37"/>
            <p:cNvCxnSpPr/>
            <p:nvPr userDrawn="1"/>
          </p:nvCxnSpPr>
          <p:spPr>
            <a:xfrm>
              <a:off x="9228186" y="-289302"/>
              <a:ext cx="2484438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 Verbindung mit Pfeil 38"/>
            <p:cNvCxnSpPr/>
            <p:nvPr userDrawn="1"/>
          </p:nvCxnSpPr>
          <p:spPr>
            <a:xfrm>
              <a:off x="263525" y="-763143"/>
              <a:ext cx="5472113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mit Pfeil 39"/>
            <p:cNvCxnSpPr/>
            <p:nvPr userDrawn="1"/>
          </p:nvCxnSpPr>
          <p:spPr>
            <a:xfrm>
              <a:off x="6240463" y="-763143"/>
              <a:ext cx="5472161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 Verbindung 107"/>
            <p:cNvCxnSpPr/>
            <p:nvPr userDrawn="1"/>
          </p:nvCxnSpPr>
          <p:spPr>
            <a:xfrm>
              <a:off x="2999272" y="-361302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 Verbindung 108"/>
            <p:cNvCxnSpPr/>
            <p:nvPr userDrawn="1"/>
          </p:nvCxnSpPr>
          <p:spPr>
            <a:xfrm>
              <a:off x="5987988" y="-361302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 Verbindung 109"/>
            <p:cNvCxnSpPr/>
            <p:nvPr userDrawn="1"/>
          </p:nvCxnSpPr>
          <p:spPr>
            <a:xfrm>
              <a:off x="8976320" y="-361302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Gerade Verbindung 110"/>
            <p:cNvCxnSpPr/>
            <p:nvPr userDrawn="1"/>
          </p:nvCxnSpPr>
          <p:spPr>
            <a:xfrm>
              <a:off x="7968208" y="-598222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Gerade Verbindung 111"/>
            <p:cNvCxnSpPr/>
            <p:nvPr userDrawn="1"/>
          </p:nvCxnSpPr>
          <p:spPr>
            <a:xfrm>
              <a:off x="4007768" y="-598222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Gerade Verbindung 112"/>
            <p:cNvCxnSpPr/>
            <p:nvPr userDrawn="1"/>
          </p:nvCxnSpPr>
          <p:spPr>
            <a:xfrm>
              <a:off x="5987988" y="-835143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Gerade Verbindung 33"/>
            <p:cNvCxnSpPr/>
            <p:nvPr userDrawn="1"/>
          </p:nvCxnSpPr>
          <p:spPr>
            <a:xfrm rot="5400000" flipV="1">
              <a:off x="-204708" y="826746"/>
              <a:ext cx="0" cy="144000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Gerade Verbindung 34"/>
            <p:cNvCxnSpPr/>
            <p:nvPr userDrawn="1"/>
          </p:nvCxnSpPr>
          <p:spPr>
            <a:xfrm rot="5400000" flipV="1">
              <a:off x="-204708" y="6785999"/>
              <a:ext cx="0" cy="144000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35"/>
            <p:cNvCxnSpPr/>
            <p:nvPr userDrawn="1"/>
          </p:nvCxnSpPr>
          <p:spPr>
            <a:xfrm rot="10800000" flipV="1">
              <a:off x="11928473" y="-361302"/>
              <a:ext cx="0" cy="144000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38"/>
            <p:cNvCxnSpPr/>
            <p:nvPr userDrawn="1"/>
          </p:nvCxnSpPr>
          <p:spPr>
            <a:xfrm rot="10800000" flipV="1">
              <a:off x="0" y="-361302"/>
              <a:ext cx="0" cy="144000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51" name="Gerade Verbindung 37"/>
          <p:cNvCxnSpPr/>
          <p:nvPr userDrawn="1"/>
        </p:nvCxnSpPr>
        <p:spPr>
          <a:xfrm>
            <a:off x="11712624" y="6993412"/>
            <a:ext cx="0" cy="144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Textfeld 51"/>
          <p:cNvSpPr txBox="1"/>
          <p:nvPr userDrawn="1"/>
        </p:nvSpPr>
        <p:spPr>
          <a:xfrm>
            <a:off x="-1791723" y="799523"/>
            <a:ext cx="1514371" cy="184666"/>
          </a:xfrm>
          <a:prstGeom prst="rect">
            <a:avLst/>
          </a:prstGeom>
          <a:noFill/>
        </p:spPr>
        <p:txBody>
          <a:bodyPr wrap="none" lIns="72000" tIns="0" rIns="72000" bIns="0" rtlCol="0" anchor="ctr">
            <a:spAutoFit/>
          </a:bodyPr>
          <a:lstStyle/>
          <a:p>
            <a:pPr algn="r"/>
            <a:r>
              <a:rPr lang="de-DE" sz="1200" noProof="0" dirty="0">
                <a:solidFill>
                  <a:srgbClr val="FF0000"/>
                </a:solidFill>
                <a:latin typeface="Arial" panose="020B0604020202020204" pitchFamily="34" charset="0"/>
                <a:cs typeface="Arial"/>
                <a:sym typeface="Arial" panose="020B0604020202020204" pitchFamily="34" charset="0"/>
              </a:rPr>
              <a:t>Tabelle</a:t>
            </a:r>
            <a:r>
              <a:rPr lang="de-DE" sz="1200" baseline="0" noProof="0" dirty="0">
                <a:solidFill>
                  <a:srgbClr val="FF0000"/>
                </a:solidFill>
                <a:latin typeface="Arial" panose="020B0604020202020204" pitchFamily="34" charset="0"/>
                <a:cs typeface="Arial"/>
                <a:sym typeface="Arial" panose="020B0604020202020204" pitchFamily="34" charset="0"/>
              </a:rPr>
              <a:t> </a:t>
            </a:r>
            <a:r>
              <a:rPr lang="de-DE" sz="1200" noProof="0" dirty="0">
                <a:solidFill>
                  <a:srgbClr val="FF0000"/>
                </a:solidFill>
                <a:latin typeface="Arial" panose="020B0604020202020204" pitchFamily="34" charset="0"/>
                <a:cs typeface="Arial"/>
                <a:sym typeface="Arial" panose="020B0604020202020204" pitchFamily="34" charset="0"/>
              </a:rPr>
              <a:t>(Vollflächig)</a:t>
            </a:r>
          </a:p>
        </p:txBody>
      </p:sp>
    </p:spTree>
    <p:extLst>
      <p:ext uri="{BB962C8B-B14F-4D97-AF65-F5344CB8AC3E}">
        <p14:creationId xmlns:p14="http://schemas.microsoft.com/office/powerpoint/2010/main" val="33826926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92535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de-DE" sz="2800" b="0" i="0" baseline="0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" name="Rechteck 12"/>
          <p:cNvSpPr/>
          <p:nvPr userDrawn="1"/>
        </p:nvSpPr>
        <p:spPr>
          <a:xfrm>
            <a:off x="-794" y="0"/>
            <a:ext cx="12193588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cxnSp>
        <p:nvCxnSpPr>
          <p:cNvPr id="8" name="Gerade Verbindung 7"/>
          <p:cNvCxnSpPr/>
          <p:nvPr userDrawn="1"/>
        </p:nvCxnSpPr>
        <p:spPr>
          <a:xfrm>
            <a:off x="-1" y="900000"/>
            <a:ext cx="12204000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4"/>
          <p:cNvCxnSpPr/>
          <p:nvPr userDrawn="1"/>
        </p:nvCxnSpPr>
        <p:spPr>
          <a:xfrm>
            <a:off x="5988050" y="918000"/>
            <a:ext cx="0" cy="594000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34310600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_BIldplatzhal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 userDrawn="1"/>
        </p:nvSpPr>
        <p:spPr>
          <a:xfrm>
            <a:off x="-794" y="0"/>
            <a:ext cx="12193588" cy="89999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de-DE" sz="2800" b="0" i="0" baseline="0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" name="Rechteck 12"/>
          <p:cNvSpPr/>
          <p:nvPr userDrawn="1"/>
        </p:nvSpPr>
        <p:spPr>
          <a:xfrm>
            <a:off x="-794" y="0"/>
            <a:ext cx="5988844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cxnSp>
        <p:nvCxnSpPr>
          <p:cNvPr id="8" name="Gerade Verbindung 7"/>
          <p:cNvCxnSpPr/>
          <p:nvPr userDrawn="1"/>
        </p:nvCxnSpPr>
        <p:spPr>
          <a:xfrm>
            <a:off x="-1" y="900000"/>
            <a:ext cx="12204000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4"/>
          <p:cNvCxnSpPr/>
          <p:nvPr userDrawn="1"/>
        </p:nvCxnSpPr>
        <p:spPr>
          <a:xfrm>
            <a:off x="5988050" y="918000"/>
            <a:ext cx="0" cy="594000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02000117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Agenda_BIldplatzhalter_Fußze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 userDrawn="1"/>
        </p:nvSpPr>
        <p:spPr>
          <a:xfrm>
            <a:off x="-794" y="0"/>
            <a:ext cx="12193588" cy="89999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de-DE" sz="2800" b="0" i="0" baseline="0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" name="Rechteck 12"/>
          <p:cNvSpPr/>
          <p:nvPr userDrawn="1"/>
        </p:nvSpPr>
        <p:spPr>
          <a:xfrm>
            <a:off x="-794" y="0"/>
            <a:ext cx="5988844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cxnSp>
        <p:nvCxnSpPr>
          <p:cNvPr id="8" name="Gerade Verbindung 7"/>
          <p:cNvCxnSpPr/>
          <p:nvPr userDrawn="1"/>
        </p:nvCxnSpPr>
        <p:spPr>
          <a:xfrm>
            <a:off x="-1" y="900000"/>
            <a:ext cx="12204000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4"/>
          <p:cNvCxnSpPr/>
          <p:nvPr userDrawn="1"/>
        </p:nvCxnSpPr>
        <p:spPr>
          <a:xfrm>
            <a:off x="5988050" y="918000"/>
            <a:ext cx="0" cy="594000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10" name="Textfeld 9"/>
          <p:cNvSpPr txBox="1"/>
          <p:nvPr userDrawn="1"/>
        </p:nvSpPr>
        <p:spPr>
          <a:xfrm rot="16200000">
            <a:off x="8641648" y="3298823"/>
            <a:ext cx="6861175" cy="263527"/>
          </a:xfrm>
          <a:prstGeom prst="rect">
            <a:avLst/>
          </a:prstGeom>
          <a:solidFill>
            <a:schemeClr val="bg2"/>
          </a:solidFill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endParaRPr lang="de-DE" sz="800" kern="1200" spc="-30" baseline="0" dirty="0">
              <a:solidFill>
                <a:schemeClr val="accent5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/>
            </a:endParaRPr>
          </a:p>
        </p:txBody>
      </p:sp>
      <p:sp>
        <p:nvSpPr>
          <p:cNvPr id="11" name="Textfeld 10"/>
          <p:cNvSpPr txBox="1"/>
          <p:nvPr userDrawn="1"/>
        </p:nvSpPr>
        <p:spPr>
          <a:xfrm rot="16200000">
            <a:off x="11605877" y="322597"/>
            <a:ext cx="908719" cy="263527"/>
          </a:xfrm>
          <a:prstGeom prst="rect">
            <a:avLst/>
          </a:prstGeom>
          <a:noFill/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r>
              <a:rPr lang="de-DE" sz="800" kern="1200" spc="-3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© Rödl &amp; Partner </a:t>
            </a:r>
          </a:p>
        </p:txBody>
      </p:sp>
      <p:sp>
        <p:nvSpPr>
          <p:cNvPr id="16" name="Foliennummernplatzhalter 16"/>
          <p:cNvSpPr>
            <a:spLocks noGrp="1"/>
          </p:cNvSpPr>
          <p:nvPr>
            <p:ph type="sldNum" sz="quarter" idx="17"/>
          </p:nvPr>
        </p:nvSpPr>
        <p:spPr>
          <a:xfrm>
            <a:off x="11928648" y="6453187"/>
            <a:ext cx="263350" cy="404813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ctr"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4CFEB0D3-1EB3-4F08-8062-95FFB9749870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0034787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einstieg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/>
          <p:cNvSpPr/>
          <p:nvPr userDrawn="1"/>
        </p:nvSpPr>
        <p:spPr>
          <a:xfrm>
            <a:off x="-794" y="0"/>
            <a:ext cx="12193588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6"/>
          </p:nvPr>
        </p:nvSpPr>
        <p:spPr>
          <a:xfrm>
            <a:off x="4822022" y="-2841"/>
            <a:ext cx="7110000" cy="6859253"/>
          </a:xfrm>
          <a:solidFill>
            <a:schemeClr val="bg1"/>
          </a:solidFill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GB" dirty="0"/>
          </a:p>
        </p:txBody>
      </p:sp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337051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feld 7"/>
          <p:cNvSpPr txBox="1"/>
          <p:nvPr userDrawn="1"/>
        </p:nvSpPr>
        <p:spPr>
          <a:xfrm rot="16200000">
            <a:off x="8631237" y="3297236"/>
            <a:ext cx="6857999" cy="263527"/>
          </a:xfrm>
          <a:prstGeom prst="rect">
            <a:avLst/>
          </a:prstGeom>
          <a:solidFill>
            <a:schemeClr val="bg2"/>
          </a:solidFill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endParaRPr lang="de-DE" sz="800" kern="1200" spc="-30" baseline="0" dirty="0">
              <a:solidFill>
                <a:schemeClr val="accent5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Textfeld 8"/>
          <p:cNvSpPr txBox="1"/>
          <p:nvPr userDrawn="1"/>
        </p:nvSpPr>
        <p:spPr>
          <a:xfrm rot="16200000">
            <a:off x="11605877" y="322597"/>
            <a:ext cx="908719" cy="263527"/>
          </a:xfrm>
          <a:prstGeom prst="rect">
            <a:avLst/>
          </a:prstGeom>
          <a:noFill/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r>
              <a:rPr lang="de-DE" sz="800" kern="1200" spc="-3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© Rödl &amp; Partner </a:t>
            </a:r>
          </a:p>
        </p:txBody>
      </p:sp>
      <p:sp>
        <p:nvSpPr>
          <p:cNvPr id="16" name="object 6">
            <a:extLst>
              <a:ext uri="{FF2B5EF4-FFF2-40B4-BE49-F238E27FC236}">
                <a16:creationId xmlns:a16="http://schemas.microsoft.com/office/drawing/2014/main" id="{35B15152-362B-804E-8180-EB8D98DF2756}"/>
              </a:ext>
            </a:extLst>
          </p:cNvPr>
          <p:cNvSpPr/>
          <p:nvPr userDrawn="1"/>
        </p:nvSpPr>
        <p:spPr>
          <a:xfrm>
            <a:off x="4816097" y="-6350"/>
            <a:ext cx="45719" cy="6864350"/>
          </a:xfrm>
          <a:custGeom>
            <a:avLst/>
            <a:gdLst/>
            <a:ahLst/>
            <a:cxnLst/>
            <a:rect l="l" t="t" r="r" b="b"/>
            <a:pathLst>
              <a:path h="4698365">
                <a:moveTo>
                  <a:pt x="0" y="0"/>
                </a:moveTo>
                <a:lnTo>
                  <a:pt x="0" y="4697996"/>
                </a:lnTo>
              </a:path>
            </a:pathLst>
          </a:custGeom>
          <a:ln w="285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7" name="Foliennummernplatzhalter 16"/>
          <p:cNvSpPr>
            <a:spLocks noGrp="1"/>
          </p:cNvSpPr>
          <p:nvPr>
            <p:ph type="sldNum" sz="quarter" idx="17"/>
          </p:nvPr>
        </p:nvSpPr>
        <p:spPr>
          <a:xfrm>
            <a:off x="11928648" y="6453187"/>
            <a:ext cx="263350" cy="404813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ctr">
              <a:defRPr sz="11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4CFEB0D3-1EB3-4F08-8062-95FFB9749870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4" name="Textplatzhalter 15">
            <a:extLst>
              <a:ext uri="{FF2B5EF4-FFF2-40B4-BE49-F238E27FC236}">
                <a16:creationId xmlns:a16="http://schemas.microsoft.com/office/drawing/2014/main" id="{1A835BE2-55CD-2A46-97A5-3378A6C95F2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" y="244800"/>
            <a:ext cx="4799856" cy="641726"/>
          </a:xfrm>
          <a:solidFill>
            <a:schemeClr val="tx2"/>
          </a:solidFill>
          <a:effectLst>
            <a:outerShdw dist="27940" dir="5100000" algn="t" rotWithShape="0">
              <a:prstClr val="black"/>
            </a:outerShdw>
          </a:effectLst>
        </p:spPr>
        <p:txBody>
          <a:bodyPr wrap="square" lIns="262800" rIns="144000" bIns="208800">
            <a:sp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2800" cap="all" spc="-7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de-DE" dirty="0" err="1"/>
              <a:t>KApit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47235530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Kapiteleinstieg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/>
          <p:cNvSpPr/>
          <p:nvPr userDrawn="1"/>
        </p:nvSpPr>
        <p:spPr>
          <a:xfrm>
            <a:off x="-794" y="0"/>
            <a:ext cx="12193588" cy="89999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12" name="object 4">
            <a:extLst>
              <a:ext uri="{FF2B5EF4-FFF2-40B4-BE49-F238E27FC236}">
                <a16:creationId xmlns:a16="http://schemas.microsoft.com/office/drawing/2014/main" id="{880C4227-47B7-694C-8443-CF01E2AE097C}"/>
              </a:ext>
            </a:extLst>
          </p:cNvPr>
          <p:cNvSpPr/>
          <p:nvPr userDrawn="1"/>
        </p:nvSpPr>
        <p:spPr>
          <a:xfrm>
            <a:off x="2681" y="899998"/>
            <a:ext cx="12193200" cy="158460"/>
          </a:xfrm>
          <a:custGeom>
            <a:avLst/>
            <a:gdLst/>
            <a:ahLst/>
            <a:cxnLst/>
            <a:rect l="l" t="t" r="r" b="b"/>
            <a:pathLst>
              <a:path w="12192635">
                <a:moveTo>
                  <a:pt x="0" y="0"/>
                </a:moveTo>
                <a:lnTo>
                  <a:pt x="12192113" y="0"/>
                </a:lnTo>
              </a:path>
            </a:pathLst>
          </a:custGeom>
          <a:ln w="28575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feld 7"/>
          <p:cNvSpPr txBox="1"/>
          <p:nvPr userDrawn="1"/>
        </p:nvSpPr>
        <p:spPr>
          <a:xfrm rot="16200000">
            <a:off x="8626214" y="3302258"/>
            <a:ext cx="6868046" cy="263527"/>
          </a:xfrm>
          <a:prstGeom prst="rect">
            <a:avLst/>
          </a:prstGeom>
          <a:solidFill>
            <a:schemeClr val="bg2"/>
          </a:solidFill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endParaRPr lang="de-DE" sz="800" kern="1200" spc="-30" baseline="0" dirty="0">
              <a:solidFill>
                <a:schemeClr val="accent5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/>
            </a:endParaRPr>
          </a:p>
        </p:txBody>
      </p:sp>
      <p:sp>
        <p:nvSpPr>
          <p:cNvPr id="9" name="Textfeld 8"/>
          <p:cNvSpPr txBox="1"/>
          <p:nvPr userDrawn="1"/>
        </p:nvSpPr>
        <p:spPr>
          <a:xfrm rot="16200000">
            <a:off x="11605877" y="322597"/>
            <a:ext cx="908719" cy="263527"/>
          </a:xfrm>
          <a:prstGeom prst="rect">
            <a:avLst/>
          </a:prstGeom>
          <a:noFill/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r>
              <a:rPr lang="de-DE" sz="800" kern="1200" spc="-3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© Rödl &amp; Partner </a:t>
            </a:r>
          </a:p>
        </p:txBody>
      </p:sp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>
          <a:xfrm>
            <a:off x="263525" y="260648"/>
            <a:ext cx="11449049" cy="396000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 err="1"/>
              <a:t>kapitel</a:t>
            </a:r>
            <a:endParaRPr lang="en-GB" dirty="0"/>
          </a:p>
        </p:txBody>
      </p:sp>
      <p:sp>
        <p:nvSpPr>
          <p:cNvPr id="17" name="Foliennummernplatzhalter 16"/>
          <p:cNvSpPr>
            <a:spLocks noGrp="1"/>
          </p:cNvSpPr>
          <p:nvPr>
            <p:ph type="sldNum" sz="quarter" idx="10"/>
          </p:nvPr>
        </p:nvSpPr>
        <p:spPr>
          <a:xfrm>
            <a:off x="11928648" y="6453187"/>
            <a:ext cx="263350" cy="404813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lang="de-DE" sz="1100" smtClean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algn="ctr"/>
            <a:fld id="{4CFEB0D3-1EB3-4F08-8062-95FFB9749870}" type="slidenum">
              <a:rPr lang="de-DE" smtClean="0"/>
              <a:pPr algn="ctr"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80732161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Kapiteleinstieg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/>
          <p:cNvSpPr/>
          <p:nvPr userDrawn="1"/>
        </p:nvSpPr>
        <p:spPr>
          <a:xfrm>
            <a:off x="-794" y="0"/>
            <a:ext cx="12193588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6"/>
          </p:nvPr>
        </p:nvSpPr>
        <p:spPr>
          <a:xfrm>
            <a:off x="4822022" y="-2841"/>
            <a:ext cx="7110000" cy="6860841"/>
          </a:xfrm>
          <a:solidFill>
            <a:schemeClr val="bg1"/>
          </a:solidFill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en-GB" dirty="0"/>
          </a:p>
        </p:txBody>
      </p:sp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feld 7"/>
          <p:cNvSpPr txBox="1"/>
          <p:nvPr userDrawn="1"/>
        </p:nvSpPr>
        <p:spPr>
          <a:xfrm rot="16200000">
            <a:off x="8631447" y="3300223"/>
            <a:ext cx="6863975" cy="263527"/>
          </a:xfrm>
          <a:prstGeom prst="rect">
            <a:avLst/>
          </a:prstGeom>
          <a:solidFill>
            <a:schemeClr val="bg2"/>
          </a:solidFill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endParaRPr lang="de-DE" sz="800" kern="1200" spc="-30" baseline="0" dirty="0">
              <a:solidFill>
                <a:schemeClr val="accent5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/>
            </a:endParaRPr>
          </a:p>
        </p:txBody>
      </p:sp>
      <p:sp>
        <p:nvSpPr>
          <p:cNvPr id="9" name="Textfeld 8"/>
          <p:cNvSpPr txBox="1"/>
          <p:nvPr userDrawn="1"/>
        </p:nvSpPr>
        <p:spPr>
          <a:xfrm rot="16200000">
            <a:off x="11605877" y="322597"/>
            <a:ext cx="908719" cy="263527"/>
          </a:xfrm>
          <a:prstGeom prst="rect">
            <a:avLst/>
          </a:prstGeom>
          <a:noFill/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r>
              <a:rPr lang="de-DE" sz="800" kern="1200" spc="-3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© Rödl &amp; Partner </a:t>
            </a:r>
          </a:p>
        </p:txBody>
      </p:sp>
      <p:sp>
        <p:nvSpPr>
          <p:cNvPr id="16" name="object 6">
            <a:extLst>
              <a:ext uri="{FF2B5EF4-FFF2-40B4-BE49-F238E27FC236}">
                <a16:creationId xmlns:a16="http://schemas.microsoft.com/office/drawing/2014/main" id="{35B15152-362B-804E-8180-EB8D98DF2756}"/>
              </a:ext>
            </a:extLst>
          </p:cNvPr>
          <p:cNvSpPr/>
          <p:nvPr userDrawn="1"/>
        </p:nvSpPr>
        <p:spPr>
          <a:xfrm>
            <a:off x="4816097" y="-6350"/>
            <a:ext cx="45719" cy="6864350"/>
          </a:xfrm>
          <a:custGeom>
            <a:avLst/>
            <a:gdLst/>
            <a:ahLst/>
            <a:cxnLst/>
            <a:rect l="l" t="t" r="r" b="b"/>
            <a:pathLst>
              <a:path h="4698365">
                <a:moveTo>
                  <a:pt x="0" y="0"/>
                </a:moveTo>
                <a:lnTo>
                  <a:pt x="0" y="4697996"/>
                </a:lnTo>
              </a:path>
            </a:pathLst>
          </a:custGeom>
          <a:ln w="285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Foliennummernplatzhalter 16"/>
          <p:cNvSpPr>
            <a:spLocks noGrp="1"/>
          </p:cNvSpPr>
          <p:nvPr>
            <p:ph type="sldNum" sz="quarter" idx="17"/>
          </p:nvPr>
        </p:nvSpPr>
        <p:spPr>
          <a:xfrm>
            <a:off x="11928648" y="6453187"/>
            <a:ext cx="263350" cy="404813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ctr"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4CFEB0D3-1EB3-4F08-8062-95FFB9749870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Titel 5"/>
          <p:cNvSpPr>
            <a:spLocks noGrp="1"/>
          </p:cNvSpPr>
          <p:nvPr>
            <p:ph type="title" hasCustomPrompt="1"/>
          </p:nvPr>
        </p:nvSpPr>
        <p:spPr>
          <a:xfrm>
            <a:off x="263526" y="260648"/>
            <a:ext cx="4439104" cy="396000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 err="1"/>
              <a:t>kapitel</a:t>
            </a:r>
            <a:endParaRPr lang="en-GB" dirty="0"/>
          </a:p>
        </p:txBody>
      </p:sp>
      <p:sp>
        <p:nvSpPr>
          <p:cNvPr id="12" name="object 4">
            <a:extLst>
              <a:ext uri="{FF2B5EF4-FFF2-40B4-BE49-F238E27FC236}">
                <a16:creationId xmlns:a16="http://schemas.microsoft.com/office/drawing/2014/main" id="{880C4227-47B7-694C-8443-CF01E2AE097C}"/>
              </a:ext>
            </a:extLst>
          </p:cNvPr>
          <p:cNvSpPr/>
          <p:nvPr userDrawn="1"/>
        </p:nvSpPr>
        <p:spPr>
          <a:xfrm>
            <a:off x="2681" y="899998"/>
            <a:ext cx="4813416" cy="158460"/>
          </a:xfrm>
          <a:custGeom>
            <a:avLst/>
            <a:gdLst/>
            <a:ahLst/>
            <a:cxnLst/>
            <a:rect l="l" t="t" r="r" b="b"/>
            <a:pathLst>
              <a:path w="12192635">
                <a:moveTo>
                  <a:pt x="0" y="0"/>
                </a:moveTo>
                <a:lnTo>
                  <a:pt x="12192113" y="0"/>
                </a:lnTo>
              </a:path>
            </a:pathLst>
          </a:custGeom>
          <a:ln w="28575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26059756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instieg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224174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/>
          <p:cNvSpPr/>
          <p:nvPr userDrawn="1"/>
        </p:nvSpPr>
        <p:spPr>
          <a:xfrm>
            <a:off x="-794" y="0"/>
            <a:ext cx="12193588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cxnSp>
        <p:nvCxnSpPr>
          <p:cNvPr id="11" name="Gerade Verbindung 10"/>
          <p:cNvCxnSpPr/>
          <p:nvPr userDrawn="1"/>
        </p:nvCxnSpPr>
        <p:spPr>
          <a:xfrm>
            <a:off x="3971764" y="1664804"/>
            <a:ext cx="0" cy="5193196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platzhalter 20"/>
          <p:cNvSpPr>
            <a:spLocks noGrp="1"/>
          </p:cNvSpPr>
          <p:nvPr>
            <p:ph type="body" sz="quarter" idx="12" hasCustomPrompt="1"/>
          </p:nvPr>
        </p:nvSpPr>
        <p:spPr>
          <a:xfrm>
            <a:off x="4259263" y="5121202"/>
            <a:ext cx="7453312" cy="320088"/>
          </a:xfrm>
        </p:spPr>
        <p:txBody>
          <a:bodyPr wrap="square" anchor="b">
            <a:spAutoFit/>
          </a:bodyPr>
          <a:lstStyle>
            <a:lvl1pPr>
              <a:lnSpc>
                <a:spcPct val="130000"/>
              </a:lnSpc>
              <a:spcBef>
                <a:spcPts val="0"/>
              </a:spcBef>
              <a:defRPr sz="1600" cap="all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de-DE"/>
              <a:t>Untertitel durch Klicken bearbeiten</a:t>
            </a:r>
          </a:p>
        </p:txBody>
      </p:sp>
      <p:sp>
        <p:nvSpPr>
          <p:cNvPr id="25" name="Textplatzhalter 20"/>
          <p:cNvSpPr>
            <a:spLocks noGrp="1"/>
          </p:cNvSpPr>
          <p:nvPr>
            <p:ph type="body" sz="quarter" idx="13" hasCustomPrompt="1"/>
          </p:nvPr>
        </p:nvSpPr>
        <p:spPr>
          <a:xfrm>
            <a:off x="4259263" y="6207115"/>
            <a:ext cx="7453312" cy="246221"/>
          </a:xfrm>
        </p:spPr>
        <p:txBody>
          <a:bodyPr wrap="square" anchor="b">
            <a:spAutoFit/>
          </a:bodyPr>
          <a:lstStyle>
            <a:lvl1pPr>
              <a:spcBef>
                <a:spcPts val="0"/>
              </a:spcBef>
              <a:defRPr sz="1600" cap="none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de-DE"/>
              <a:t>Ort,</a:t>
            </a:r>
          </a:p>
        </p:txBody>
      </p:sp>
      <p:pic>
        <p:nvPicPr>
          <p:cNvPr id="17" name="Picture 10"/>
          <p:cNvPicPr>
            <a:picLocks noChangeAspect="1" noChangeArrowheads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63352" y="200024"/>
            <a:ext cx="4018011" cy="532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9" name="object 4">
            <a:extLst>
              <a:ext uri="{FF2B5EF4-FFF2-40B4-BE49-F238E27FC236}">
                <a16:creationId xmlns:a16="http://schemas.microsoft.com/office/drawing/2014/main" id="{F1407FCD-A98D-8D4C-BAEA-A83B72042659}"/>
              </a:ext>
            </a:extLst>
          </p:cNvPr>
          <p:cNvSpPr/>
          <p:nvPr userDrawn="1"/>
        </p:nvSpPr>
        <p:spPr>
          <a:xfrm>
            <a:off x="0" y="899999"/>
            <a:ext cx="12192635" cy="0"/>
          </a:xfrm>
          <a:custGeom>
            <a:avLst/>
            <a:gdLst/>
            <a:ahLst/>
            <a:cxnLst/>
            <a:rect l="l" t="t" r="r" b="b"/>
            <a:pathLst>
              <a:path w="12192635">
                <a:moveTo>
                  <a:pt x="0" y="0"/>
                </a:moveTo>
                <a:lnTo>
                  <a:pt x="12192113" y="0"/>
                </a:lnTo>
              </a:path>
            </a:pathLst>
          </a:custGeom>
          <a:ln w="28575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" name="Textplatzhalter 15"/>
          <p:cNvSpPr>
            <a:spLocks noGrp="1"/>
          </p:cNvSpPr>
          <p:nvPr>
            <p:ph type="body" sz="quarter" idx="14" hasCustomPrompt="1"/>
          </p:nvPr>
        </p:nvSpPr>
        <p:spPr>
          <a:xfrm>
            <a:off x="0" y="908720"/>
            <a:ext cx="12192794" cy="769441"/>
          </a:xfrm>
          <a:solidFill>
            <a:schemeClr val="tx2"/>
          </a:solidFill>
          <a:effectLst>
            <a:outerShdw dist="27940" dir="5400000" algn="t" rotWithShape="0">
              <a:prstClr val="black"/>
            </a:outerShdw>
          </a:effectLst>
        </p:spPr>
        <p:txBody>
          <a:bodyPr wrap="square" lIns="234000" bIns="0">
            <a:sp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5000" cap="all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de-DE"/>
              <a:t>Titel durch klicken hinzufügen</a:t>
            </a:r>
          </a:p>
        </p:txBody>
      </p:sp>
      <p:sp>
        <p:nvSpPr>
          <p:cNvPr id="14" name="Textplatzhalter 20">
            <a:extLst>
              <a:ext uri="{FF2B5EF4-FFF2-40B4-BE49-F238E27FC236}">
                <a16:creationId xmlns:a16="http://schemas.microsoft.com/office/drawing/2014/main" id="{B844ACB7-98F5-7044-A959-474A15FAEE0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259263" y="5877272"/>
            <a:ext cx="7453312" cy="246221"/>
          </a:xfrm>
        </p:spPr>
        <p:txBody>
          <a:bodyPr wrap="square" anchor="b">
            <a:spAutoFit/>
          </a:bodyPr>
          <a:lstStyle>
            <a:lvl1pPr>
              <a:spcBef>
                <a:spcPts val="0"/>
              </a:spcBef>
              <a:defRPr sz="1600" cap="none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de-DE"/>
              <a:t>Name</a:t>
            </a:r>
          </a:p>
        </p:txBody>
      </p:sp>
      <p:sp>
        <p:nvSpPr>
          <p:cNvPr id="16" name="Datumsplatzhalter 4"/>
          <p:cNvSpPr>
            <a:spLocks noGrp="1"/>
          </p:cNvSpPr>
          <p:nvPr>
            <p:ph type="dt" sz="half" idx="2"/>
          </p:nvPr>
        </p:nvSpPr>
        <p:spPr>
          <a:xfrm>
            <a:off x="5302872" y="6207115"/>
            <a:ext cx="6410325" cy="246221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37531228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oll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010702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Bildplatzhalter 5"/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6858000"/>
          </a:xfrm>
          <a:solidFill>
            <a:schemeClr val="bg2"/>
          </a:solidFill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4" name="Textfeld 3"/>
          <p:cNvSpPr txBox="1"/>
          <p:nvPr userDrawn="1"/>
        </p:nvSpPr>
        <p:spPr>
          <a:xfrm>
            <a:off x="-974191" y="960180"/>
            <a:ext cx="696839" cy="184666"/>
          </a:xfrm>
          <a:prstGeom prst="rect">
            <a:avLst/>
          </a:prstGeom>
          <a:noFill/>
        </p:spPr>
        <p:txBody>
          <a:bodyPr wrap="none" lIns="72000" tIns="0" rIns="72000" bIns="0" rtlCol="0" anchor="ctr">
            <a:spAutoFit/>
          </a:bodyPr>
          <a:lstStyle/>
          <a:p>
            <a:pPr algn="r"/>
            <a:r>
              <a:rPr lang="de-DE" sz="1200" noProof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extbox</a:t>
            </a:r>
          </a:p>
        </p:txBody>
      </p:sp>
      <p:sp>
        <p:nvSpPr>
          <p:cNvPr id="5" name="Textfeld 4"/>
          <p:cNvSpPr txBox="1"/>
          <p:nvPr userDrawn="1"/>
        </p:nvSpPr>
        <p:spPr>
          <a:xfrm>
            <a:off x="-1014869" y="-381635"/>
            <a:ext cx="990189" cy="184666"/>
          </a:xfrm>
          <a:prstGeom prst="rect">
            <a:avLst/>
          </a:prstGeom>
          <a:noFill/>
        </p:spPr>
        <p:txBody>
          <a:bodyPr wrap="none" lIns="72000" tIns="0" rIns="72000" bIns="0" rtlCol="0" anchor="ctr">
            <a:spAutoFit/>
          </a:bodyPr>
          <a:lstStyle/>
          <a:p>
            <a:pPr algn="r"/>
            <a:r>
              <a:rPr lang="de-DE" sz="1200" noProof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Vier</a:t>
            </a:r>
            <a:r>
              <a:rPr lang="de-DE" sz="1200" baseline="0" noProof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  <a:r>
              <a:rPr lang="de-DE" sz="1200" noProof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Spalten</a:t>
            </a:r>
          </a:p>
        </p:txBody>
      </p:sp>
      <p:sp>
        <p:nvSpPr>
          <p:cNvPr id="7" name="Textfeld 6"/>
          <p:cNvSpPr txBox="1"/>
          <p:nvPr userDrawn="1"/>
        </p:nvSpPr>
        <p:spPr>
          <a:xfrm>
            <a:off x="-1032502" y="-618555"/>
            <a:ext cx="1007822" cy="184666"/>
          </a:xfrm>
          <a:prstGeom prst="rect">
            <a:avLst/>
          </a:prstGeom>
          <a:noFill/>
        </p:spPr>
        <p:txBody>
          <a:bodyPr wrap="none" lIns="72000" tIns="0" rIns="72000" bIns="0" rtlCol="0" anchor="ctr">
            <a:spAutoFit/>
          </a:bodyPr>
          <a:lstStyle/>
          <a:p>
            <a:pPr algn="r"/>
            <a:r>
              <a:rPr lang="de-DE" sz="1200" noProof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Drei</a:t>
            </a:r>
            <a:r>
              <a:rPr lang="de-DE" sz="1200" baseline="0" noProof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  <a:r>
              <a:rPr lang="de-DE" sz="1200" noProof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Spalten</a:t>
            </a:r>
          </a:p>
        </p:txBody>
      </p:sp>
      <p:sp>
        <p:nvSpPr>
          <p:cNvPr id="8" name="Textfeld 7"/>
          <p:cNvSpPr txBox="1"/>
          <p:nvPr userDrawn="1"/>
        </p:nvSpPr>
        <p:spPr>
          <a:xfrm>
            <a:off x="-1067768" y="-855476"/>
            <a:ext cx="1043088" cy="184666"/>
          </a:xfrm>
          <a:prstGeom prst="rect">
            <a:avLst/>
          </a:prstGeom>
          <a:noFill/>
        </p:spPr>
        <p:txBody>
          <a:bodyPr wrap="none" lIns="72000" tIns="0" rIns="72000" bIns="0" rtlCol="0" anchor="ctr">
            <a:spAutoFit/>
          </a:bodyPr>
          <a:lstStyle/>
          <a:p>
            <a:pPr algn="r"/>
            <a:r>
              <a:rPr lang="de-DE" sz="1200" noProof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Zwei Spalten</a:t>
            </a:r>
          </a:p>
        </p:txBody>
      </p:sp>
      <p:grpSp>
        <p:nvGrpSpPr>
          <p:cNvPr id="9" name="Gruppieren 8"/>
          <p:cNvGrpSpPr/>
          <p:nvPr userDrawn="1"/>
        </p:nvGrpSpPr>
        <p:grpSpPr>
          <a:xfrm>
            <a:off x="-276708" y="-835143"/>
            <a:ext cx="12205181" cy="7972555"/>
            <a:chOff x="-276708" y="-835143"/>
            <a:chExt cx="12205181" cy="7972555"/>
          </a:xfrm>
        </p:grpSpPr>
        <p:cxnSp>
          <p:nvCxnSpPr>
            <p:cNvPr id="10" name="Gerade Verbindung 23"/>
            <p:cNvCxnSpPr/>
            <p:nvPr userDrawn="1"/>
          </p:nvCxnSpPr>
          <p:spPr>
            <a:xfrm rot="5400000" flipV="1">
              <a:off x="-204708" y="980735"/>
              <a:ext cx="0" cy="1440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 Verbindung 24"/>
            <p:cNvCxnSpPr/>
            <p:nvPr userDrawn="1"/>
          </p:nvCxnSpPr>
          <p:spPr>
            <a:xfrm rot="5400000" flipV="1">
              <a:off x="-204708" y="6381336"/>
              <a:ext cx="0" cy="1440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 Verbindung 78"/>
            <p:cNvCxnSpPr/>
            <p:nvPr userDrawn="1"/>
          </p:nvCxnSpPr>
          <p:spPr>
            <a:xfrm>
              <a:off x="259147" y="6993412"/>
              <a:ext cx="0" cy="1440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Gerade Verbindung mit Pfeil 12"/>
            <p:cNvCxnSpPr/>
            <p:nvPr userDrawn="1"/>
          </p:nvCxnSpPr>
          <p:spPr>
            <a:xfrm>
              <a:off x="263525" y="-526222"/>
              <a:ext cx="3492500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 Verbindung mit Pfeil 13"/>
            <p:cNvCxnSpPr/>
            <p:nvPr userDrawn="1"/>
          </p:nvCxnSpPr>
          <p:spPr>
            <a:xfrm>
              <a:off x="4259684" y="-526222"/>
              <a:ext cx="3457154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 Verbindung mit Pfeil 14"/>
            <p:cNvCxnSpPr/>
            <p:nvPr userDrawn="1"/>
          </p:nvCxnSpPr>
          <p:spPr>
            <a:xfrm>
              <a:off x="8220124" y="-526222"/>
              <a:ext cx="3492500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Gerade Verbindung mit Pfeil 15"/>
            <p:cNvCxnSpPr/>
            <p:nvPr userDrawn="1"/>
          </p:nvCxnSpPr>
          <p:spPr>
            <a:xfrm>
              <a:off x="263525" y="-289302"/>
              <a:ext cx="2484438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mit Pfeil 16"/>
            <p:cNvCxnSpPr/>
            <p:nvPr userDrawn="1"/>
          </p:nvCxnSpPr>
          <p:spPr>
            <a:xfrm>
              <a:off x="3251200" y="-289302"/>
              <a:ext cx="2484438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mit Pfeil 17"/>
            <p:cNvCxnSpPr/>
            <p:nvPr userDrawn="1"/>
          </p:nvCxnSpPr>
          <p:spPr>
            <a:xfrm>
              <a:off x="6240462" y="-289302"/>
              <a:ext cx="2484438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mit Pfeil 18"/>
            <p:cNvCxnSpPr/>
            <p:nvPr userDrawn="1"/>
          </p:nvCxnSpPr>
          <p:spPr>
            <a:xfrm>
              <a:off x="9228186" y="-289302"/>
              <a:ext cx="2484438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mit Pfeil 19"/>
            <p:cNvCxnSpPr/>
            <p:nvPr userDrawn="1"/>
          </p:nvCxnSpPr>
          <p:spPr>
            <a:xfrm>
              <a:off x="263525" y="-763143"/>
              <a:ext cx="5472113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mit Pfeil 20"/>
            <p:cNvCxnSpPr/>
            <p:nvPr userDrawn="1"/>
          </p:nvCxnSpPr>
          <p:spPr>
            <a:xfrm>
              <a:off x="6240463" y="-763143"/>
              <a:ext cx="5472161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 Verbindung 107"/>
            <p:cNvCxnSpPr/>
            <p:nvPr userDrawn="1"/>
          </p:nvCxnSpPr>
          <p:spPr>
            <a:xfrm>
              <a:off x="2999272" y="-361302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 Verbindung 108"/>
            <p:cNvCxnSpPr/>
            <p:nvPr userDrawn="1"/>
          </p:nvCxnSpPr>
          <p:spPr>
            <a:xfrm>
              <a:off x="5987988" y="-361302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109"/>
            <p:cNvCxnSpPr/>
            <p:nvPr userDrawn="1"/>
          </p:nvCxnSpPr>
          <p:spPr>
            <a:xfrm>
              <a:off x="8976320" y="-361302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110"/>
            <p:cNvCxnSpPr/>
            <p:nvPr userDrawn="1"/>
          </p:nvCxnSpPr>
          <p:spPr>
            <a:xfrm>
              <a:off x="7968208" y="-598222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 Verbindung 111"/>
            <p:cNvCxnSpPr/>
            <p:nvPr userDrawn="1"/>
          </p:nvCxnSpPr>
          <p:spPr>
            <a:xfrm>
              <a:off x="4007768" y="-598222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112"/>
            <p:cNvCxnSpPr/>
            <p:nvPr userDrawn="1"/>
          </p:nvCxnSpPr>
          <p:spPr>
            <a:xfrm>
              <a:off x="5987988" y="-835143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 Verbindung 33"/>
            <p:cNvCxnSpPr/>
            <p:nvPr userDrawn="1"/>
          </p:nvCxnSpPr>
          <p:spPr>
            <a:xfrm rot="5400000" flipV="1">
              <a:off x="-204708" y="826746"/>
              <a:ext cx="0" cy="144000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 Verbindung 34"/>
            <p:cNvCxnSpPr/>
            <p:nvPr userDrawn="1"/>
          </p:nvCxnSpPr>
          <p:spPr>
            <a:xfrm rot="5400000" flipV="1">
              <a:off x="-204708" y="6785999"/>
              <a:ext cx="0" cy="144000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 Verbindung 35"/>
            <p:cNvCxnSpPr/>
            <p:nvPr userDrawn="1"/>
          </p:nvCxnSpPr>
          <p:spPr>
            <a:xfrm rot="10800000" flipV="1">
              <a:off x="11928473" y="-361302"/>
              <a:ext cx="0" cy="144000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 Verbindung 38"/>
            <p:cNvCxnSpPr/>
            <p:nvPr userDrawn="1"/>
          </p:nvCxnSpPr>
          <p:spPr>
            <a:xfrm rot="10800000" flipV="1">
              <a:off x="0" y="-361302"/>
              <a:ext cx="0" cy="144000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32" name="Gerade Verbindung 37"/>
          <p:cNvCxnSpPr/>
          <p:nvPr userDrawn="1"/>
        </p:nvCxnSpPr>
        <p:spPr>
          <a:xfrm>
            <a:off x="11712624" y="6993412"/>
            <a:ext cx="0" cy="144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feld 32"/>
          <p:cNvSpPr txBox="1"/>
          <p:nvPr userDrawn="1"/>
        </p:nvSpPr>
        <p:spPr>
          <a:xfrm>
            <a:off x="-1791723" y="799523"/>
            <a:ext cx="1514371" cy="184666"/>
          </a:xfrm>
          <a:prstGeom prst="rect">
            <a:avLst/>
          </a:prstGeom>
          <a:noFill/>
        </p:spPr>
        <p:txBody>
          <a:bodyPr wrap="none" lIns="72000" tIns="0" rIns="72000" bIns="0" rtlCol="0" anchor="ctr">
            <a:spAutoFit/>
          </a:bodyPr>
          <a:lstStyle/>
          <a:p>
            <a:pPr algn="r"/>
            <a:r>
              <a:rPr lang="de-DE" sz="1200" noProof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abelle</a:t>
            </a:r>
            <a:r>
              <a:rPr lang="de-DE" sz="1200" baseline="0" noProof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  <a:r>
              <a:rPr lang="de-DE" sz="1200" noProof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(Vollflächig)</a:t>
            </a:r>
          </a:p>
        </p:txBody>
      </p:sp>
    </p:spTree>
    <p:extLst>
      <p:ext uri="{BB962C8B-B14F-4D97-AF65-F5344CB8AC3E}">
        <p14:creationId xmlns:p14="http://schemas.microsoft.com/office/powerpoint/2010/main" val="4166480975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instiegsfolie_Bild hoch 50%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 userDrawn="1"/>
        </p:nvSpPr>
        <p:spPr>
          <a:xfrm>
            <a:off x="-794" y="0"/>
            <a:ext cx="12193588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9" name="object 4">
            <a:extLst>
              <a:ext uri="{FF2B5EF4-FFF2-40B4-BE49-F238E27FC236}">
                <a16:creationId xmlns:a16="http://schemas.microsoft.com/office/drawing/2014/main" id="{F1407FCD-A98D-8D4C-BAEA-A83B72042659}"/>
              </a:ext>
            </a:extLst>
          </p:cNvPr>
          <p:cNvSpPr/>
          <p:nvPr userDrawn="1"/>
        </p:nvSpPr>
        <p:spPr>
          <a:xfrm>
            <a:off x="0" y="899999"/>
            <a:ext cx="12192635" cy="0"/>
          </a:xfrm>
          <a:custGeom>
            <a:avLst/>
            <a:gdLst/>
            <a:ahLst/>
            <a:cxnLst/>
            <a:rect l="l" t="t" r="r" b="b"/>
            <a:pathLst>
              <a:path w="12192635">
                <a:moveTo>
                  <a:pt x="0" y="0"/>
                </a:moveTo>
                <a:lnTo>
                  <a:pt x="12192113" y="0"/>
                </a:lnTo>
              </a:path>
            </a:pathLst>
          </a:custGeom>
          <a:ln w="28575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4" name="Bildplatzhalter 13"/>
          <p:cNvSpPr>
            <a:spLocks noGrp="1"/>
          </p:cNvSpPr>
          <p:nvPr>
            <p:ph type="pic" sz="quarter" idx="17"/>
          </p:nvPr>
        </p:nvSpPr>
        <p:spPr>
          <a:xfrm>
            <a:off x="6043200" y="0"/>
            <a:ext cx="6148800" cy="6858000"/>
          </a:xfrm>
          <a:solidFill>
            <a:schemeClr val="bg2"/>
          </a:solidFill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989497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154" name="Picture 10"/>
          <p:cNvPicPr>
            <a:picLocks noChangeAspect="1" noChangeArrowheads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63352" y="200024"/>
            <a:ext cx="4018011" cy="532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6" name="Textplatzhalter 20"/>
          <p:cNvSpPr>
            <a:spLocks noGrp="1"/>
          </p:cNvSpPr>
          <p:nvPr>
            <p:ph type="body" sz="quarter" idx="12" hasCustomPrompt="1"/>
          </p:nvPr>
        </p:nvSpPr>
        <p:spPr>
          <a:xfrm>
            <a:off x="1966051" y="4728545"/>
            <a:ext cx="3744000" cy="640175"/>
          </a:xfrm>
        </p:spPr>
        <p:txBody>
          <a:bodyPr wrap="square" anchor="b">
            <a:spAutoFit/>
          </a:bodyPr>
          <a:lstStyle>
            <a:lvl1pPr>
              <a:lnSpc>
                <a:spcPct val="130000"/>
              </a:lnSpc>
              <a:spcBef>
                <a:spcPts val="0"/>
              </a:spcBef>
              <a:defRPr sz="1600" cap="all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de-DE"/>
              <a:t>Untertitel durch Klicken bearbeiten</a:t>
            </a:r>
          </a:p>
        </p:txBody>
      </p:sp>
      <p:sp>
        <p:nvSpPr>
          <p:cNvPr id="28" name="Textplatzhalter 20"/>
          <p:cNvSpPr>
            <a:spLocks noGrp="1"/>
          </p:cNvSpPr>
          <p:nvPr>
            <p:ph type="body" sz="quarter" idx="13" hasCustomPrompt="1"/>
          </p:nvPr>
        </p:nvSpPr>
        <p:spPr>
          <a:xfrm>
            <a:off x="1966051" y="6207115"/>
            <a:ext cx="3949929" cy="246221"/>
          </a:xfrm>
        </p:spPr>
        <p:txBody>
          <a:bodyPr wrap="square" anchor="b">
            <a:spAutoFit/>
          </a:bodyPr>
          <a:lstStyle>
            <a:lvl1pPr>
              <a:spcBef>
                <a:spcPts val="0"/>
              </a:spcBef>
              <a:defRPr sz="1600" cap="none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de-DE"/>
              <a:t>Ort,</a:t>
            </a:r>
          </a:p>
        </p:txBody>
      </p:sp>
      <p:sp>
        <p:nvSpPr>
          <p:cNvPr id="21" name="object 6">
            <a:extLst>
              <a:ext uri="{FF2B5EF4-FFF2-40B4-BE49-F238E27FC236}">
                <a16:creationId xmlns:a16="http://schemas.microsoft.com/office/drawing/2014/main" id="{7A6E9864-542A-6F4C-965E-7D2AEBA2E01D}"/>
              </a:ext>
            </a:extLst>
          </p:cNvPr>
          <p:cNvSpPr/>
          <p:nvPr userDrawn="1"/>
        </p:nvSpPr>
        <p:spPr>
          <a:xfrm>
            <a:off x="1710074" y="1710000"/>
            <a:ext cx="45719" cy="5148000"/>
          </a:xfrm>
          <a:custGeom>
            <a:avLst/>
            <a:gdLst/>
            <a:ahLst/>
            <a:cxnLst/>
            <a:rect l="l" t="t" r="r" b="b"/>
            <a:pathLst>
              <a:path h="4698365">
                <a:moveTo>
                  <a:pt x="0" y="0"/>
                </a:moveTo>
                <a:lnTo>
                  <a:pt x="0" y="4697996"/>
                </a:lnTo>
              </a:path>
            </a:pathLst>
          </a:custGeom>
          <a:ln w="285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5" name="Textplatzhalter 15"/>
          <p:cNvSpPr>
            <a:spLocks noGrp="1"/>
          </p:cNvSpPr>
          <p:nvPr>
            <p:ph type="body" sz="quarter" idx="14" hasCustomPrompt="1"/>
          </p:nvPr>
        </p:nvSpPr>
        <p:spPr>
          <a:xfrm>
            <a:off x="-16405" y="944724"/>
            <a:ext cx="6037200" cy="2308324"/>
          </a:xfrm>
          <a:solidFill>
            <a:schemeClr val="tx2"/>
          </a:solidFill>
          <a:effectLst>
            <a:outerShdw dist="27940" dir="5400000" algn="t" rotWithShape="0">
              <a:prstClr val="black"/>
            </a:outerShdw>
          </a:effectLst>
        </p:spPr>
        <p:txBody>
          <a:bodyPr wrap="square" lIns="234000" rIns="144000" bIns="0">
            <a:sp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5000" cap="all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de-DE"/>
              <a:t>Titel durch klicken hinzufügen</a:t>
            </a:r>
          </a:p>
        </p:txBody>
      </p:sp>
      <p:sp>
        <p:nvSpPr>
          <p:cNvPr id="23" name="object 6">
            <a:extLst>
              <a:ext uri="{FF2B5EF4-FFF2-40B4-BE49-F238E27FC236}">
                <a16:creationId xmlns:a16="http://schemas.microsoft.com/office/drawing/2014/main" id="{35B15152-362B-804E-8180-EB8D98DF2756}"/>
              </a:ext>
            </a:extLst>
          </p:cNvPr>
          <p:cNvSpPr/>
          <p:nvPr userDrawn="1"/>
        </p:nvSpPr>
        <p:spPr>
          <a:xfrm>
            <a:off x="6032536" y="-6350"/>
            <a:ext cx="45719" cy="6864350"/>
          </a:xfrm>
          <a:custGeom>
            <a:avLst/>
            <a:gdLst/>
            <a:ahLst/>
            <a:cxnLst/>
            <a:rect l="l" t="t" r="r" b="b"/>
            <a:pathLst>
              <a:path h="4698365">
                <a:moveTo>
                  <a:pt x="0" y="0"/>
                </a:moveTo>
                <a:lnTo>
                  <a:pt x="0" y="4697996"/>
                </a:lnTo>
              </a:path>
            </a:pathLst>
          </a:custGeom>
          <a:ln w="2540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6" name="Textplatzhalter 20">
            <a:extLst>
              <a:ext uri="{FF2B5EF4-FFF2-40B4-BE49-F238E27FC236}">
                <a16:creationId xmlns:a16="http://schemas.microsoft.com/office/drawing/2014/main" id="{154663BA-8C19-9E4F-A02C-E19A516A7A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966051" y="5877272"/>
            <a:ext cx="3950723" cy="246221"/>
          </a:xfrm>
        </p:spPr>
        <p:txBody>
          <a:bodyPr wrap="square" anchor="b">
            <a:spAutoFit/>
          </a:bodyPr>
          <a:lstStyle>
            <a:lvl1pPr>
              <a:spcBef>
                <a:spcPts val="0"/>
              </a:spcBef>
              <a:defRPr sz="1600" cap="none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de-DE"/>
              <a:t>Name</a:t>
            </a:r>
          </a:p>
        </p:txBody>
      </p:sp>
      <p:sp>
        <p:nvSpPr>
          <p:cNvPr id="18" name="Datumsplatzhalter 4"/>
          <p:cNvSpPr>
            <a:spLocks noGrp="1"/>
          </p:cNvSpPr>
          <p:nvPr>
            <p:ph type="dt" sz="half" idx="2"/>
          </p:nvPr>
        </p:nvSpPr>
        <p:spPr>
          <a:xfrm>
            <a:off x="2891149" y="6207115"/>
            <a:ext cx="3024831" cy="246221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de-DE"/>
          </a:p>
        </p:txBody>
      </p:sp>
      <p:sp>
        <p:nvSpPr>
          <p:cNvPr id="17" name="Textfeld 16"/>
          <p:cNvSpPr txBox="1"/>
          <p:nvPr userDrawn="1"/>
        </p:nvSpPr>
        <p:spPr>
          <a:xfrm>
            <a:off x="-974191" y="960180"/>
            <a:ext cx="696839" cy="184666"/>
          </a:xfrm>
          <a:prstGeom prst="rect">
            <a:avLst/>
          </a:prstGeom>
          <a:noFill/>
        </p:spPr>
        <p:txBody>
          <a:bodyPr wrap="none" lIns="72000" tIns="0" rIns="72000" bIns="0" rtlCol="0" anchor="ctr">
            <a:spAutoFit/>
          </a:bodyPr>
          <a:lstStyle/>
          <a:p>
            <a:pPr algn="r"/>
            <a:r>
              <a:rPr lang="de-DE" sz="1200" noProof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extbox</a:t>
            </a:r>
          </a:p>
        </p:txBody>
      </p:sp>
      <p:sp>
        <p:nvSpPr>
          <p:cNvPr id="20" name="Textfeld 19"/>
          <p:cNvSpPr txBox="1"/>
          <p:nvPr userDrawn="1"/>
        </p:nvSpPr>
        <p:spPr>
          <a:xfrm>
            <a:off x="-1014869" y="-381635"/>
            <a:ext cx="990189" cy="184666"/>
          </a:xfrm>
          <a:prstGeom prst="rect">
            <a:avLst/>
          </a:prstGeom>
          <a:noFill/>
        </p:spPr>
        <p:txBody>
          <a:bodyPr wrap="none" lIns="72000" tIns="0" rIns="72000" bIns="0" rtlCol="0" anchor="ctr">
            <a:spAutoFit/>
          </a:bodyPr>
          <a:lstStyle/>
          <a:p>
            <a:pPr algn="r"/>
            <a:r>
              <a:rPr lang="de-DE" sz="1200" noProof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Vier</a:t>
            </a:r>
            <a:r>
              <a:rPr lang="de-DE" sz="1200" baseline="0" noProof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  <a:r>
              <a:rPr lang="de-DE" sz="1200" noProof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Spalten</a:t>
            </a:r>
          </a:p>
        </p:txBody>
      </p:sp>
      <p:sp>
        <p:nvSpPr>
          <p:cNvPr id="22" name="Textfeld 21"/>
          <p:cNvSpPr txBox="1"/>
          <p:nvPr userDrawn="1"/>
        </p:nvSpPr>
        <p:spPr>
          <a:xfrm>
            <a:off x="-1032502" y="-618555"/>
            <a:ext cx="1007822" cy="184666"/>
          </a:xfrm>
          <a:prstGeom prst="rect">
            <a:avLst/>
          </a:prstGeom>
          <a:noFill/>
        </p:spPr>
        <p:txBody>
          <a:bodyPr wrap="none" lIns="72000" tIns="0" rIns="72000" bIns="0" rtlCol="0" anchor="ctr">
            <a:spAutoFit/>
          </a:bodyPr>
          <a:lstStyle/>
          <a:p>
            <a:pPr algn="r"/>
            <a:r>
              <a:rPr lang="de-DE" sz="1200" noProof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Drei</a:t>
            </a:r>
            <a:r>
              <a:rPr lang="de-DE" sz="1200" baseline="0" noProof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  <a:r>
              <a:rPr lang="de-DE" sz="1200" noProof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Spalten</a:t>
            </a:r>
          </a:p>
        </p:txBody>
      </p:sp>
      <p:sp>
        <p:nvSpPr>
          <p:cNvPr id="24" name="Textfeld 23"/>
          <p:cNvSpPr txBox="1"/>
          <p:nvPr userDrawn="1"/>
        </p:nvSpPr>
        <p:spPr>
          <a:xfrm>
            <a:off x="-1067768" y="-855476"/>
            <a:ext cx="1043088" cy="184666"/>
          </a:xfrm>
          <a:prstGeom prst="rect">
            <a:avLst/>
          </a:prstGeom>
          <a:noFill/>
        </p:spPr>
        <p:txBody>
          <a:bodyPr wrap="none" lIns="72000" tIns="0" rIns="72000" bIns="0" rtlCol="0" anchor="ctr">
            <a:spAutoFit/>
          </a:bodyPr>
          <a:lstStyle/>
          <a:p>
            <a:pPr algn="r"/>
            <a:r>
              <a:rPr lang="de-DE" sz="1200" noProof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Zwei Spalten</a:t>
            </a:r>
          </a:p>
        </p:txBody>
      </p:sp>
      <p:grpSp>
        <p:nvGrpSpPr>
          <p:cNvPr id="25" name="Gruppieren 24"/>
          <p:cNvGrpSpPr/>
          <p:nvPr userDrawn="1"/>
        </p:nvGrpSpPr>
        <p:grpSpPr>
          <a:xfrm>
            <a:off x="-276708" y="-835143"/>
            <a:ext cx="12205181" cy="7972555"/>
            <a:chOff x="-276708" y="-835143"/>
            <a:chExt cx="12205181" cy="7972555"/>
          </a:xfrm>
        </p:grpSpPr>
        <p:cxnSp>
          <p:nvCxnSpPr>
            <p:cNvPr id="27" name="Gerade Verbindung 23"/>
            <p:cNvCxnSpPr/>
            <p:nvPr userDrawn="1"/>
          </p:nvCxnSpPr>
          <p:spPr>
            <a:xfrm rot="5400000" flipV="1">
              <a:off x="-204708" y="980735"/>
              <a:ext cx="0" cy="1440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 Verbindung 24"/>
            <p:cNvCxnSpPr/>
            <p:nvPr userDrawn="1"/>
          </p:nvCxnSpPr>
          <p:spPr>
            <a:xfrm rot="5400000" flipV="1">
              <a:off x="-204708" y="6381336"/>
              <a:ext cx="0" cy="1440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 Verbindung 78"/>
            <p:cNvCxnSpPr/>
            <p:nvPr userDrawn="1"/>
          </p:nvCxnSpPr>
          <p:spPr>
            <a:xfrm>
              <a:off x="259147" y="6993412"/>
              <a:ext cx="0" cy="1440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 Verbindung mit Pfeil 30"/>
            <p:cNvCxnSpPr/>
            <p:nvPr userDrawn="1"/>
          </p:nvCxnSpPr>
          <p:spPr>
            <a:xfrm>
              <a:off x="263525" y="-526222"/>
              <a:ext cx="3492500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 Verbindung mit Pfeil 31"/>
            <p:cNvCxnSpPr/>
            <p:nvPr userDrawn="1"/>
          </p:nvCxnSpPr>
          <p:spPr>
            <a:xfrm>
              <a:off x="4259684" y="-526222"/>
              <a:ext cx="3457154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mit Pfeil 32"/>
            <p:cNvCxnSpPr/>
            <p:nvPr userDrawn="1"/>
          </p:nvCxnSpPr>
          <p:spPr>
            <a:xfrm>
              <a:off x="8220124" y="-526222"/>
              <a:ext cx="3492500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mit Pfeil 33"/>
            <p:cNvCxnSpPr/>
            <p:nvPr userDrawn="1"/>
          </p:nvCxnSpPr>
          <p:spPr>
            <a:xfrm>
              <a:off x="263525" y="-289302"/>
              <a:ext cx="2484438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mit Pfeil 34"/>
            <p:cNvCxnSpPr/>
            <p:nvPr userDrawn="1"/>
          </p:nvCxnSpPr>
          <p:spPr>
            <a:xfrm>
              <a:off x="3251200" y="-289302"/>
              <a:ext cx="2484438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mit Pfeil 35"/>
            <p:cNvCxnSpPr/>
            <p:nvPr userDrawn="1"/>
          </p:nvCxnSpPr>
          <p:spPr>
            <a:xfrm>
              <a:off x="6240462" y="-289302"/>
              <a:ext cx="2484438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 Verbindung mit Pfeil 36"/>
            <p:cNvCxnSpPr/>
            <p:nvPr userDrawn="1"/>
          </p:nvCxnSpPr>
          <p:spPr>
            <a:xfrm>
              <a:off x="9228186" y="-289302"/>
              <a:ext cx="2484438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 Verbindung mit Pfeil 37"/>
            <p:cNvCxnSpPr/>
            <p:nvPr userDrawn="1"/>
          </p:nvCxnSpPr>
          <p:spPr>
            <a:xfrm>
              <a:off x="263525" y="-763143"/>
              <a:ext cx="5472113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 Verbindung mit Pfeil 38"/>
            <p:cNvCxnSpPr/>
            <p:nvPr userDrawn="1"/>
          </p:nvCxnSpPr>
          <p:spPr>
            <a:xfrm>
              <a:off x="6240463" y="-763143"/>
              <a:ext cx="5472161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107"/>
            <p:cNvCxnSpPr/>
            <p:nvPr userDrawn="1"/>
          </p:nvCxnSpPr>
          <p:spPr>
            <a:xfrm>
              <a:off x="2999272" y="-361302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 Verbindung 108"/>
            <p:cNvCxnSpPr/>
            <p:nvPr userDrawn="1"/>
          </p:nvCxnSpPr>
          <p:spPr>
            <a:xfrm>
              <a:off x="5987988" y="-361302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 Verbindung 109"/>
            <p:cNvCxnSpPr/>
            <p:nvPr userDrawn="1"/>
          </p:nvCxnSpPr>
          <p:spPr>
            <a:xfrm>
              <a:off x="8976320" y="-361302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 Verbindung 110"/>
            <p:cNvCxnSpPr/>
            <p:nvPr userDrawn="1"/>
          </p:nvCxnSpPr>
          <p:spPr>
            <a:xfrm>
              <a:off x="7968208" y="-598222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Gerade Verbindung 111"/>
            <p:cNvCxnSpPr/>
            <p:nvPr userDrawn="1"/>
          </p:nvCxnSpPr>
          <p:spPr>
            <a:xfrm>
              <a:off x="4007768" y="-598222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Gerade Verbindung 112"/>
            <p:cNvCxnSpPr/>
            <p:nvPr userDrawn="1"/>
          </p:nvCxnSpPr>
          <p:spPr>
            <a:xfrm>
              <a:off x="5987988" y="-835143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Gerade Verbindung 33"/>
            <p:cNvCxnSpPr/>
            <p:nvPr userDrawn="1"/>
          </p:nvCxnSpPr>
          <p:spPr>
            <a:xfrm rot="5400000" flipV="1">
              <a:off x="-204708" y="826746"/>
              <a:ext cx="0" cy="144000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Gerade Verbindung 34"/>
            <p:cNvCxnSpPr/>
            <p:nvPr userDrawn="1"/>
          </p:nvCxnSpPr>
          <p:spPr>
            <a:xfrm rot="5400000" flipV="1">
              <a:off x="-204708" y="6785999"/>
              <a:ext cx="0" cy="144000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Gerade Verbindung 35"/>
            <p:cNvCxnSpPr/>
            <p:nvPr userDrawn="1"/>
          </p:nvCxnSpPr>
          <p:spPr>
            <a:xfrm rot="10800000" flipV="1">
              <a:off x="11928473" y="-361302"/>
              <a:ext cx="0" cy="144000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38"/>
            <p:cNvCxnSpPr/>
            <p:nvPr userDrawn="1"/>
          </p:nvCxnSpPr>
          <p:spPr>
            <a:xfrm rot="10800000" flipV="1">
              <a:off x="0" y="-361302"/>
              <a:ext cx="0" cy="144000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50" name="Gerade Verbindung 37"/>
          <p:cNvCxnSpPr/>
          <p:nvPr userDrawn="1"/>
        </p:nvCxnSpPr>
        <p:spPr>
          <a:xfrm>
            <a:off x="11712624" y="6993412"/>
            <a:ext cx="0" cy="144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feld 50"/>
          <p:cNvSpPr txBox="1"/>
          <p:nvPr userDrawn="1"/>
        </p:nvSpPr>
        <p:spPr>
          <a:xfrm>
            <a:off x="-1791723" y="799523"/>
            <a:ext cx="1514371" cy="184666"/>
          </a:xfrm>
          <a:prstGeom prst="rect">
            <a:avLst/>
          </a:prstGeom>
          <a:noFill/>
        </p:spPr>
        <p:txBody>
          <a:bodyPr wrap="none" lIns="72000" tIns="0" rIns="72000" bIns="0" rtlCol="0" anchor="ctr">
            <a:spAutoFit/>
          </a:bodyPr>
          <a:lstStyle/>
          <a:p>
            <a:pPr algn="r"/>
            <a:r>
              <a:rPr lang="de-DE" sz="1200" noProof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abelle</a:t>
            </a:r>
            <a:r>
              <a:rPr lang="de-DE" sz="1200" baseline="0" noProof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  <a:r>
              <a:rPr lang="de-DE" sz="1200" noProof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(Vollflächig)</a:t>
            </a:r>
          </a:p>
        </p:txBody>
      </p:sp>
    </p:spTree>
    <p:extLst>
      <p:ext uri="{BB962C8B-B14F-4D97-AF65-F5344CB8AC3E}">
        <p14:creationId xmlns:p14="http://schemas.microsoft.com/office/powerpoint/2010/main" val="2305804261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instiegsfolie_Bild hoch 30%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 userDrawn="1"/>
        </p:nvSpPr>
        <p:spPr>
          <a:xfrm>
            <a:off x="-794" y="0"/>
            <a:ext cx="12193588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Rechteck 2"/>
          <p:cNvSpPr/>
          <p:nvPr userDrawn="1"/>
        </p:nvSpPr>
        <p:spPr>
          <a:xfrm>
            <a:off x="8004212" y="0"/>
            <a:ext cx="3924261" cy="3140968"/>
          </a:xfrm>
          <a:prstGeom prst="rect">
            <a:avLst/>
          </a:prstGeom>
          <a:solidFill>
            <a:schemeClr val="bg1"/>
          </a:solidFill>
          <a:ln w="28575" cmpd="sng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16000" indent="-216000" algn="l">
              <a:buFont typeface="Arial" panose="020B0604020202020204" pitchFamily="34" charset="0"/>
              <a:buChar char="•"/>
            </a:pPr>
            <a:endParaRPr lang="de-DE" sz="1600" err="1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612621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154" name="Picture 10"/>
          <p:cNvPicPr>
            <a:picLocks noChangeAspect="1" noChangeArrowheads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63352" y="200024"/>
            <a:ext cx="4018011" cy="532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6" name="Textplatzhalter 20"/>
          <p:cNvSpPr>
            <a:spLocks noGrp="1"/>
          </p:cNvSpPr>
          <p:nvPr>
            <p:ph type="body" sz="quarter" idx="12" hasCustomPrompt="1"/>
          </p:nvPr>
        </p:nvSpPr>
        <p:spPr>
          <a:xfrm>
            <a:off x="1966051" y="5048632"/>
            <a:ext cx="5724000" cy="320088"/>
          </a:xfrm>
        </p:spPr>
        <p:txBody>
          <a:bodyPr wrap="square" anchor="b">
            <a:spAutoFit/>
          </a:bodyPr>
          <a:lstStyle>
            <a:lvl1pPr>
              <a:lnSpc>
                <a:spcPct val="130000"/>
              </a:lnSpc>
              <a:spcBef>
                <a:spcPts val="0"/>
              </a:spcBef>
              <a:defRPr sz="1600" cap="all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de-DE"/>
              <a:t>Untertitel durch Klicken bearbeiten</a:t>
            </a:r>
          </a:p>
        </p:txBody>
      </p:sp>
      <p:sp>
        <p:nvSpPr>
          <p:cNvPr id="28" name="Textplatzhalter 20"/>
          <p:cNvSpPr>
            <a:spLocks noGrp="1"/>
          </p:cNvSpPr>
          <p:nvPr>
            <p:ph type="body" sz="quarter" idx="13" hasCustomPrompt="1"/>
          </p:nvPr>
        </p:nvSpPr>
        <p:spPr>
          <a:xfrm>
            <a:off x="1966051" y="6207115"/>
            <a:ext cx="3950723" cy="246221"/>
          </a:xfrm>
        </p:spPr>
        <p:txBody>
          <a:bodyPr wrap="square" anchor="b">
            <a:spAutoFit/>
          </a:bodyPr>
          <a:lstStyle>
            <a:lvl1pPr>
              <a:spcBef>
                <a:spcPts val="0"/>
              </a:spcBef>
              <a:defRPr sz="1600" cap="none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de-DE"/>
              <a:t>Ort,</a:t>
            </a:r>
          </a:p>
        </p:txBody>
      </p:sp>
      <p:sp>
        <p:nvSpPr>
          <p:cNvPr id="19" name="object 4">
            <a:extLst>
              <a:ext uri="{FF2B5EF4-FFF2-40B4-BE49-F238E27FC236}">
                <a16:creationId xmlns:a16="http://schemas.microsoft.com/office/drawing/2014/main" id="{F1407FCD-A98D-8D4C-BAEA-A83B72042659}"/>
              </a:ext>
            </a:extLst>
          </p:cNvPr>
          <p:cNvSpPr/>
          <p:nvPr userDrawn="1"/>
        </p:nvSpPr>
        <p:spPr>
          <a:xfrm>
            <a:off x="0" y="899999"/>
            <a:ext cx="12192635" cy="0"/>
          </a:xfrm>
          <a:custGeom>
            <a:avLst/>
            <a:gdLst/>
            <a:ahLst/>
            <a:cxnLst/>
            <a:rect l="l" t="t" r="r" b="b"/>
            <a:pathLst>
              <a:path w="12192635">
                <a:moveTo>
                  <a:pt x="0" y="0"/>
                </a:moveTo>
                <a:lnTo>
                  <a:pt x="12192113" y="0"/>
                </a:lnTo>
              </a:path>
            </a:pathLst>
          </a:custGeom>
          <a:ln w="28575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1" name="object 6">
            <a:extLst>
              <a:ext uri="{FF2B5EF4-FFF2-40B4-BE49-F238E27FC236}">
                <a16:creationId xmlns:a16="http://schemas.microsoft.com/office/drawing/2014/main" id="{7A6E9864-542A-6F4C-965E-7D2AEBA2E01D}"/>
              </a:ext>
            </a:extLst>
          </p:cNvPr>
          <p:cNvSpPr/>
          <p:nvPr userDrawn="1"/>
        </p:nvSpPr>
        <p:spPr>
          <a:xfrm>
            <a:off x="1710074" y="1674000"/>
            <a:ext cx="45719" cy="5184000"/>
          </a:xfrm>
          <a:custGeom>
            <a:avLst/>
            <a:gdLst/>
            <a:ahLst/>
            <a:cxnLst/>
            <a:rect l="l" t="t" r="r" b="b"/>
            <a:pathLst>
              <a:path h="4698365">
                <a:moveTo>
                  <a:pt x="0" y="0"/>
                </a:moveTo>
                <a:lnTo>
                  <a:pt x="0" y="4697996"/>
                </a:lnTo>
              </a:path>
            </a:pathLst>
          </a:custGeom>
          <a:ln w="285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4" name="Bildplatzhalter 13"/>
          <p:cNvSpPr>
            <a:spLocks noGrp="1"/>
          </p:cNvSpPr>
          <p:nvPr>
            <p:ph type="pic" sz="quarter" idx="17"/>
          </p:nvPr>
        </p:nvSpPr>
        <p:spPr>
          <a:xfrm>
            <a:off x="7915200" y="0"/>
            <a:ext cx="4276800" cy="6858000"/>
          </a:xfrm>
          <a:solidFill>
            <a:schemeClr val="bg2"/>
          </a:solidFill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23" name="object 6">
            <a:extLst>
              <a:ext uri="{FF2B5EF4-FFF2-40B4-BE49-F238E27FC236}">
                <a16:creationId xmlns:a16="http://schemas.microsoft.com/office/drawing/2014/main" id="{35B15152-362B-804E-8180-EB8D98DF2756}"/>
              </a:ext>
            </a:extLst>
          </p:cNvPr>
          <p:cNvSpPr/>
          <p:nvPr userDrawn="1"/>
        </p:nvSpPr>
        <p:spPr>
          <a:xfrm>
            <a:off x="7897200" y="-6350"/>
            <a:ext cx="45719" cy="6864350"/>
          </a:xfrm>
          <a:custGeom>
            <a:avLst/>
            <a:gdLst/>
            <a:ahLst/>
            <a:cxnLst/>
            <a:rect l="l" t="t" r="r" b="b"/>
            <a:pathLst>
              <a:path h="4698365">
                <a:moveTo>
                  <a:pt x="0" y="0"/>
                </a:moveTo>
                <a:lnTo>
                  <a:pt x="0" y="4697996"/>
                </a:lnTo>
              </a:path>
            </a:pathLst>
          </a:custGeom>
          <a:ln w="2540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5" name="Textplatzhalter 15"/>
          <p:cNvSpPr>
            <a:spLocks noGrp="1"/>
          </p:cNvSpPr>
          <p:nvPr>
            <p:ph type="body" sz="quarter" idx="14" hasCustomPrompt="1"/>
          </p:nvPr>
        </p:nvSpPr>
        <p:spPr>
          <a:xfrm>
            <a:off x="-16405" y="944724"/>
            <a:ext cx="7902000" cy="1538883"/>
          </a:xfrm>
          <a:solidFill>
            <a:schemeClr val="tx2"/>
          </a:solidFill>
          <a:effectLst>
            <a:outerShdw dist="27940" dir="5400000" algn="t" rotWithShape="0">
              <a:prstClr val="black"/>
            </a:outerShdw>
          </a:effectLst>
        </p:spPr>
        <p:txBody>
          <a:bodyPr wrap="square" lIns="234000" rIns="144000" bIns="0">
            <a:sp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5000" cap="all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de-DE"/>
              <a:t>Titel durch klicken hinzufügen</a:t>
            </a:r>
          </a:p>
        </p:txBody>
      </p:sp>
      <p:sp>
        <p:nvSpPr>
          <p:cNvPr id="17" name="Textplatzhalter 20">
            <a:extLst>
              <a:ext uri="{FF2B5EF4-FFF2-40B4-BE49-F238E27FC236}">
                <a16:creationId xmlns:a16="http://schemas.microsoft.com/office/drawing/2014/main" id="{933EB4BE-B7DA-FF4C-B744-5423D0C89B3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966051" y="5877272"/>
            <a:ext cx="3950723" cy="246221"/>
          </a:xfrm>
        </p:spPr>
        <p:txBody>
          <a:bodyPr wrap="square" anchor="b">
            <a:spAutoFit/>
          </a:bodyPr>
          <a:lstStyle>
            <a:lvl1pPr>
              <a:spcBef>
                <a:spcPts val="0"/>
              </a:spcBef>
              <a:defRPr sz="1600" cap="none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de-DE"/>
              <a:t>Name</a:t>
            </a:r>
          </a:p>
        </p:txBody>
      </p:sp>
      <p:sp>
        <p:nvSpPr>
          <p:cNvPr id="18" name="Datumsplatzhalter 4"/>
          <p:cNvSpPr>
            <a:spLocks noGrp="1"/>
          </p:cNvSpPr>
          <p:nvPr>
            <p:ph type="dt" sz="half" idx="2"/>
          </p:nvPr>
        </p:nvSpPr>
        <p:spPr>
          <a:xfrm>
            <a:off x="2891149" y="6207115"/>
            <a:ext cx="3025625" cy="246221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de-DE"/>
          </a:p>
        </p:txBody>
      </p:sp>
      <p:sp>
        <p:nvSpPr>
          <p:cNvPr id="16" name="Textfeld 15"/>
          <p:cNvSpPr txBox="1"/>
          <p:nvPr userDrawn="1"/>
        </p:nvSpPr>
        <p:spPr>
          <a:xfrm>
            <a:off x="-974191" y="960180"/>
            <a:ext cx="696839" cy="184666"/>
          </a:xfrm>
          <a:prstGeom prst="rect">
            <a:avLst/>
          </a:prstGeom>
          <a:noFill/>
        </p:spPr>
        <p:txBody>
          <a:bodyPr wrap="none" lIns="72000" tIns="0" rIns="72000" bIns="0" rtlCol="0" anchor="ctr">
            <a:spAutoFit/>
          </a:bodyPr>
          <a:lstStyle/>
          <a:p>
            <a:pPr algn="r"/>
            <a:r>
              <a:rPr lang="de-DE" sz="1200" noProof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extbox</a:t>
            </a:r>
          </a:p>
        </p:txBody>
      </p:sp>
      <p:sp>
        <p:nvSpPr>
          <p:cNvPr id="20" name="Textfeld 19"/>
          <p:cNvSpPr txBox="1"/>
          <p:nvPr userDrawn="1"/>
        </p:nvSpPr>
        <p:spPr>
          <a:xfrm>
            <a:off x="-1014869" y="-381635"/>
            <a:ext cx="990189" cy="184666"/>
          </a:xfrm>
          <a:prstGeom prst="rect">
            <a:avLst/>
          </a:prstGeom>
          <a:noFill/>
        </p:spPr>
        <p:txBody>
          <a:bodyPr wrap="none" lIns="72000" tIns="0" rIns="72000" bIns="0" rtlCol="0" anchor="ctr">
            <a:spAutoFit/>
          </a:bodyPr>
          <a:lstStyle/>
          <a:p>
            <a:pPr algn="r"/>
            <a:r>
              <a:rPr lang="de-DE" sz="1200" noProof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Vier</a:t>
            </a:r>
            <a:r>
              <a:rPr lang="de-DE" sz="1200" baseline="0" noProof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  <a:r>
              <a:rPr lang="de-DE" sz="1200" noProof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Spalten</a:t>
            </a:r>
          </a:p>
        </p:txBody>
      </p:sp>
      <p:sp>
        <p:nvSpPr>
          <p:cNvPr id="22" name="Textfeld 21"/>
          <p:cNvSpPr txBox="1"/>
          <p:nvPr userDrawn="1"/>
        </p:nvSpPr>
        <p:spPr>
          <a:xfrm>
            <a:off x="-1032502" y="-618555"/>
            <a:ext cx="1007822" cy="184666"/>
          </a:xfrm>
          <a:prstGeom prst="rect">
            <a:avLst/>
          </a:prstGeom>
          <a:noFill/>
        </p:spPr>
        <p:txBody>
          <a:bodyPr wrap="none" lIns="72000" tIns="0" rIns="72000" bIns="0" rtlCol="0" anchor="ctr">
            <a:spAutoFit/>
          </a:bodyPr>
          <a:lstStyle/>
          <a:p>
            <a:pPr algn="r"/>
            <a:r>
              <a:rPr lang="de-DE" sz="1200" noProof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Drei</a:t>
            </a:r>
            <a:r>
              <a:rPr lang="de-DE" sz="1200" baseline="0" noProof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  <a:r>
              <a:rPr lang="de-DE" sz="1200" noProof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Spalten</a:t>
            </a:r>
          </a:p>
        </p:txBody>
      </p:sp>
      <p:sp>
        <p:nvSpPr>
          <p:cNvPr id="24" name="Textfeld 23"/>
          <p:cNvSpPr txBox="1"/>
          <p:nvPr userDrawn="1"/>
        </p:nvSpPr>
        <p:spPr>
          <a:xfrm>
            <a:off x="-1067768" y="-855476"/>
            <a:ext cx="1043088" cy="184666"/>
          </a:xfrm>
          <a:prstGeom prst="rect">
            <a:avLst/>
          </a:prstGeom>
          <a:noFill/>
        </p:spPr>
        <p:txBody>
          <a:bodyPr wrap="none" lIns="72000" tIns="0" rIns="72000" bIns="0" rtlCol="0" anchor="ctr">
            <a:spAutoFit/>
          </a:bodyPr>
          <a:lstStyle/>
          <a:p>
            <a:pPr algn="r"/>
            <a:r>
              <a:rPr lang="de-DE" sz="1200" noProof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Zwei Spalten</a:t>
            </a:r>
          </a:p>
        </p:txBody>
      </p:sp>
      <p:grpSp>
        <p:nvGrpSpPr>
          <p:cNvPr id="25" name="Gruppieren 24"/>
          <p:cNvGrpSpPr/>
          <p:nvPr userDrawn="1"/>
        </p:nvGrpSpPr>
        <p:grpSpPr>
          <a:xfrm>
            <a:off x="-276708" y="-835143"/>
            <a:ext cx="12205181" cy="7972555"/>
            <a:chOff x="-276708" y="-835143"/>
            <a:chExt cx="12205181" cy="7972555"/>
          </a:xfrm>
        </p:grpSpPr>
        <p:cxnSp>
          <p:nvCxnSpPr>
            <p:cNvPr id="27" name="Gerade Verbindung 23"/>
            <p:cNvCxnSpPr/>
            <p:nvPr userDrawn="1"/>
          </p:nvCxnSpPr>
          <p:spPr>
            <a:xfrm rot="5400000" flipV="1">
              <a:off x="-204708" y="980735"/>
              <a:ext cx="0" cy="1440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 Verbindung 24"/>
            <p:cNvCxnSpPr/>
            <p:nvPr userDrawn="1"/>
          </p:nvCxnSpPr>
          <p:spPr>
            <a:xfrm rot="5400000" flipV="1">
              <a:off x="-204708" y="6381336"/>
              <a:ext cx="0" cy="1440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 Verbindung 78"/>
            <p:cNvCxnSpPr/>
            <p:nvPr userDrawn="1"/>
          </p:nvCxnSpPr>
          <p:spPr>
            <a:xfrm>
              <a:off x="259147" y="6993412"/>
              <a:ext cx="0" cy="1440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 Verbindung mit Pfeil 30"/>
            <p:cNvCxnSpPr/>
            <p:nvPr userDrawn="1"/>
          </p:nvCxnSpPr>
          <p:spPr>
            <a:xfrm>
              <a:off x="263525" y="-526222"/>
              <a:ext cx="3492500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 Verbindung mit Pfeil 31"/>
            <p:cNvCxnSpPr/>
            <p:nvPr userDrawn="1"/>
          </p:nvCxnSpPr>
          <p:spPr>
            <a:xfrm>
              <a:off x="4259684" y="-526222"/>
              <a:ext cx="3457154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mit Pfeil 32"/>
            <p:cNvCxnSpPr/>
            <p:nvPr userDrawn="1"/>
          </p:nvCxnSpPr>
          <p:spPr>
            <a:xfrm>
              <a:off x="8220124" y="-526222"/>
              <a:ext cx="3492500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mit Pfeil 33"/>
            <p:cNvCxnSpPr/>
            <p:nvPr userDrawn="1"/>
          </p:nvCxnSpPr>
          <p:spPr>
            <a:xfrm>
              <a:off x="263525" y="-289302"/>
              <a:ext cx="2484438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mit Pfeil 34"/>
            <p:cNvCxnSpPr/>
            <p:nvPr userDrawn="1"/>
          </p:nvCxnSpPr>
          <p:spPr>
            <a:xfrm>
              <a:off x="3251200" y="-289302"/>
              <a:ext cx="2484438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mit Pfeil 35"/>
            <p:cNvCxnSpPr/>
            <p:nvPr userDrawn="1"/>
          </p:nvCxnSpPr>
          <p:spPr>
            <a:xfrm>
              <a:off x="6240462" y="-289302"/>
              <a:ext cx="2484438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 Verbindung mit Pfeil 36"/>
            <p:cNvCxnSpPr/>
            <p:nvPr userDrawn="1"/>
          </p:nvCxnSpPr>
          <p:spPr>
            <a:xfrm>
              <a:off x="9228186" y="-289302"/>
              <a:ext cx="2484438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 Verbindung mit Pfeil 37"/>
            <p:cNvCxnSpPr/>
            <p:nvPr userDrawn="1"/>
          </p:nvCxnSpPr>
          <p:spPr>
            <a:xfrm>
              <a:off x="263525" y="-763143"/>
              <a:ext cx="5472113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 Verbindung mit Pfeil 38"/>
            <p:cNvCxnSpPr/>
            <p:nvPr userDrawn="1"/>
          </p:nvCxnSpPr>
          <p:spPr>
            <a:xfrm>
              <a:off x="6240463" y="-763143"/>
              <a:ext cx="5472161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107"/>
            <p:cNvCxnSpPr/>
            <p:nvPr userDrawn="1"/>
          </p:nvCxnSpPr>
          <p:spPr>
            <a:xfrm>
              <a:off x="2999272" y="-361302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 Verbindung 108"/>
            <p:cNvCxnSpPr/>
            <p:nvPr userDrawn="1"/>
          </p:nvCxnSpPr>
          <p:spPr>
            <a:xfrm>
              <a:off x="5987988" y="-361302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 Verbindung 109"/>
            <p:cNvCxnSpPr/>
            <p:nvPr userDrawn="1"/>
          </p:nvCxnSpPr>
          <p:spPr>
            <a:xfrm>
              <a:off x="8976320" y="-361302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 Verbindung 110"/>
            <p:cNvCxnSpPr/>
            <p:nvPr userDrawn="1"/>
          </p:nvCxnSpPr>
          <p:spPr>
            <a:xfrm>
              <a:off x="7968208" y="-598222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Gerade Verbindung 111"/>
            <p:cNvCxnSpPr/>
            <p:nvPr userDrawn="1"/>
          </p:nvCxnSpPr>
          <p:spPr>
            <a:xfrm>
              <a:off x="4007768" y="-598222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Gerade Verbindung 112"/>
            <p:cNvCxnSpPr/>
            <p:nvPr userDrawn="1"/>
          </p:nvCxnSpPr>
          <p:spPr>
            <a:xfrm>
              <a:off x="5987988" y="-835143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Gerade Verbindung 33"/>
            <p:cNvCxnSpPr/>
            <p:nvPr userDrawn="1"/>
          </p:nvCxnSpPr>
          <p:spPr>
            <a:xfrm rot="5400000" flipV="1">
              <a:off x="-204708" y="826746"/>
              <a:ext cx="0" cy="144000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Gerade Verbindung 34"/>
            <p:cNvCxnSpPr/>
            <p:nvPr userDrawn="1"/>
          </p:nvCxnSpPr>
          <p:spPr>
            <a:xfrm rot="5400000" flipV="1">
              <a:off x="-204708" y="6785999"/>
              <a:ext cx="0" cy="144000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Gerade Verbindung 35"/>
            <p:cNvCxnSpPr/>
            <p:nvPr userDrawn="1"/>
          </p:nvCxnSpPr>
          <p:spPr>
            <a:xfrm rot="10800000" flipV="1">
              <a:off x="11928473" y="-361302"/>
              <a:ext cx="0" cy="144000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38"/>
            <p:cNvCxnSpPr/>
            <p:nvPr userDrawn="1"/>
          </p:nvCxnSpPr>
          <p:spPr>
            <a:xfrm rot="10800000" flipV="1">
              <a:off x="0" y="-361302"/>
              <a:ext cx="0" cy="144000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50" name="Gerade Verbindung 37"/>
          <p:cNvCxnSpPr/>
          <p:nvPr userDrawn="1"/>
        </p:nvCxnSpPr>
        <p:spPr>
          <a:xfrm>
            <a:off x="11712624" y="6993412"/>
            <a:ext cx="0" cy="144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feld 50"/>
          <p:cNvSpPr txBox="1"/>
          <p:nvPr userDrawn="1"/>
        </p:nvSpPr>
        <p:spPr>
          <a:xfrm>
            <a:off x="-1791723" y="799523"/>
            <a:ext cx="1514371" cy="184666"/>
          </a:xfrm>
          <a:prstGeom prst="rect">
            <a:avLst/>
          </a:prstGeom>
          <a:noFill/>
        </p:spPr>
        <p:txBody>
          <a:bodyPr wrap="none" lIns="72000" tIns="0" rIns="72000" bIns="0" rtlCol="0" anchor="ctr">
            <a:spAutoFit/>
          </a:bodyPr>
          <a:lstStyle/>
          <a:p>
            <a:pPr algn="r"/>
            <a:r>
              <a:rPr lang="de-DE" sz="1200" noProof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abelle</a:t>
            </a:r>
            <a:r>
              <a:rPr lang="de-DE" sz="1200" baseline="0" noProof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  <a:r>
              <a:rPr lang="de-DE" sz="1200" noProof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(Vollflächig)</a:t>
            </a:r>
          </a:p>
        </p:txBody>
      </p:sp>
    </p:spTree>
    <p:extLst>
      <p:ext uri="{BB962C8B-B14F-4D97-AF65-F5344CB8AC3E}">
        <p14:creationId xmlns:p14="http://schemas.microsoft.com/office/powerpoint/2010/main" val="2224774328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instiegsfolie_Bild quer 40%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675962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ts val="66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de-DE" sz="5000" b="0" i="0" baseline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Rechteck 7"/>
          <p:cNvSpPr/>
          <p:nvPr userDrawn="1"/>
        </p:nvSpPr>
        <p:spPr>
          <a:xfrm>
            <a:off x="-794" y="0"/>
            <a:ext cx="12193588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263524" y="1134800"/>
            <a:ext cx="11664951" cy="892721"/>
          </a:xfrm>
        </p:spPr>
        <p:txBody>
          <a:bodyPr anchor="t"/>
          <a:lstStyle>
            <a:lvl1pPr>
              <a:lnSpc>
                <a:spcPts val="6600"/>
              </a:lnSpc>
              <a:defRPr sz="5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de-DE"/>
              <a:t>Titel der </a:t>
            </a:r>
            <a:r>
              <a:rPr lang="de-DE" err="1"/>
              <a:t>präsentation</a:t>
            </a:r>
            <a:endParaRPr lang="en-US"/>
          </a:p>
        </p:txBody>
      </p:sp>
      <p:pic>
        <p:nvPicPr>
          <p:cNvPr id="6154" name="Picture 10"/>
          <p:cNvPicPr>
            <a:picLocks noChangeAspect="1" noChangeArrowheads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63352" y="200024"/>
            <a:ext cx="4018011" cy="532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6" name="Textplatzhalter 20"/>
          <p:cNvSpPr>
            <a:spLocks noGrp="1"/>
          </p:cNvSpPr>
          <p:nvPr>
            <p:ph type="body" sz="quarter" idx="12" hasCustomPrompt="1"/>
          </p:nvPr>
        </p:nvSpPr>
        <p:spPr>
          <a:xfrm>
            <a:off x="264050" y="2566111"/>
            <a:ext cx="3744388" cy="640175"/>
          </a:xfrm>
        </p:spPr>
        <p:txBody>
          <a:bodyPr wrap="square" anchor="b" anchorCtr="0">
            <a:spAutoFit/>
          </a:bodyPr>
          <a:lstStyle>
            <a:lvl1pPr>
              <a:lnSpc>
                <a:spcPct val="130000"/>
              </a:lnSpc>
              <a:spcBef>
                <a:spcPts val="0"/>
              </a:spcBef>
              <a:defRPr sz="1600" cap="all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de-DE"/>
              <a:t>Untertitel durch Klicken bearbeiten</a:t>
            </a:r>
          </a:p>
        </p:txBody>
      </p:sp>
      <p:sp>
        <p:nvSpPr>
          <p:cNvPr id="28" name="Textplatzhalter 20"/>
          <p:cNvSpPr>
            <a:spLocks noGrp="1"/>
          </p:cNvSpPr>
          <p:nvPr>
            <p:ph type="body" sz="quarter" idx="13" hasCustomPrompt="1"/>
          </p:nvPr>
        </p:nvSpPr>
        <p:spPr>
          <a:xfrm>
            <a:off x="4284804" y="2960065"/>
            <a:ext cx="7453312" cy="246221"/>
          </a:xfrm>
        </p:spPr>
        <p:txBody>
          <a:bodyPr wrap="square" anchor="b">
            <a:spAutoFit/>
          </a:bodyPr>
          <a:lstStyle>
            <a:lvl1pPr>
              <a:spcBef>
                <a:spcPts val="0"/>
              </a:spcBef>
              <a:defRPr sz="1600" cap="none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de-DE"/>
              <a:t>Ort,</a:t>
            </a:r>
          </a:p>
        </p:txBody>
      </p:sp>
      <p:sp>
        <p:nvSpPr>
          <p:cNvPr id="19" name="object 4">
            <a:extLst>
              <a:ext uri="{FF2B5EF4-FFF2-40B4-BE49-F238E27FC236}">
                <a16:creationId xmlns:a16="http://schemas.microsoft.com/office/drawing/2014/main" id="{F1407FCD-A98D-8D4C-BAEA-A83B72042659}"/>
              </a:ext>
            </a:extLst>
          </p:cNvPr>
          <p:cNvSpPr/>
          <p:nvPr userDrawn="1"/>
        </p:nvSpPr>
        <p:spPr>
          <a:xfrm>
            <a:off x="0" y="899999"/>
            <a:ext cx="12192635" cy="0"/>
          </a:xfrm>
          <a:custGeom>
            <a:avLst/>
            <a:gdLst/>
            <a:ahLst/>
            <a:cxnLst/>
            <a:rect l="l" t="t" r="r" b="b"/>
            <a:pathLst>
              <a:path w="12192635">
                <a:moveTo>
                  <a:pt x="0" y="0"/>
                </a:moveTo>
                <a:lnTo>
                  <a:pt x="12192113" y="0"/>
                </a:lnTo>
              </a:path>
            </a:pathLst>
          </a:custGeom>
          <a:ln w="28575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4" name="Bildplatzhalter 13"/>
          <p:cNvSpPr>
            <a:spLocks noGrp="1"/>
          </p:cNvSpPr>
          <p:nvPr>
            <p:ph type="pic" sz="quarter" idx="17"/>
          </p:nvPr>
        </p:nvSpPr>
        <p:spPr>
          <a:xfrm>
            <a:off x="3176" y="3546000"/>
            <a:ext cx="12189618" cy="3312000"/>
          </a:xfrm>
          <a:solidFill>
            <a:schemeClr val="bg2"/>
          </a:solidFill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31" name="object 5">
            <a:extLst>
              <a:ext uri="{FF2B5EF4-FFF2-40B4-BE49-F238E27FC236}">
                <a16:creationId xmlns:a16="http://schemas.microsoft.com/office/drawing/2014/main" id="{E53813C0-5592-A544-AC61-84B1689DD6BA}"/>
              </a:ext>
            </a:extLst>
          </p:cNvPr>
          <p:cNvSpPr/>
          <p:nvPr userDrawn="1"/>
        </p:nvSpPr>
        <p:spPr>
          <a:xfrm>
            <a:off x="0" y="2027521"/>
            <a:ext cx="12192635" cy="0"/>
          </a:xfrm>
          <a:custGeom>
            <a:avLst/>
            <a:gdLst/>
            <a:ahLst/>
            <a:cxnLst/>
            <a:rect l="l" t="t" r="r" b="b"/>
            <a:pathLst>
              <a:path w="12192635">
                <a:moveTo>
                  <a:pt x="0" y="0"/>
                </a:moveTo>
                <a:lnTo>
                  <a:pt x="12192113" y="0"/>
                </a:lnTo>
              </a:path>
            </a:pathLst>
          </a:custGeom>
          <a:ln w="2540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2" name="object 6">
            <a:extLst>
              <a:ext uri="{FF2B5EF4-FFF2-40B4-BE49-F238E27FC236}">
                <a16:creationId xmlns:a16="http://schemas.microsoft.com/office/drawing/2014/main" id="{7A6E9864-542A-6F4C-965E-7D2AEBA2E01D}"/>
              </a:ext>
            </a:extLst>
          </p:cNvPr>
          <p:cNvSpPr/>
          <p:nvPr userDrawn="1"/>
        </p:nvSpPr>
        <p:spPr>
          <a:xfrm flipH="1">
            <a:off x="4041788" y="2027521"/>
            <a:ext cx="45719" cy="1509479"/>
          </a:xfrm>
          <a:custGeom>
            <a:avLst/>
            <a:gdLst/>
            <a:ahLst/>
            <a:cxnLst/>
            <a:rect l="l" t="t" r="r" b="b"/>
            <a:pathLst>
              <a:path h="4698365">
                <a:moveTo>
                  <a:pt x="0" y="0"/>
                </a:moveTo>
                <a:lnTo>
                  <a:pt x="0" y="4697996"/>
                </a:lnTo>
              </a:path>
            </a:pathLst>
          </a:custGeom>
          <a:ln w="285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3" name="object 5">
            <a:extLst>
              <a:ext uri="{FF2B5EF4-FFF2-40B4-BE49-F238E27FC236}">
                <a16:creationId xmlns:a16="http://schemas.microsoft.com/office/drawing/2014/main" id="{015ACE90-02E3-8C47-94C3-2D89724CC019}"/>
              </a:ext>
            </a:extLst>
          </p:cNvPr>
          <p:cNvSpPr/>
          <p:nvPr userDrawn="1"/>
        </p:nvSpPr>
        <p:spPr>
          <a:xfrm>
            <a:off x="-637" y="3537000"/>
            <a:ext cx="12192635" cy="0"/>
          </a:xfrm>
          <a:custGeom>
            <a:avLst/>
            <a:gdLst/>
            <a:ahLst/>
            <a:cxnLst/>
            <a:rect l="l" t="t" r="r" b="b"/>
            <a:pathLst>
              <a:path w="12192635">
                <a:moveTo>
                  <a:pt x="0" y="0"/>
                </a:moveTo>
                <a:lnTo>
                  <a:pt x="12192113" y="0"/>
                </a:lnTo>
              </a:path>
            </a:pathLst>
          </a:custGeom>
          <a:ln w="2540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6" name="Textplatzhalter 20">
            <a:extLst>
              <a:ext uri="{FF2B5EF4-FFF2-40B4-BE49-F238E27FC236}">
                <a16:creationId xmlns:a16="http://schemas.microsoft.com/office/drawing/2014/main" id="{A4C3430A-7E32-784A-A054-05C3781007F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281488" y="2626341"/>
            <a:ext cx="7453313" cy="246221"/>
          </a:xfrm>
        </p:spPr>
        <p:txBody>
          <a:bodyPr wrap="square" anchor="b">
            <a:noAutofit/>
          </a:bodyPr>
          <a:lstStyle>
            <a:lvl1pPr>
              <a:spcBef>
                <a:spcPts val="0"/>
              </a:spcBef>
              <a:defRPr sz="1600" cap="none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de-DE"/>
              <a:t>Name</a:t>
            </a:r>
          </a:p>
        </p:txBody>
      </p:sp>
      <p:sp>
        <p:nvSpPr>
          <p:cNvPr id="17" name="Datumsplatzhalter 4"/>
          <p:cNvSpPr>
            <a:spLocks noGrp="1"/>
          </p:cNvSpPr>
          <p:nvPr>
            <p:ph type="dt" sz="half" idx="2"/>
          </p:nvPr>
        </p:nvSpPr>
        <p:spPr>
          <a:xfrm>
            <a:off x="5207255" y="2956184"/>
            <a:ext cx="3024831" cy="246221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de-DE"/>
          </a:p>
        </p:txBody>
      </p:sp>
      <p:sp>
        <p:nvSpPr>
          <p:cNvPr id="18" name="Textfeld 17"/>
          <p:cNvSpPr txBox="1"/>
          <p:nvPr userDrawn="1"/>
        </p:nvSpPr>
        <p:spPr>
          <a:xfrm>
            <a:off x="-974191" y="960180"/>
            <a:ext cx="696839" cy="184666"/>
          </a:xfrm>
          <a:prstGeom prst="rect">
            <a:avLst/>
          </a:prstGeom>
          <a:noFill/>
        </p:spPr>
        <p:txBody>
          <a:bodyPr wrap="none" lIns="72000" tIns="0" rIns="72000" bIns="0" rtlCol="0" anchor="ctr">
            <a:spAutoFit/>
          </a:bodyPr>
          <a:lstStyle/>
          <a:p>
            <a:pPr algn="r"/>
            <a:r>
              <a:rPr lang="de-DE" sz="1200" noProof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extbox</a:t>
            </a:r>
          </a:p>
        </p:txBody>
      </p:sp>
      <p:sp>
        <p:nvSpPr>
          <p:cNvPr id="20" name="Textfeld 19"/>
          <p:cNvSpPr txBox="1"/>
          <p:nvPr userDrawn="1"/>
        </p:nvSpPr>
        <p:spPr>
          <a:xfrm>
            <a:off x="-1014869" y="-381635"/>
            <a:ext cx="990189" cy="184666"/>
          </a:xfrm>
          <a:prstGeom prst="rect">
            <a:avLst/>
          </a:prstGeom>
          <a:noFill/>
        </p:spPr>
        <p:txBody>
          <a:bodyPr wrap="none" lIns="72000" tIns="0" rIns="72000" bIns="0" rtlCol="0" anchor="ctr">
            <a:spAutoFit/>
          </a:bodyPr>
          <a:lstStyle/>
          <a:p>
            <a:pPr algn="r"/>
            <a:r>
              <a:rPr lang="de-DE" sz="1200" noProof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Vier</a:t>
            </a:r>
            <a:r>
              <a:rPr lang="de-DE" sz="1200" baseline="0" noProof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  <a:r>
              <a:rPr lang="de-DE" sz="1200" noProof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Spalten</a:t>
            </a:r>
          </a:p>
        </p:txBody>
      </p:sp>
      <p:sp>
        <p:nvSpPr>
          <p:cNvPr id="21" name="Textfeld 20"/>
          <p:cNvSpPr txBox="1"/>
          <p:nvPr userDrawn="1"/>
        </p:nvSpPr>
        <p:spPr>
          <a:xfrm>
            <a:off x="-1032502" y="-618555"/>
            <a:ext cx="1007822" cy="184666"/>
          </a:xfrm>
          <a:prstGeom prst="rect">
            <a:avLst/>
          </a:prstGeom>
          <a:noFill/>
        </p:spPr>
        <p:txBody>
          <a:bodyPr wrap="none" lIns="72000" tIns="0" rIns="72000" bIns="0" rtlCol="0" anchor="ctr">
            <a:spAutoFit/>
          </a:bodyPr>
          <a:lstStyle/>
          <a:p>
            <a:pPr algn="r"/>
            <a:r>
              <a:rPr lang="de-DE" sz="1200" noProof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Drei</a:t>
            </a:r>
            <a:r>
              <a:rPr lang="de-DE" sz="1200" baseline="0" noProof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  <a:r>
              <a:rPr lang="de-DE" sz="1200" noProof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Spalten</a:t>
            </a:r>
          </a:p>
        </p:txBody>
      </p:sp>
      <p:sp>
        <p:nvSpPr>
          <p:cNvPr id="22" name="Textfeld 21"/>
          <p:cNvSpPr txBox="1"/>
          <p:nvPr userDrawn="1"/>
        </p:nvSpPr>
        <p:spPr>
          <a:xfrm>
            <a:off x="-1067768" y="-855476"/>
            <a:ext cx="1043088" cy="184666"/>
          </a:xfrm>
          <a:prstGeom prst="rect">
            <a:avLst/>
          </a:prstGeom>
          <a:noFill/>
        </p:spPr>
        <p:txBody>
          <a:bodyPr wrap="none" lIns="72000" tIns="0" rIns="72000" bIns="0" rtlCol="0" anchor="ctr">
            <a:spAutoFit/>
          </a:bodyPr>
          <a:lstStyle/>
          <a:p>
            <a:pPr algn="r"/>
            <a:r>
              <a:rPr lang="de-DE" sz="1200" noProof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Zwei Spalten</a:t>
            </a:r>
          </a:p>
        </p:txBody>
      </p:sp>
      <p:grpSp>
        <p:nvGrpSpPr>
          <p:cNvPr id="23" name="Gruppieren 22"/>
          <p:cNvGrpSpPr/>
          <p:nvPr userDrawn="1"/>
        </p:nvGrpSpPr>
        <p:grpSpPr>
          <a:xfrm>
            <a:off x="-276708" y="-835143"/>
            <a:ext cx="12205181" cy="7972555"/>
            <a:chOff x="-276708" y="-835143"/>
            <a:chExt cx="12205181" cy="7972555"/>
          </a:xfrm>
        </p:grpSpPr>
        <p:cxnSp>
          <p:nvCxnSpPr>
            <p:cNvPr id="24" name="Gerade Verbindung 23"/>
            <p:cNvCxnSpPr/>
            <p:nvPr userDrawn="1"/>
          </p:nvCxnSpPr>
          <p:spPr>
            <a:xfrm rot="5400000" flipV="1">
              <a:off x="-204708" y="980735"/>
              <a:ext cx="0" cy="1440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24"/>
            <p:cNvCxnSpPr/>
            <p:nvPr userDrawn="1"/>
          </p:nvCxnSpPr>
          <p:spPr>
            <a:xfrm rot="5400000" flipV="1">
              <a:off x="-204708" y="6381336"/>
              <a:ext cx="0" cy="1440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78"/>
            <p:cNvCxnSpPr/>
            <p:nvPr userDrawn="1"/>
          </p:nvCxnSpPr>
          <p:spPr>
            <a:xfrm>
              <a:off x="259147" y="6993412"/>
              <a:ext cx="0" cy="1440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 Verbindung mit Pfeil 28"/>
            <p:cNvCxnSpPr/>
            <p:nvPr userDrawn="1"/>
          </p:nvCxnSpPr>
          <p:spPr>
            <a:xfrm>
              <a:off x="263525" y="-526222"/>
              <a:ext cx="3492500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 Verbindung mit Pfeil 29"/>
            <p:cNvCxnSpPr/>
            <p:nvPr userDrawn="1"/>
          </p:nvCxnSpPr>
          <p:spPr>
            <a:xfrm>
              <a:off x="4259684" y="-526222"/>
              <a:ext cx="3457154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mit Pfeil 33"/>
            <p:cNvCxnSpPr/>
            <p:nvPr userDrawn="1"/>
          </p:nvCxnSpPr>
          <p:spPr>
            <a:xfrm>
              <a:off x="8220124" y="-526222"/>
              <a:ext cx="3492500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mit Pfeil 34"/>
            <p:cNvCxnSpPr/>
            <p:nvPr userDrawn="1"/>
          </p:nvCxnSpPr>
          <p:spPr>
            <a:xfrm>
              <a:off x="263525" y="-289302"/>
              <a:ext cx="2484438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mit Pfeil 35"/>
            <p:cNvCxnSpPr/>
            <p:nvPr userDrawn="1"/>
          </p:nvCxnSpPr>
          <p:spPr>
            <a:xfrm>
              <a:off x="3251200" y="-289302"/>
              <a:ext cx="2484438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 Verbindung mit Pfeil 36"/>
            <p:cNvCxnSpPr/>
            <p:nvPr userDrawn="1"/>
          </p:nvCxnSpPr>
          <p:spPr>
            <a:xfrm>
              <a:off x="6240462" y="-289302"/>
              <a:ext cx="2484438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 Verbindung mit Pfeil 37"/>
            <p:cNvCxnSpPr/>
            <p:nvPr userDrawn="1"/>
          </p:nvCxnSpPr>
          <p:spPr>
            <a:xfrm>
              <a:off x="9228186" y="-289302"/>
              <a:ext cx="2484438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 Verbindung mit Pfeil 38"/>
            <p:cNvCxnSpPr/>
            <p:nvPr userDrawn="1"/>
          </p:nvCxnSpPr>
          <p:spPr>
            <a:xfrm>
              <a:off x="263525" y="-763143"/>
              <a:ext cx="5472113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mit Pfeil 39"/>
            <p:cNvCxnSpPr/>
            <p:nvPr userDrawn="1"/>
          </p:nvCxnSpPr>
          <p:spPr>
            <a:xfrm>
              <a:off x="6240463" y="-763143"/>
              <a:ext cx="5472161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 Verbindung 107"/>
            <p:cNvCxnSpPr/>
            <p:nvPr userDrawn="1"/>
          </p:nvCxnSpPr>
          <p:spPr>
            <a:xfrm>
              <a:off x="2999272" y="-361302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 Verbindung 108"/>
            <p:cNvCxnSpPr/>
            <p:nvPr userDrawn="1"/>
          </p:nvCxnSpPr>
          <p:spPr>
            <a:xfrm>
              <a:off x="5987988" y="-361302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 Verbindung 109"/>
            <p:cNvCxnSpPr/>
            <p:nvPr userDrawn="1"/>
          </p:nvCxnSpPr>
          <p:spPr>
            <a:xfrm>
              <a:off x="8976320" y="-361302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Gerade Verbindung 110"/>
            <p:cNvCxnSpPr/>
            <p:nvPr userDrawn="1"/>
          </p:nvCxnSpPr>
          <p:spPr>
            <a:xfrm>
              <a:off x="7968208" y="-598222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Gerade Verbindung 111"/>
            <p:cNvCxnSpPr/>
            <p:nvPr userDrawn="1"/>
          </p:nvCxnSpPr>
          <p:spPr>
            <a:xfrm>
              <a:off x="4007768" y="-598222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Gerade Verbindung 112"/>
            <p:cNvCxnSpPr/>
            <p:nvPr userDrawn="1"/>
          </p:nvCxnSpPr>
          <p:spPr>
            <a:xfrm>
              <a:off x="5987988" y="-835143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Gerade Verbindung 33"/>
            <p:cNvCxnSpPr/>
            <p:nvPr userDrawn="1"/>
          </p:nvCxnSpPr>
          <p:spPr>
            <a:xfrm rot="5400000" flipV="1">
              <a:off x="-204708" y="826746"/>
              <a:ext cx="0" cy="144000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Gerade Verbindung 34"/>
            <p:cNvCxnSpPr/>
            <p:nvPr userDrawn="1"/>
          </p:nvCxnSpPr>
          <p:spPr>
            <a:xfrm rot="5400000" flipV="1">
              <a:off x="-204708" y="6785999"/>
              <a:ext cx="0" cy="144000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35"/>
            <p:cNvCxnSpPr/>
            <p:nvPr userDrawn="1"/>
          </p:nvCxnSpPr>
          <p:spPr>
            <a:xfrm rot="10800000" flipV="1">
              <a:off x="11928473" y="-361302"/>
              <a:ext cx="0" cy="144000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38"/>
            <p:cNvCxnSpPr/>
            <p:nvPr userDrawn="1"/>
          </p:nvCxnSpPr>
          <p:spPr>
            <a:xfrm rot="10800000" flipV="1">
              <a:off x="0" y="-361302"/>
              <a:ext cx="0" cy="144000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51" name="Gerade Verbindung 37"/>
          <p:cNvCxnSpPr/>
          <p:nvPr userDrawn="1"/>
        </p:nvCxnSpPr>
        <p:spPr>
          <a:xfrm>
            <a:off x="11712624" y="6993412"/>
            <a:ext cx="0" cy="144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Textfeld 51"/>
          <p:cNvSpPr txBox="1"/>
          <p:nvPr userDrawn="1"/>
        </p:nvSpPr>
        <p:spPr>
          <a:xfrm>
            <a:off x="-1791723" y="799523"/>
            <a:ext cx="1514371" cy="184666"/>
          </a:xfrm>
          <a:prstGeom prst="rect">
            <a:avLst/>
          </a:prstGeom>
          <a:noFill/>
        </p:spPr>
        <p:txBody>
          <a:bodyPr wrap="none" lIns="72000" tIns="0" rIns="72000" bIns="0" rtlCol="0" anchor="ctr">
            <a:spAutoFit/>
          </a:bodyPr>
          <a:lstStyle/>
          <a:p>
            <a:pPr algn="r"/>
            <a:r>
              <a:rPr lang="de-DE" sz="1200" noProof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abelle</a:t>
            </a:r>
            <a:r>
              <a:rPr lang="de-DE" sz="1200" baseline="0" noProof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  <a:r>
              <a:rPr lang="de-DE" sz="1200" noProof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(Vollflächig)</a:t>
            </a:r>
          </a:p>
        </p:txBody>
      </p:sp>
    </p:spTree>
    <p:extLst>
      <p:ext uri="{BB962C8B-B14F-4D97-AF65-F5344CB8AC3E}">
        <p14:creationId xmlns:p14="http://schemas.microsoft.com/office/powerpoint/2010/main" val="3348097924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780523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de-DE" sz="2800" b="0" i="0" baseline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" name="Rechteck 12"/>
          <p:cNvSpPr/>
          <p:nvPr userDrawn="1"/>
        </p:nvSpPr>
        <p:spPr>
          <a:xfrm>
            <a:off x="-794" y="0"/>
            <a:ext cx="12193588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cxnSp>
        <p:nvCxnSpPr>
          <p:cNvPr id="8" name="Gerade Verbindung 7"/>
          <p:cNvCxnSpPr/>
          <p:nvPr userDrawn="1"/>
        </p:nvCxnSpPr>
        <p:spPr>
          <a:xfrm>
            <a:off x="-1" y="900000"/>
            <a:ext cx="12204000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4"/>
          <p:cNvCxnSpPr/>
          <p:nvPr userDrawn="1"/>
        </p:nvCxnSpPr>
        <p:spPr>
          <a:xfrm>
            <a:off x="5988050" y="918000"/>
            <a:ext cx="0" cy="594000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015296242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Kopfzeile Unter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/>
          <p:cNvSpPr/>
          <p:nvPr userDrawn="1"/>
        </p:nvSpPr>
        <p:spPr>
          <a:xfrm>
            <a:off x="-794" y="0"/>
            <a:ext cx="12193588" cy="89999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" name="object 4">
            <a:extLst>
              <a:ext uri="{FF2B5EF4-FFF2-40B4-BE49-F238E27FC236}">
                <a16:creationId xmlns:a16="http://schemas.microsoft.com/office/drawing/2014/main" id="{880C4227-47B7-694C-8443-CF01E2AE097C}"/>
              </a:ext>
            </a:extLst>
          </p:cNvPr>
          <p:cNvSpPr/>
          <p:nvPr userDrawn="1"/>
        </p:nvSpPr>
        <p:spPr>
          <a:xfrm>
            <a:off x="2681" y="899998"/>
            <a:ext cx="12193200" cy="158460"/>
          </a:xfrm>
          <a:custGeom>
            <a:avLst/>
            <a:gdLst/>
            <a:ahLst/>
            <a:cxnLst/>
            <a:rect l="l" t="t" r="r" b="b"/>
            <a:pathLst>
              <a:path w="12192635">
                <a:moveTo>
                  <a:pt x="0" y="0"/>
                </a:moveTo>
                <a:lnTo>
                  <a:pt x="12192113" y="0"/>
                </a:lnTo>
              </a:path>
            </a:pathLst>
          </a:custGeom>
          <a:ln w="28575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143711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feld 7"/>
          <p:cNvSpPr txBox="1"/>
          <p:nvPr userDrawn="1"/>
        </p:nvSpPr>
        <p:spPr>
          <a:xfrm rot="16200000">
            <a:off x="8631237" y="3297236"/>
            <a:ext cx="6857999" cy="263527"/>
          </a:xfrm>
          <a:prstGeom prst="rect">
            <a:avLst/>
          </a:prstGeom>
          <a:solidFill>
            <a:schemeClr val="bg2"/>
          </a:solidFill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endParaRPr lang="de-DE" sz="800" kern="1200" spc="-30" baseline="0">
              <a:solidFill>
                <a:schemeClr val="accent5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Textfeld 8"/>
          <p:cNvSpPr txBox="1"/>
          <p:nvPr userDrawn="1"/>
        </p:nvSpPr>
        <p:spPr>
          <a:xfrm rot="16200000">
            <a:off x="11605877" y="322597"/>
            <a:ext cx="908719" cy="263527"/>
          </a:xfrm>
          <a:prstGeom prst="rect">
            <a:avLst/>
          </a:prstGeom>
          <a:noFill/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r>
              <a:rPr lang="de-DE" sz="800" kern="1200" spc="-3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© Rödl &amp; Partner </a:t>
            </a:r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>
          <a:xfrm>
            <a:off x="263525" y="260648"/>
            <a:ext cx="11449049" cy="396000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GB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263525" y="1065214"/>
            <a:ext cx="11449048" cy="288000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de-DE"/>
              <a:t>Untertitel durch Klicken hinzufügen</a:t>
            </a:r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14"/>
          </p:nvPr>
        </p:nvSpPr>
        <p:spPr>
          <a:xfrm>
            <a:off x="11928648" y="6453187"/>
            <a:ext cx="263350" cy="404813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lang="de-DE" sz="1100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algn="ctr"/>
            <a:fld id="{4CFEB0D3-1EB3-4F08-8062-95FFB9749870}" type="slidenum">
              <a:rPr lang="de-DE" smtClean="0"/>
              <a:pPr algn="ctr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55654794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Kapiteleinstieg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173139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de-DE" sz="2800" b="0" i="0" baseline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" name="Rechteck 9"/>
          <p:cNvSpPr/>
          <p:nvPr userDrawn="1"/>
        </p:nvSpPr>
        <p:spPr>
          <a:xfrm>
            <a:off x="0" y="1"/>
            <a:ext cx="12193588" cy="900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cxnSp>
        <p:nvCxnSpPr>
          <p:cNvPr id="13" name="Gerade Verbindung 12"/>
          <p:cNvCxnSpPr/>
          <p:nvPr userDrawn="1"/>
        </p:nvCxnSpPr>
        <p:spPr>
          <a:xfrm>
            <a:off x="0" y="900000"/>
            <a:ext cx="11928475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feld 7"/>
          <p:cNvSpPr txBox="1"/>
          <p:nvPr userDrawn="1"/>
        </p:nvSpPr>
        <p:spPr>
          <a:xfrm rot="16200000">
            <a:off x="8631237" y="3297236"/>
            <a:ext cx="6857999" cy="263527"/>
          </a:xfrm>
          <a:prstGeom prst="rect">
            <a:avLst/>
          </a:prstGeom>
          <a:solidFill>
            <a:schemeClr val="bg2"/>
          </a:solidFill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endParaRPr lang="de-DE" sz="800" kern="1200" spc="-30" baseline="0">
              <a:solidFill>
                <a:schemeClr val="accent5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Textfeld 8"/>
          <p:cNvSpPr txBox="1"/>
          <p:nvPr userDrawn="1"/>
        </p:nvSpPr>
        <p:spPr>
          <a:xfrm rot="16200000">
            <a:off x="11605877" y="322597"/>
            <a:ext cx="908719" cy="263527"/>
          </a:xfrm>
          <a:prstGeom prst="rect">
            <a:avLst/>
          </a:prstGeom>
          <a:noFill/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r>
              <a:rPr lang="de-DE" sz="800" kern="1200" spc="-3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© Rödl &amp; Partner 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5"/>
          </p:nvPr>
        </p:nvSpPr>
        <p:spPr>
          <a:xfrm>
            <a:off x="11928648" y="6453187"/>
            <a:ext cx="263350" cy="404813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lang="de-DE" sz="1100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algn="ctr"/>
            <a:fld id="{4CFEB0D3-1EB3-4F08-8062-95FFB9749870}" type="slidenum">
              <a:rPr lang="de-DE" smtClean="0"/>
              <a:pPr algn="ctr"/>
              <a:t>‹Nr.›</a:t>
            </a:fld>
            <a:endParaRPr lang="de-DE"/>
          </a:p>
        </p:txBody>
      </p:sp>
      <p:sp>
        <p:nvSpPr>
          <p:cNvPr id="12" name="Textplatzhalter 15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914400"/>
            <a:ext cx="11928472" cy="991792"/>
          </a:xfrm>
          <a:solidFill>
            <a:schemeClr val="tx2"/>
          </a:solidFill>
          <a:effectLst>
            <a:outerShdw dist="27940" dir="5400000" algn="t" rotWithShape="0">
              <a:schemeClr val="tx1"/>
            </a:outerShdw>
          </a:effectLst>
        </p:spPr>
        <p:txBody>
          <a:bodyPr lIns="1170000" tIns="72000" bIns="72000">
            <a:spAutoFit/>
          </a:bodyPr>
          <a:lstStyle>
            <a:lvl1pPr>
              <a:lnSpc>
                <a:spcPts val="6600"/>
              </a:lnSpc>
              <a:defRPr sz="6000" cap="all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de-DE"/>
              <a:t>Text bearbeiten</a:t>
            </a:r>
          </a:p>
        </p:txBody>
      </p:sp>
    </p:spTree>
    <p:extLst>
      <p:ext uri="{BB962C8B-B14F-4D97-AF65-F5344CB8AC3E}">
        <p14:creationId xmlns:p14="http://schemas.microsoft.com/office/powerpoint/2010/main" val="247935916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einstieg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/>
          <p:cNvSpPr/>
          <p:nvPr userDrawn="1"/>
        </p:nvSpPr>
        <p:spPr>
          <a:xfrm>
            <a:off x="-794" y="0"/>
            <a:ext cx="12193588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" name="object 4">
            <a:extLst>
              <a:ext uri="{FF2B5EF4-FFF2-40B4-BE49-F238E27FC236}">
                <a16:creationId xmlns:a16="http://schemas.microsoft.com/office/drawing/2014/main" id="{880C4227-47B7-694C-8443-CF01E2AE097C}"/>
              </a:ext>
            </a:extLst>
          </p:cNvPr>
          <p:cNvSpPr/>
          <p:nvPr userDrawn="1"/>
        </p:nvSpPr>
        <p:spPr>
          <a:xfrm>
            <a:off x="2681" y="899998"/>
            <a:ext cx="12193200" cy="158460"/>
          </a:xfrm>
          <a:custGeom>
            <a:avLst/>
            <a:gdLst/>
            <a:ahLst/>
            <a:cxnLst/>
            <a:rect l="l" t="t" r="r" b="b"/>
            <a:pathLst>
              <a:path w="12192635">
                <a:moveTo>
                  <a:pt x="0" y="0"/>
                </a:moveTo>
                <a:lnTo>
                  <a:pt x="12192113" y="0"/>
                </a:lnTo>
              </a:path>
            </a:pathLst>
          </a:custGeom>
          <a:ln w="28575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658462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feld 7"/>
          <p:cNvSpPr txBox="1"/>
          <p:nvPr userDrawn="1"/>
        </p:nvSpPr>
        <p:spPr>
          <a:xfrm rot="16200000">
            <a:off x="8631237" y="3297236"/>
            <a:ext cx="6857999" cy="263527"/>
          </a:xfrm>
          <a:prstGeom prst="rect">
            <a:avLst/>
          </a:prstGeom>
          <a:solidFill>
            <a:schemeClr val="bg2"/>
          </a:solidFill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endParaRPr lang="de-DE" sz="800" kern="1200" spc="-30" baseline="0" dirty="0">
              <a:solidFill>
                <a:schemeClr val="accent5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Textfeld 8"/>
          <p:cNvSpPr txBox="1"/>
          <p:nvPr userDrawn="1"/>
        </p:nvSpPr>
        <p:spPr>
          <a:xfrm rot="16200000">
            <a:off x="11605877" y="322597"/>
            <a:ext cx="908719" cy="263527"/>
          </a:xfrm>
          <a:prstGeom prst="rect">
            <a:avLst/>
          </a:prstGeom>
          <a:noFill/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r>
              <a:rPr lang="de-DE" sz="800" kern="1200" spc="-3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© Rödl &amp; Partner </a:t>
            </a:r>
          </a:p>
        </p:txBody>
      </p:sp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>
          <a:xfrm>
            <a:off x="263525" y="260648"/>
            <a:ext cx="11449049" cy="396000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de-DE" dirty="0" err="1"/>
              <a:t>kapitel</a:t>
            </a:r>
            <a:endParaRPr lang="en-GB" dirty="0"/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10"/>
          </p:nvPr>
        </p:nvSpPr>
        <p:spPr>
          <a:xfrm>
            <a:off x="11928648" y="6453187"/>
            <a:ext cx="263350" cy="404813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lang="de-DE" sz="1100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algn="ctr"/>
            <a:fld id="{4CFEB0D3-1EB3-4F08-8062-95FFB9749870}" type="slidenum">
              <a:rPr lang="de-DE" smtClean="0"/>
              <a:pPr algn="ctr"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78208698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Untertitel + Kopfzeile + Fließtextkas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758399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de-DE" sz="2800" b="0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cxnSp>
        <p:nvCxnSpPr>
          <p:cNvPr id="20" name="Gerade Verbindung 19"/>
          <p:cNvCxnSpPr/>
          <p:nvPr userDrawn="1"/>
        </p:nvCxnSpPr>
        <p:spPr>
          <a:xfrm>
            <a:off x="0" y="900000"/>
            <a:ext cx="11928475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3B32DA5B-3025-5D45-A927-BAED7D4FEB3A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263525" y="1052736"/>
            <a:ext cx="11448000" cy="34631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 noProof="0" dirty="0"/>
              <a:t>UNTERTITEL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4CFEB0D3-1EB3-4F08-8062-95FFB9749870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1" name="Textplatzhalter 12"/>
          <p:cNvSpPr>
            <a:spLocks noGrp="1"/>
          </p:cNvSpPr>
          <p:nvPr>
            <p:ph type="body" sz="quarter" idx="12" hasCustomPrompt="1"/>
          </p:nvPr>
        </p:nvSpPr>
        <p:spPr>
          <a:xfrm>
            <a:off x="263524" y="6248400"/>
            <a:ext cx="11449049" cy="204788"/>
          </a:xfrm>
        </p:spPr>
        <p:txBody>
          <a:bodyPr vert="horz" lIns="0" tIns="0" rIns="0" bIns="0" rtlCol="0" anchor="b">
            <a:noAutofit/>
          </a:bodyPr>
          <a:lstStyle>
            <a:lvl1pPr>
              <a:defRPr lang="de-DE" sz="1000" dirty="0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Fußnote durch Klicken hinzufügen</a:t>
            </a:r>
          </a:p>
        </p:txBody>
      </p:sp>
      <p:sp>
        <p:nvSpPr>
          <p:cNvPr id="12" name="Textplatzhalter 14"/>
          <p:cNvSpPr>
            <a:spLocks noGrp="1"/>
          </p:cNvSpPr>
          <p:nvPr>
            <p:ph type="body" sz="quarter" idx="13"/>
          </p:nvPr>
        </p:nvSpPr>
        <p:spPr>
          <a:xfrm>
            <a:off x="263525" y="1457326"/>
            <a:ext cx="11449048" cy="4610100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55879765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Kopfzeile + Fließtextkas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16707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de-DE" sz="2800" b="0" i="0" baseline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cxnSp>
        <p:nvCxnSpPr>
          <p:cNvPr id="20" name="Gerade Verbindung 19"/>
          <p:cNvCxnSpPr/>
          <p:nvPr userDrawn="1"/>
        </p:nvCxnSpPr>
        <p:spPr>
          <a:xfrm>
            <a:off x="0" y="900000"/>
            <a:ext cx="11928475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4CFEB0D3-1EB3-4F08-8062-95FFB9749870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9" name="Textplatzhalter 12"/>
          <p:cNvSpPr>
            <a:spLocks noGrp="1"/>
          </p:cNvSpPr>
          <p:nvPr>
            <p:ph type="body" sz="quarter" idx="12" hasCustomPrompt="1"/>
          </p:nvPr>
        </p:nvSpPr>
        <p:spPr>
          <a:xfrm>
            <a:off x="263524" y="6248400"/>
            <a:ext cx="11449049" cy="204788"/>
          </a:xfrm>
        </p:spPr>
        <p:txBody>
          <a:bodyPr vert="horz" lIns="0" tIns="0" rIns="0" bIns="0" rtlCol="0" anchor="b">
            <a:noAutofit/>
          </a:bodyPr>
          <a:lstStyle>
            <a:lvl1pPr>
              <a:defRPr lang="de-DE" sz="1000" dirty="0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de-DE"/>
              <a:t>Fußnote durch Klicken hinzufügen</a:t>
            </a:r>
          </a:p>
        </p:txBody>
      </p:sp>
      <p:sp>
        <p:nvSpPr>
          <p:cNvPr id="10" name="Textplatzhalter 14"/>
          <p:cNvSpPr>
            <a:spLocks noGrp="1"/>
          </p:cNvSpPr>
          <p:nvPr>
            <p:ph type="body" sz="quarter" idx="13"/>
          </p:nvPr>
        </p:nvSpPr>
        <p:spPr>
          <a:xfrm>
            <a:off x="263525" y="1457326"/>
            <a:ext cx="11449048" cy="4610100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76938409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Kopfzeile Untertitel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platzhalter 14"/>
          <p:cNvSpPr>
            <a:spLocks noGrp="1"/>
          </p:cNvSpPr>
          <p:nvPr>
            <p:ph type="body" sz="quarter" idx="13"/>
          </p:nvPr>
        </p:nvSpPr>
        <p:spPr>
          <a:xfrm>
            <a:off x="263525" y="1457326"/>
            <a:ext cx="11449048" cy="4610100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5" name="Rechteck 4"/>
          <p:cNvSpPr/>
          <p:nvPr userDrawn="1"/>
        </p:nvSpPr>
        <p:spPr>
          <a:xfrm>
            <a:off x="-794" y="0"/>
            <a:ext cx="12193588" cy="89999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" name="object 4">
            <a:extLst>
              <a:ext uri="{FF2B5EF4-FFF2-40B4-BE49-F238E27FC236}">
                <a16:creationId xmlns:a16="http://schemas.microsoft.com/office/drawing/2014/main" id="{880C4227-47B7-694C-8443-CF01E2AE097C}"/>
              </a:ext>
            </a:extLst>
          </p:cNvPr>
          <p:cNvSpPr/>
          <p:nvPr userDrawn="1"/>
        </p:nvSpPr>
        <p:spPr>
          <a:xfrm>
            <a:off x="2681" y="899998"/>
            <a:ext cx="12193200" cy="158460"/>
          </a:xfrm>
          <a:custGeom>
            <a:avLst/>
            <a:gdLst/>
            <a:ahLst/>
            <a:cxnLst/>
            <a:rect l="l" t="t" r="r" b="b"/>
            <a:pathLst>
              <a:path w="12192635">
                <a:moveTo>
                  <a:pt x="0" y="0"/>
                </a:moveTo>
                <a:lnTo>
                  <a:pt x="12192113" y="0"/>
                </a:lnTo>
              </a:path>
            </a:pathLst>
          </a:custGeom>
          <a:ln w="28575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851278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feld 7"/>
          <p:cNvSpPr txBox="1"/>
          <p:nvPr userDrawn="1"/>
        </p:nvSpPr>
        <p:spPr>
          <a:xfrm rot="16200000">
            <a:off x="8631237" y="3297236"/>
            <a:ext cx="6857999" cy="263527"/>
          </a:xfrm>
          <a:prstGeom prst="rect">
            <a:avLst/>
          </a:prstGeom>
          <a:solidFill>
            <a:schemeClr val="bg2"/>
          </a:solidFill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endParaRPr lang="de-DE" sz="800" kern="1200" spc="-30" baseline="0">
              <a:solidFill>
                <a:schemeClr val="accent5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Textfeld 8"/>
          <p:cNvSpPr txBox="1"/>
          <p:nvPr userDrawn="1"/>
        </p:nvSpPr>
        <p:spPr>
          <a:xfrm rot="16200000">
            <a:off x="11605877" y="322597"/>
            <a:ext cx="908719" cy="263527"/>
          </a:xfrm>
          <a:prstGeom prst="rect">
            <a:avLst/>
          </a:prstGeom>
          <a:noFill/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r>
              <a:rPr lang="de-DE" sz="800" kern="1200" spc="-3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© Rödl &amp; Partner </a:t>
            </a:r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>
          <a:xfrm>
            <a:off x="263525" y="260648"/>
            <a:ext cx="11449049" cy="396000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GB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263525" y="1065214"/>
            <a:ext cx="11449048" cy="288000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de-DE"/>
              <a:t>Untertitel durch Klicken hinzufügen</a:t>
            </a:r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2" hasCustomPrompt="1"/>
          </p:nvPr>
        </p:nvSpPr>
        <p:spPr>
          <a:xfrm>
            <a:off x="263524" y="6248400"/>
            <a:ext cx="11449049" cy="204788"/>
          </a:xfrm>
        </p:spPr>
        <p:txBody>
          <a:bodyPr vert="horz" lIns="0" tIns="0" rIns="0" bIns="0" rtlCol="0" anchor="b">
            <a:noAutofit/>
          </a:bodyPr>
          <a:lstStyle>
            <a:lvl1pPr>
              <a:defRPr lang="de-DE" sz="1000" dirty="0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de-DE"/>
              <a:t>Fußnote durch Klicken hinzufügen</a:t>
            </a:r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14"/>
          </p:nvPr>
        </p:nvSpPr>
        <p:spPr>
          <a:xfrm>
            <a:off x="11928648" y="6453187"/>
            <a:ext cx="263350" cy="404813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lang="de-DE" sz="1100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algn="ctr"/>
            <a:fld id="{4CFEB0D3-1EB3-4F08-8062-95FFB9749870}" type="slidenum">
              <a:rPr lang="de-DE" smtClean="0"/>
              <a:pPr algn="ctr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17360023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Kapiteleinstieg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/>
          <p:cNvSpPr/>
          <p:nvPr userDrawn="1"/>
        </p:nvSpPr>
        <p:spPr>
          <a:xfrm>
            <a:off x="-794" y="0"/>
            <a:ext cx="12193588" cy="89999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" name="object 4">
            <a:extLst>
              <a:ext uri="{FF2B5EF4-FFF2-40B4-BE49-F238E27FC236}">
                <a16:creationId xmlns:a16="http://schemas.microsoft.com/office/drawing/2014/main" id="{880C4227-47B7-694C-8443-CF01E2AE097C}"/>
              </a:ext>
            </a:extLst>
          </p:cNvPr>
          <p:cNvSpPr/>
          <p:nvPr userDrawn="1"/>
        </p:nvSpPr>
        <p:spPr>
          <a:xfrm>
            <a:off x="2681" y="899998"/>
            <a:ext cx="12193200" cy="158460"/>
          </a:xfrm>
          <a:custGeom>
            <a:avLst/>
            <a:gdLst/>
            <a:ahLst/>
            <a:cxnLst/>
            <a:rect l="l" t="t" r="r" b="b"/>
            <a:pathLst>
              <a:path w="12192635">
                <a:moveTo>
                  <a:pt x="0" y="0"/>
                </a:moveTo>
                <a:lnTo>
                  <a:pt x="12192113" y="0"/>
                </a:lnTo>
              </a:path>
            </a:pathLst>
          </a:custGeom>
          <a:ln w="28575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336922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feld 7"/>
          <p:cNvSpPr txBox="1"/>
          <p:nvPr userDrawn="1"/>
        </p:nvSpPr>
        <p:spPr>
          <a:xfrm rot="16200000">
            <a:off x="8631237" y="3297236"/>
            <a:ext cx="6857999" cy="263527"/>
          </a:xfrm>
          <a:prstGeom prst="rect">
            <a:avLst/>
          </a:prstGeom>
          <a:solidFill>
            <a:schemeClr val="bg2"/>
          </a:solidFill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endParaRPr lang="de-DE" sz="800" kern="1200" spc="-30" baseline="0">
              <a:solidFill>
                <a:schemeClr val="accent5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Textfeld 8"/>
          <p:cNvSpPr txBox="1"/>
          <p:nvPr userDrawn="1"/>
        </p:nvSpPr>
        <p:spPr>
          <a:xfrm rot="16200000">
            <a:off x="11605877" y="322597"/>
            <a:ext cx="908719" cy="263527"/>
          </a:xfrm>
          <a:prstGeom prst="rect">
            <a:avLst/>
          </a:prstGeom>
          <a:noFill/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r>
              <a:rPr lang="de-DE" sz="800" kern="1200" spc="-3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© Rödl &amp; Partner </a:t>
            </a:r>
          </a:p>
        </p:txBody>
      </p:sp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>
          <a:xfrm>
            <a:off x="263525" y="260648"/>
            <a:ext cx="11449049" cy="396000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de-DE" err="1"/>
              <a:t>kapitel</a:t>
            </a:r>
            <a:endParaRPr lang="en-GB"/>
          </a:p>
        </p:txBody>
      </p:sp>
      <p:sp>
        <p:nvSpPr>
          <p:cNvPr id="17" name="Foliennummernplatzhalter 16"/>
          <p:cNvSpPr>
            <a:spLocks noGrp="1"/>
          </p:cNvSpPr>
          <p:nvPr>
            <p:ph type="sldNum" sz="quarter" idx="10"/>
          </p:nvPr>
        </p:nvSpPr>
        <p:spPr>
          <a:xfrm>
            <a:off x="11928648" y="6453187"/>
            <a:ext cx="263350" cy="404813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lang="de-DE" sz="1100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algn="ctr"/>
            <a:fld id="{4CFEB0D3-1EB3-4F08-8062-95FFB9749870}" type="slidenum">
              <a:rPr lang="de-DE" smtClean="0"/>
              <a:pPr algn="ctr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88143950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einstieg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/>
          <p:cNvSpPr/>
          <p:nvPr userDrawn="1"/>
        </p:nvSpPr>
        <p:spPr>
          <a:xfrm>
            <a:off x="-794" y="0"/>
            <a:ext cx="12193588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6"/>
          </p:nvPr>
        </p:nvSpPr>
        <p:spPr>
          <a:xfrm>
            <a:off x="4822022" y="-2841"/>
            <a:ext cx="7110000" cy="6859253"/>
          </a:xfrm>
          <a:solidFill>
            <a:schemeClr val="bg1"/>
          </a:solidFill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GB"/>
          </a:p>
        </p:txBody>
      </p:sp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33743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feld 7"/>
          <p:cNvSpPr txBox="1"/>
          <p:nvPr userDrawn="1"/>
        </p:nvSpPr>
        <p:spPr>
          <a:xfrm rot="16200000">
            <a:off x="8631237" y="3297236"/>
            <a:ext cx="6857999" cy="263527"/>
          </a:xfrm>
          <a:prstGeom prst="rect">
            <a:avLst/>
          </a:prstGeom>
          <a:solidFill>
            <a:schemeClr val="bg2"/>
          </a:solidFill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endParaRPr lang="de-DE" sz="800" kern="1200" spc="-30" baseline="0">
              <a:solidFill>
                <a:schemeClr val="accent5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Textfeld 8"/>
          <p:cNvSpPr txBox="1"/>
          <p:nvPr userDrawn="1"/>
        </p:nvSpPr>
        <p:spPr>
          <a:xfrm rot="16200000">
            <a:off x="11605877" y="322597"/>
            <a:ext cx="908719" cy="263527"/>
          </a:xfrm>
          <a:prstGeom prst="rect">
            <a:avLst/>
          </a:prstGeom>
          <a:noFill/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r>
              <a:rPr lang="de-DE" sz="800" kern="1200" spc="-3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© Rödl &amp; Partner </a:t>
            </a:r>
          </a:p>
        </p:txBody>
      </p:sp>
      <p:sp>
        <p:nvSpPr>
          <p:cNvPr id="16" name="object 6">
            <a:extLst>
              <a:ext uri="{FF2B5EF4-FFF2-40B4-BE49-F238E27FC236}">
                <a16:creationId xmlns:a16="http://schemas.microsoft.com/office/drawing/2014/main" id="{35B15152-362B-804E-8180-EB8D98DF2756}"/>
              </a:ext>
            </a:extLst>
          </p:cNvPr>
          <p:cNvSpPr/>
          <p:nvPr userDrawn="1"/>
        </p:nvSpPr>
        <p:spPr>
          <a:xfrm>
            <a:off x="4816097" y="-6350"/>
            <a:ext cx="45719" cy="6864350"/>
          </a:xfrm>
          <a:custGeom>
            <a:avLst/>
            <a:gdLst/>
            <a:ahLst/>
            <a:cxnLst/>
            <a:rect l="l" t="t" r="r" b="b"/>
            <a:pathLst>
              <a:path h="4698365">
                <a:moveTo>
                  <a:pt x="0" y="0"/>
                </a:moveTo>
                <a:lnTo>
                  <a:pt x="0" y="4697996"/>
                </a:lnTo>
              </a:path>
            </a:pathLst>
          </a:custGeom>
          <a:ln w="285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7" name="Foliennummernplatzhalter 16"/>
          <p:cNvSpPr>
            <a:spLocks noGrp="1"/>
          </p:cNvSpPr>
          <p:nvPr>
            <p:ph type="sldNum" sz="quarter" idx="17"/>
          </p:nvPr>
        </p:nvSpPr>
        <p:spPr>
          <a:xfrm>
            <a:off x="11928648" y="6453187"/>
            <a:ext cx="263350" cy="404813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ctr">
              <a:defRPr sz="11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4CFEB0D3-1EB3-4F08-8062-95FFB9749870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4" name="Textplatzhalter 15">
            <a:extLst>
              <a:ext uri="{FF2B5EF4-FFF2-40B4-BE49-F238E27FC236}">
                <a16:creationId xmlns:a16="http://schemas.microsoft.com/office/drawing/2014/main" id="{1A835BE2-55CD-2A46-97A5-3378A6C95F2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" y="244800"/>
            <a:ext cx="4799856" cy="641726"/>
          </a:xfrm>
          <a:solidFill>
            <a:schemeClr val="tx2"/>
          </a:solidFill>
          <a:effectLst>
            <a:outerShdw dist="27940" dir="5100000" algn="t" rotWithShape="0">
              <a:prstClr val="black"/>
            </a:outerShdw>
          </a:effectLst>
        </p:spPr>
        <p:txBody>
          <a:bodyPr wrap="square" lIns="262800" rIns="144000" bIns="208800">
            <a:sp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2800" cap="all" spc="-7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de-DE" err="1"/>
              <a:t>KApitel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17769906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einstieg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/>
          <p:cNvSpPr/>
          <p:nvPr userDrawn="1"/>
        </p:nvSpPr>
        <p:spPr>
          <a:xfrm>
            <a:off x="-794" y="0"/>
            <a:ext cx="12193588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" name="object 4">
            <a:extLst>
              <a:ext uri="{FF2B5EF4-FFF2-40B4-BE49-F238E27FC236}">
                <a16:creationId xmlns:a16="http://schemas.microsoft.com/office/drawing/2014/main" id="{880C4227-47B7-694C-8443-CF01E2AE097C}"/>
              </a:ext>
            </a:extLst>
          </p:cNvPr>
          <p:cNvSpPr/>
          <p:nvPr userDrawn="1"/>
        </p:nvSpPr>
        <p:spPr>
          <a:xfrm>
            <a:off x="2681" y="899998"/>
            <a:ext cx="12193200" cy="158460"/>
          </a:xfrm>
          <a:custGeom>
            <a:avLst/>
            <a:gdLst/>
            <a:ahLst/>
            <a:cxnLst/>
            <a:rect l="l" t="t" r="r" b="b"/>
            <a:pathLst>
              <a:path w="12192635">
                <a:moveTo>
                  <a:pt x="0" y="0"/>
                </a:moveTo>
                <a:lnTo>
                  <a:pt x="12192113" y="0"/>
                </a:lnTo>
              </a:path>
            </a:pathLst>
          </a:custGeom>
          <a:ln w="28575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397089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feld 7"/>
          <p:cNvSpPr txBox="1"/>
          <p:nvPr userDrawn="1"/>
        </p:nvSpPr>
        <p:spPr>
          <a:xfrm rot="16200000">
            <a:off x="8631237" y="3297236"/>
            <a:ext cx="6857999" cy="263527"/>
          </a:xfrm>
          <a:prstGeom prst="rect">
            <a:avLst/>
          </a:prstGeom>
          <a:solidFill>
            <a:schemeClr val="bg2"/>
          </a:solidFill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endParaRPr lang="de-DE" sz="800" kern="1200" spc="-30" baseline="0">
              <a:solidFill>
                <a:schemeClr val="accent5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Textfeld 8"/>
          <p:cNvSpPr txBox="1"/>
          <p:nvPr userDrawn="1"/>
        </p:nvSpPr>
        <p:spPr>
          <a:xfrm rot="16200000">
            <a:off x="11605877" y="322597"/>
            <a:ext cx="908719" cy="263527"/>
          </a:xfrm>
          <a:prstGeom prst="rect">
            <a:avLst/>
          </a:prstGeom>
          <a:noFill/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r>
              <a:rPr lang="de-DE" sz="800" kern="1200" spc="-3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© Rödl &amp; Partner </a:t>
            </a:r>
          </a:p>
        </p:txBody>
      </p:sp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>
          <a:xfrm>
            <a:off x="263525" y="260648"/>
            <a:ext cx="11449049" cy="396000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de-DE" err="1"/>
              <a:t>kapitel</a:t>
            </a:r>
            <a:endParaRPr lang="en-GB"/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10"/>
          </p:nvPr>
        </p:nvSpPr>
        <p:spPr>
          <a:xfrm>
            <a:off x="11928648" y="6453187"/>
            <a:ext cx="263350" cy="404813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lang="de-DE" sz="1100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algn="ctr"/>
            <a:fld id="{4CFEB0D3-1EB3-4F08-8062-95FFB9749870}" type="slidenum">
              <a:rPr lang="de-DE" smtClean="0"/>
              <a:pPr algn="ctr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01401249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einstieg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/>
          <p:cNvSpPr/>
          <p:nvPr userDrawn="1"/>
        </p:nvSpPr>
        <p:spPr>
          <a:xfrm>
            <a:off x="-794" y="0"/>
            <a:ext cx="12193588" cy="89999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" name="object 4">
            <a:extLst>
              <a:ext uri="{FF2B5EF4-FFF2-40B4-BE49-F238E27FC236}">
                <a16:creationId xmlns:a16="http://schemas.microsoft.com/office/drawing/2014/main" id="{880C4227-47B7-694C-8443-CF01E2AE097C}"/>
              </a:ext>
            </a:extLst>
          </p:cNvPr>
          <p:cNvSpPr/>
          <p:nvPr userDrawn="1"/>
        </p:nvSpPr>
        <p:spPr>
          <a:xfrm>
            <a:off x="2681" y="899998"/>
            <a:ext cx="12193200" cy="158460"/>
          </a:xfrm>
          <a:custGeom>
            <a:avLst/>
            <a:gdLst/>
            <a:ahLst/>
            <a:cxnLst/>
            <a:rect l="l" t="t" r="r" b="b"/>
            <a:pathLst>
              <a:path w="12192635">
                <a:moveTo>
                  <a:pt x="0" y="0"/>
                </a:moveTo>
                <a:lnTo>
                  <a:pt x="12192113" y="0"/>
                </a:lnTo>
              </a:path>
            </a:pathLst>
          </a:custGeom>
          <a:ln w="28575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648381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feld 7"/>
          <p:cNvSpPr txBox="1"/>
          <p:nvPr userDrawn="1"/>
        </p:nvSpPr>
        <p:spPr>
          <a:xfrm rot="16200000">
            <a:off x="8631237" y="3297236"/>
            <a:ext cx="6857999" cy="263527"/>
          </a:xfrm>
          <a:prstGeom prst="rect">
            <a:avLst/>
          </a:prstGeom>
          <a:solidFill>
            <a:schemeClr val="bg2"/>
          </a:solidFill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endParaRPr lang="de-DE" sz="800" kern="1200" spc="-30" baseline="0">
              <a:solidFill>
                <a:schemeClr val="accent5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Textfeld 8"/>
          <p:cNvSpPr txBox="1"/>
          <p:nvPr userDrawn="1"/>
        </p:nvSpPr>
        <p:spPr>
          <a:xfrm rot="16200000">
            <a:off x="11605877" y="322597"/>
            <a:ext cx="908719" cy="263527"/>
          </a:xfrm>
          <a:prstGeom prst="rect">
            <a:avLst/>
          </a:prstGeom>
          <a:noFill/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r>
              <a:rPr lang="de-DE" sz="800" kern="1200" spc="-3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© Rödl &amp; Partner </a:t>
            </a:r>
          </a:p>
        </p:txBody>
      </p:sp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>
          <a:xfrm>
            <a:off x="263525" y="260648"/>
            <a:ext cx="11449049" cy="396000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de-DE" err="1"/>
              <a:t>kapitel</a:t>
            </a:r>
            <a:endParaRPr lang="en-GB"/>
          </a:p>
        </p:txBody>
      </p:sp>
      <p:sp>
        <p:nvSpPr>
          <p:cNvPr id="17" name="Foliennummernplatzhalter 16"/>
          <p:cNvSpPr>
            <a:spLocks noGrp="1"/>
          </p:cNvSpPr>
          <p:nvPr>
            <p:ph type="sldNum" sz="quarter" idx="10"/>
          </p:nvPr>
        </p:nvSpPr>
        <p:spPr>
          <a:xfrm>
            <a:off x="11928648" y="6453187"/>
            <a:ext cx="263350" cy="404813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lang="de-DE" sz="1100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algn="ctr"/>
            <a:fld id="{4CFEB0D3-1EB3-4F08-8062-95FFB9749870}" type="slidenum">
              <a:rPr lang="de-DE" smtClean="0"/>
              <a:pPr algn="ctr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53513975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einstieg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869550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de-DE" sz="2800" b="0" i="0" baseline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" name="Rechteck 9"/>
          <p:cNvSpPr/>
          <p:nvPr userDrawn="1"/>
        </p:nvSpPr>
        <p:spPr>
          <a:xfrm>
            <a:off x="0" y="1"/>
            <a:ext cx="12193588" cy="900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cxnSp>
        <p:nvCxnSpPr>
          <p:cNvPr id="13" name="Gerade Verbindung 12"/>
          <p:cNvCxnSpPr/>
          <p:nvPr userDrawn="1"/>
        </p:nvCxnSpPr>
        <p:spPr>
          <a:xfrm>
            <a:off x="0" y="900000"/>
            <a:ext cx="11928475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feld 7"/>
          <p:cNvSpPr txBox="1"/>
          <p:nvPr userDrawn="1"/>
        </p:nvSpPr>
        <p:spPr>
          <a:xfrm rot="16200000">
            <a:off x="8631237" y="3297236"/>
            <a:ext cx="6857999" cy="263527"/>
          </a:xfrm>
          <a:prstGeom prst="rect">
            <a:avLst/>
          </a:prstGeom>
          <a:solidFill>
            <a:schemeClr val="bg2"/>
          </a:solidFill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endParaRPr lang="de-DE" sz="800" kern="1200" spc="-30" baseline="0">
              <a:solidFill>
                <a:schemeClr val="accent5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Textfeld 8"/>
          <p:cNvSpPr txBox="1"/>
          <p:nvPr userDrawn="1"/>
        </p:nvSpPr>
        <p:spPr>
          <a:xfrm rot="16200000">
            <a:off x="11605877" y="322597"/>
            <a:ext cx="908719" cy="263527"/>
          </a:xfrm>
          <a:prstGeom prst="rect">
            <a:avLst/>
          </a:prstGeom>
          <a:noFill/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r>
              <a:rPr lang="de-DE" sz="800" kern="1200" spc="-3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© Rödl &amp; Partner 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5"/>
          </p:nvPr>
        </p:nvSpPr>
        <p:spPr>
          <a:xfrm>
            <a:off x="11928648" y="6453187"/>
            <a:ext cx="263350" cy="404813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lang="de-DE" sz="1100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algn="ctr"/>
            <a:fld id="{4CFEB0D3-1EB3-4F08-8062-95FFB9749870}" type="slidenum">
              <a:rPr lang="de-DE" smtClean="0"/>
              <a:pPr algn="ctr"/>
              <a:t>‹Nr.›</a:t>
            </a:fld>
            <a:endParaRPr lang="de-DE"/>
          </a:p>
        </p:txBody>
      </p:sp>
      <p:sp>
        <p:nvSpPr>
          <p:cNvPr id="12" name="Textplatzhalter 15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914400"/>
            <a:ext cx="11928472" cy="991792"/>
          </a:xfrm>
          <a:solidFill>
            <a:schemeClr val="tx2"/>
          </a:solidFill>
          <a:effectLst>
            <a:outerShdw dist="27940" dir="5400000" algn="t" rotWithShape="0">
              <a:schemeClr val="tx1"/>
            </a:outerShdw>
          </a:effectLst>
        </p:spPr>
        <p:txBody>
          <a:bodyPr lIns="1170000" tIns="72000" bIns="72000">
            <a:spAutoFit/>
          </a:bodyPr>
          <a:lstStyle>
            <a:lvl1pPr>
              <a:lnSpc>
                <a:spcPts val="6600"/>
              </a:lnSpc>
              <a:defRPr sz="6000" cap="all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de-DE"/>
              <a:t>Text bearbeiten</a:t>
            </a:r>
          </a:p>
        </p:txBody>
      </p:sp>
    </p:spTree>
    <p:extLst>
      <p:ext uri="{BB962C8B-B14F-4D97-AF65-F5344CB8AC3E}">
        <p14:creationId xmlns:p14="http://schemas.microsoft.com/office/powerpoint/2010/main" val="64471983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pfzeile Untertitel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platzhalter 14"/>
          <p:cNvSpPr>
            <a:spLocks noGrp="1"/>
          </p:cNvSpPr>
          <p:nvPr>
            <p:ph type="body" sz="quarter" idx="13"/>
          </p:nvPr>
        </p:nvSpPr>
        <p:spPr>
          <a:xfrm>
            <a:off x="263525" y="1457326"/>
            <a:ext cx="11449048" cy="4610100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5" name="Rechteck 4"/>
          <p:cNvSpPr/>
          <p:nvPr userDrawn="1"/>
        </p:nvSpPr>
        <p:spPr>
          <a:xfrm>
            <a:off x="-794" y="0"/>
            <a:ext cx="12193588" cy="89999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" name="object 4">
            <a:extLst>
              <a:ext uri="{FF2B5EF4-FFF2-40B4-BE49-F238E27FC236}">
                <a16:creationId xmlns:a16="http://schemas.microsoft.com/office/drawing/2014/main" id="{880C4227-47B7-694C-8443-CF01E2AE097C}"/>
              </a:ext>
            </a:extLst>
          </p:cNvPr>
          <p:cNvSpPr/>
          <p:nvPr userDrawn="1"/>
        </p:nvSpPr>
        <p:spPr>
          <a:xfrm>
            <a:off x="2681" y="899998"/>
            <a:ext cx="12193200" cy="158460"/>
          </a:xfrm>
          <a:custGeom>
            <a:avLst/>
            <a:gdLst/>
            <a:ahLst/>
            <a:cxnLst/>
            <a:rect l="l" t="t" r="r" b="b"/>
            <a:pathLst>
              <a:path w="12192635">
                <a:moveTo>
                  <a:pt x="0" y="0"/>
                </a:moveTo>
                <a:lnTo>
                  <a:pt x="12192113" y="0"/>
                </a:lnTo>
              </a:path>
            </a:pathLst>
          </a:custGeom>
          <a:ln w="28575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220223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feld 7"/>
          <p:cNvSpPr txBox="1"/>
          <p:nvPr userDrawn="1"/>
        </p:nvSpPr>
        <p:spPr>
          <a:xfrm rot="16200000">
            <a:off x="8631237" y="3297236"/>
            <a:ext cx="6857999" cy="263527"/>
          </a:xfrm>
          <a:prstGeom prst="rect">
            <a:avLst/>
          </a:prstGeom>
          <a:solidFill>
            <a:schemeClr val="bg2"/>
          </a:solidFill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endParaRPr lang="de-DE" sz="800" kern="1200" spc="-30" baseline="0">
              <a:solidFill>
                <a:schemeClr val="accent5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Textfeld 8"/>
          <p:cNvSpPr txBox="1"/>
          <p:nvPr userDrawn="1"/>
        </p:nvSpPr>
        <p:spPr>
          <a:xfrm rot="16200000">
            <a:off x="11605877" y="322597"/>
            <a:ext cx="908719" cy="263527"/>
          </a:xfrm>
          <a:prstGeom prst="rect">
            <a:avLst/>
          </a:prstGeom>
          <a:noFill/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r>
              <a:rPr lang="de-DE" sz="800" kern="1200" spc="-3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© Rödl &amp; Partner </a:t>
            </a:r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>
          <a:xfrm>
            <a:off x="263525" y="260648"/>
            <a:ext cx="11449049" cy="396000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GB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263525" y="1065214"/>
            <a:ext cx="11449048" cy="288000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de-DE"/>
              <a:t>Untertitel durch Klicken hinzufügen</a:t>
            </a:r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2" hasCustomPrompt="1"/>
          </p:nvPr>
        </p:nvSpPr>
        <p:spPr>
          <a:xfrm>
            <a:off x="263524" y="6248400"/>
            <a:ext cx="11449049" cy="204788"/>
          </a:xfrm>
        </p:spPr>
        <p:txBody>
          <a:bodyPr vert="horz" lIns="0" tIns="0" rIns="0" bIns="0" rtlCol="0" anchor="b">
            <a:noAutofit/>
          </a:bodyPr>
          <a:lstStyle>
            <a:lvl1pPr>
              <a:defRPr lang="de-DE" sz="1000" dirty="0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de-DE"/>
              <a:t>Fußnote durch Klicken hinzufügen</a:t>
            </a:r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14"/>
          </p:nvPr>
        </p:nvSpPr>
        <p:spPr>
          <a:xfrm>
            <a:off x="11928648" y="6453187"/>
            <a:ext cx="263350" cy="404813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lang="de-DE" sz="1100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algn="ctr"/>
            <a:fld id="{4CFEB0D3-1EB3-4F08-8062-95FFB9749870}" type="slidenum">
              <a:rPr lang="de-DE" smtClean="0"/>
              <a:pPr algn="ctr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30173493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pfzeile Unter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/>
          <p:cNvSpPr/>
          <p:nvPr userDrawn="1"/>
        </p:nvSpPr>
        <p:spPr>
          <a:xfrm>
            <a:off x="-794" y="0"/>
            <a:ext cx="12193588" cy="89999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" name="object 4">
            <a:extLst>
              <a:ext uri="{FF2B5EF4-FFF2-40B4-BE49-F238E27FC236}">
                <a16:creationId xmlns:a16="http://schemas.microsoft.com/office/drawing/2014/main" id="{880C4227-47B7-694C-8443-CF01E2AE097C}"/>
              </a:ext>
            </a:extLst>
          </p:cNvPr>
          <p:cNvSpPr/>
          <p:nvPr userDrawn="1"/>
        </p:nvSpPr>
        <p:spPr>
          <a:xfrm>
            <a:off x="2681" y="899998"/>
            <a:ext cx="12193200" cy="158460"/>
          </a:xfrm>
          <a:custGeom>
            <a:avLst/>
            <a:gdLst/>
            <a:ahLst/>
            <a:cxnLst/>
            <a:rect l="l" t="t" r="r" b="b"/>
            <a:pathLst>
              <a:path w="12192635">
                <a:moveTo>
                  <a:pt x="0" y="0"/>
                </a:moveTo>
                <a:lnTo>
                  <a:pt x="12192113" y="0"/>
                </a:lnTo>
              </a:path>
            </a:pathLst>
          </a:custGeom>
          <a:ln w="28575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817579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feld 7"/>
          <p:cNvSpPr txBox="1"/>
          <p:nvPr userDrawn="1"/>
        </p:nvSpPr>
        <p:spPr>
          <a:xfrm rot="16200000">
            <a:off x="8631237" y="3297236"/>
            <a:ext cx="6857999" cy="263527"/>
          </a:xfrm>
          <a:prstGeom prst="rect">
            <a:avLst/>
          </a:prstGeom>
          <a:solidFill>
            <a:schemeClr val="bg2"/>
          </a:solidFill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endParaRPr lang="de-DE" sz="800" kern="1200" spc="-30" baseline="0">
              <a:solidFill>
                <a:schemeClr val="accent5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Textfeld 8"/>
          <p:cNvSpPr txBox="1"/>
          <p:nvPr userDrawn="1"/>
        </p:nvSpPr>
        <p:spPr>
          <a:xfrm rot="16200000">
            <a:off x="11605877" y="322597"/>
            <a:ext cx="908719" cy="263527"/>
          </a:xfrm>
          <a:prstGeom prst="rect">
            <a:avLst/>
          </a:prstGeom>
          <a:noFill/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r>
              <a:rPr lang="de-DE" sz="800" kern="1200" spc="-3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© Rödl &amp; Partner </a:t>
            </a:r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>
          <a:xfrm>
            <a:off x="263525" y="260648"/>
            <a:ext cx="11449049" cy="396000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GB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263525" y="1065214"/>
            <a:ext cx="11449048" cy="288000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de-DE"/>
              <a:t>Untertitel durch Klicken hinzufügen</a:t>
            </a:r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14"/>
          </p:nvPr>
        </p:nvSpPr>
        <p:spPr>
          <a:xfrm>
            <a:off x="11928648" y="6453187"/>
            <a:ext cx="263350" cy="404813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lang="de-DE" sz="1100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algn="ctr"/>
            <a:fld id="{4CFEB0D3-1EB3-4F08-8062-95FFB9749870}" type="slidenum">
              <a:rPr lang="de-DE" smtClean="0"/>
              <a:pPr algn="ctr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5754491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einstieg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/>
          <p:cNvSpPr/>
          <p:nvPr userDrawn="1"/>
        </p:nvSpPr>
        <p:spPr>
          <a:xfrm>
            <a:off x="-794" y="0"/>
            <a:ext cx="12193588" cy="89999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" name="object 4">
            <a:extLst>
              <a:ext uri="{FF2B5EF4-FFF2-40B4-BE49-F238E27FC236}">
                <a16:creationId xmlns:a16="http://schemas.microsoft.com/office/drawing/2014/main" id="{880C4227-47B7-694C-8443-CF01E2AE097C}"/>
              </a:ext>
            </a:extLst>
          </p:cNvPr>
          <p:cNvSpPr/>
          <p:nvPr userDrawn="1"/>
        </p:nvSpPr>
        <p:spPr>
          <a:xfrm>
            <a:off x="2681" y="899998"/>
            <a:ext cx="12193200" cy="158460"/>
          </a:xfrm>
          <a:custGeom>
            <a:avLst/>
            <a:gdLst/>
            <a:ahLst/>
            <a:cxnLst/>
            <a:rect l="l" t="t" r="r" b="b"/>
            <a:pathLst>
              <a:path w="12192635">
                <a:moveTo>
                  <a:pt x="0" y="0"/>
                </a:moveTo>
                <a:lnTo>
                  <a:pt x="12192113" y="0"/>
                </a:lnTo>
              </a:path>
            </a:pathLst>
          </a:custGeom>
          <a:ln w="28575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336922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feld 7"/>
          <p:cNvSpPr txBox="1"/>
          <p:nvPr userDrawn="1"/>
        </p:nvSpPr>
        <p:spPr>
          <a:xfrm rot="16200000">
            <a:off x="8631237" y="3297236"/>
            <a:ext cx="6857999" cy="263527"/>
          </a:xfrm>
          <a:prstGeom prst="rect">
            <a:avLst/>
          </a:prstGeom>
          <a:solidFill>
            <a:schemeClr val="bg2"/>
          </a:solidFill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endParaRPr lang="de-DE" sz="800" kern="1200" spc="-30" baseline="0" dirty="0">
              <a:solidFill>
                <a:schemeClr val="accent5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Textfeld 8"/>
          <p:cNvSpPr txBox="1"/>
          <p:nvPr userDrawn="1"/>
        </p:nvSpPr>
        <p:spPr>
          <a:xfrm rot="16200000">
            <a:off x="11605877" y="322597"/>
            <a:ext cx="908719" cy="263527"/>
          </a:xfrm>
          <a:prstGeom prst="rect">
            <a:avLst/>
          </a:prstGeom>
          <a:noFill/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r>
              <a:rPr lang="de-DE" sz="800" kern="1200" spc="-3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© Rödl &amp; Partner </a:t>
            </a:r>
          </a:p>
        </p:txBody>
      </p:sp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>
          <a:xfrm>
            <a:off x="263525" y="260648"/>
            <a:ext cx="11449049" cy="396000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de-DE" dirty="0" err="1"/>
              <a:t>kapitel</a:t>
            </a:r>
            <a:endParaRPr lang="en-GB" dirty="0"/>
          </a:p>
        </p:txBody>
      </p:sp>
      <p:sp>
        <p:nvSpPr>
          <p:cNvPr id="17" name="Foliennummernplatzhalter 16"/>
          <p:cNvSpPr>
            <a:spLocks noGrp="1"/>
          </p:cNvSpPr>
          <p:nvPr>
            <p:ph type="sldNum" sz="quarter" idx="10"/>
          </p:nvPr>
        </p:nvSpPr>
        <p:spPr>
          <a:xfrm>
            <a:off x="11928648" y="6453187"/>
            <a:ext cx="263350" cy="404813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lang="de-DE" sz="1100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algn="ctr"/>
            <a:fld id="{4CFEB0D3-1EB3-4F08-8062-95FFB9749870}" type="slidenum">
              <a:rPr lang="de-DE" smtClean="0"/>
              <a:pPr algn="ctr"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35353683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pfzeile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platzhalter 14"/>
          <p:cNvSpPr>
            <a:spLocks noGrp="1"/>
          </p:cNvSpPr>
          <p:nvPr>
            <p:ph type="body" sz="quarter" idx="13"/>
          </p:nvPr>
        </p:nvSpPr>
        <p:spPr>
          <a:xfrm>
            <a:off x="263525" y="1058458"/>
            <a:ext cx="11449048" cy="5008968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5" name="Rechteck 4"/>
          <p:cNvSpPr/>
          <p:nvPr userDrawn="1"/>
        </p:nvSpPr>
        <p:spPr>
          <a:xfrm>
            <a:off x="-794" y="0"/>
            <a:ext cx="12193588" cy="89999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" name="object 4">
            <a:extLst>
              <a:ext uri="{FF2B5EF4-FFF2-40B4-BE49-F238E27FC236}">
                <a16:creationId xmlns:a16="http://schemas.microsoft.com/office/drawing/2014/main" id="{880C4227-47B7-694C-8443-CF01E2AE097C}"/>
              </a:ext>
            </a:extLst>
          </p:cNvPr>
          <p:cNvSpPr/>
          <p:nvPr userDrawn="1"/>
        </p:nvSpPr>
        <p:spPr>
          <a:xfrm>
            <a:off x="2681" y="899998"/>
            <a:ext cx="12193200" cy="158460"/>
          </a:xfrm>
          <a:custGeom>
            <a:avLst/>
            <a:gdLst/>
            <a:ahLst/>
            <a:cxnLst/>
            <a:rect l="l" t="t" r="r" b="b"/>
            <a:pathLst>
              <a:path w="12192635">
                <a:moveTo>
                  <a:pt x="0" y="0"/>
                </a:moveTo>
                <a:lnTo>
                  <a:pt x="12192113" y="0"/>
                </a:lnTo>
              </a:path>
            </a:pathLst>
          </a:custGeom>
          <a:ln w="28575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764602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feld 7"/>
          <p:cNvSpPr txBox="1"/>
          <p:nvPr userDrawn="1"/>
        </p:nvSpPr>
        <p:spPr>
          <a:xfrm rot="16200000">
            <a:off x="8631237" y="3297236"/>
            <a:ext cx="6857999" cy="263527"/>
          </a:xfrm>
          <a:prstGeom prst="rect">
            <a:avLst/>
          </a:prstGeom>
          <a:solidFill>
            <a:schemeClr val="bg2"/>
          </a:solidFill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endParaRPr lang="de-DE" sz="800" kern="1200" spc="-30" baseline="0">
              <a:solidFill>
                <a:schemeClr val="accent5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Textfeld 8"/>
          <p:cNvSpPr txBox="1"/>
          <p:nvPr userDrawn="1"/>
        </p:nvSpPr>
        <p:spPr>
          <a:xfrm rot="16200000">
            <a:off x="11605877" y="322597"/>
            <a:ext cx="908719" cy="263527"/>
          </a:xfrm>
          <a:prstGeom prst="rect">
            <a:avLst/>
          </a:prstGeom>
          <a:noFill/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r>
              <a:rPr lang="de-DE" sz="800" kern="1200" spc="-3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© Rödl &amp; Partner </a:t>
            </a:r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>
          <a:xfrm>
            <a:off x="263525" y="260648"/>
            <a:ext cx="11449049" cy="396000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GB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2" hasCustomPrompt="1"/>
          </p:nvPr>
        </p:nvSpPr>
        <p:spPr>
          <a:xfrm>
            <a:off x="263524" y="6248400"/>
            <a:ext cx="11449049" cy="204788"/>
          </a:xfrm>
        </p:spPr>
        <p:txBody>
          <a:bodyPr vert="horz" lIns="0" tIns="0" rIns="0" bIns="0" rtlCol="0" anchor="b">
            <a:noAutofit/>
          </a:bodyPr>
          <a:lstStyle>
            <a:lvl1pPr>
              <a:defRPr lang="de-DE" sz="1000" dirty="0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de-DE"/>
              <a:t>Fußnote durch Klicken hinzufügen</a:t>
            </a:r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14"/>
          </p:nvPr>
        </p:nvSpPr>
        <p:spPr>
          <a:xfrm>
            <a:off x="11928648" y="6453187"/>
            <a:ext cx="263350" cy="404813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lang="de-DE" sz="1100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algn="ctr"/>
            <a:fld id="{4CFEB0D3-1EB3-4F08-8062-95FFB9749870}" type="slidenum">
              <a:rPr lang="de-DE" smtClean="0"/>
              <a:pPr algn="ctr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906656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pfzeile farbig Untertitel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platzhalter 14"/>
          <p:cNvSpPr>
            <a:spLocks noGrp="1"/>
          </p:cNvSpPr>
          <p:nvPr>
            <p:ph type="body" sz="quarter" idx="13"/>
          </p:nvPr>
        </p:nvSpPr>
        <p:spPr>
          <a:xfrm>
            <a:off x="263525" y="1457326"/>
            <a:ext cx="11449048" cy="4610100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12" name="object 4">
            <a:extLst>
              <a:ext uri="{FF2B5EF4-FFF2-40B4-BE49-F238E27FC236}">
                <a16:creationId xmlns:a16="http://schemas.microsoft.com/office/drawing/2014/main" id="{880C4227-47B7-694C-8443-CF01E2AE097C}"/>
              </a:ext>
            </a:extLst>
          </p:cNvPr>
          <p:cNvSpPr/>
          <p:nvPr userDrawn="1"/>
        </p:nvSpPr>
        <p:spPr>
          <a:xfrm>
            <a:off x="2681" y="899998"/>
            <a:ext cx="12193200" cy="158460"/>
          </a:xfrm>
          <a:custGeom>
            <a:avLst/>
            <a:gdLst/>
            <a:ahLst/>
            <a:cxnLst/>
            <a:rect l="l" t="t" r="r" b="b"/>
            <a:pathLst>
              <a:path w="12192635">
                <a:moveTo>
                  <a:pt x="0" y="0"/>
                </a:moveTo>
                <a:lnTo>
                  <a:pt x="12192113" y="0"/>
                </a:lnTo>
              </a:path>
            </a:pathLst>
          </a:custGeom>
          <a:ln w="28575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866665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feld 7"/>
          <p:cNvSpPr txBox="1"/>
          <p:nvPr userDrawn="1"/>
        </p:nvSpPr>
        <p:spPr>
          <a:xfrm rot="16200000">
            <a:off x="8631237" y="3297236"/>
            <a:ext cx="6857999" cy="263527"/>
          </a:xfrm>
          <a:prstGeom prst="rect">
            <a:avLst/>
          </a:prstGeom>
          <a:solidFill>
            <a:schemeClr val="bg2"/>
          </a:solidFill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endParaRPr lang="de-DE" sz="800" kern="1200" spc="-30" baseline="0">
              <a:solidFill>
                <a:schemeClr val="accent5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Textfeld 8"/>
          <p:cNvSpPr txBox="1"/>
          <p:nvPr userDrawn="1"/>
        </p:nvSpPr>
        <p:spPr>
          <a:xfrm rot="16200000">
            <a:off x="11605877" y="322597"/>
            <a:ext cx="908719" cy="263527"/>
          </a:xfrm>
          <a:prstGeom prst="rect">
            <a:avLst/>
          </a:prstGeom>
          <a:noFill/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r>
              <a:rPr lang="de-DE" sz="800" kern="1200" spc="-3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© Rödl &amp; Partner </a:t>
            </a:r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>
          <a:xfrm>
            <a:off x="263525" y="260648"/>
            <a:ext cx="11449049" cy="396000"/>
          </a:xfrm>
        </p:spPr>
        <p:txBody>
          <a:bodyPr/>
          <a:lstStyle>
            <a:lvl1pPr>
              <a:defRPr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GB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263525" y="1065214"/>
            <a:ext cx="11449048" cy="288000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de-DE"/>
              <a:t>Untertitel durch Klicken hinzufügen</a:t>
            </a:r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2" hasCustomPrompt="1"/>
          </p:nvPr>
        </p:nvSpPr>
        <p:spPr>
          <a:xfrm>
            <a:off x="263524" y="6248400"/>
            <a:ext cx="11449049" cy="204788"/>
          </a:xfrm>
        </p:spPr>
        <p:txBody>
          <a:bodyPr vert="horz" lIns="0" tIns="0" rIns="0" bIns="0" rtlCol="0" anchor="b">
            <a:noAutofit/>
          </a:bodyPr>
          <a:lstStyle>
            <a:lvl1pPr>
              <a:defRPr lang="de-DE" sz="1000" dirty="0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de-DE"/>
              <a:t>Fußnote durch Klicken hinzufügen</a:t>
            </a:r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14"/>
          </p:nvPr>
        </p:nvSpPr>
        <p:spPr>
          <a:xfrm>
            <a:off x="11928648" y="6453187"/>
            <a:ext cx="263350" cy="404813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ctr">
              <a:defRPr sz="11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4CFEB0D3-1EB3-4F08-8062-95FFB9749870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37630384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Untertitel + Kopfzeile + Fließtextkas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758399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de-DE" sz="2800" b="0" i="0" baseline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cxnSp>
        <p:nvCxnSpPr>
          <p:cNvPr id="20" name="Gerade Verbindung 19"/>
          <p:cNvCxnSpPr/>
          <p:nvPr userDrawn="1"/>
        </p:nvCxnSpPr>
        <p:spPr>
          <a:xfrm>
            <a:off x="0" y="900000"/>
            <a:ext cx="11928475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3B32DA5B-3025-5D45-A927-BAED7D4FEB3A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263525" y="1052736"/>
            <a:ext cx="11448000" cy="34631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 noProof="0"/>
              <a:t>UNTERTITEL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4CFEB0D3-1EB3-4F08-8062-95FFB9749870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1" name="Textplatzhalter 12"/>
          <p:cNvSpPr>
            <a:spLocks noGrp="1"/>
          </p:cNvSpPr>
          <p:nvPr>
            <p:ph type="body" sz="quarter" idx="12" hasCustomPrompt="1"/>
          </p:nvPr>
        </p:nvSpPr>
        <p:spPr>
          <a:xfrm>
            <a:off x="263524" y="6248400"/>
            <a:ext cx="11449049" cy="204788"/>
          </a:xfrm>
        </p:spPr>
        <p:txBody>
          <a:bodyPr vert="horz" lIns="0" tIns="0" rIns="0" bIns="0" rtlCol="0" anchor="b">
            <a:noAutofit/>
          </a:bodyPr>
          <a:lstStyle>
            <a:lvl1pPr>
              <a:defRPr lang="de-DE" sz="1000" dirty="0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de-DE"/>
              <a:t>Fußnote durch Klicken hinzufügen</a:t>
            </a:r>
          </a:p>
        </p:txBody>
      </p:sp>
      <p:sp>
        <p:nvSpPr>
          <p:cNvPr id="12" name="Textplatzhalter 14"/>
          <p:cNvSpPr>
            <a:spLocks noGrp="1"/>
          </p:cNvSpPr>
          <p:nvPr>
            <p:ph type="body" sz="quarter" idx="13"/>
          </p:nvPr>
        </p:nvSpPr>
        <p:spPr>
          <a:xfrm>
            <a:off x="263525" y="1457326"/>
            <a:ext cx="11449048" cy="4610100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60209831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einstieg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/>
          <p:cNvSpPr/>
          <p:nvPr userDrawn="1"/>
        </p:nvSpPr>
        <p:spPr>
          <a:xfrm>
            <a:off x="-794" y="0"/>
            <a:ext cx="12193588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6"/>
          </p:nvPr>
        </p:nvSpPr>
        <p:spPr>
          <a:xfrm>
            <a:off x="4822022" y="-2841"/>
            <a:ext cx="7110000" cy="6859253"/>
          </a:xfrm>
          <a:solidFill>
            <a:schemeClr val="bg1"/>
          </a:solidFill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GB"/>
          </a:p>
        </p:txBody>
      </p:sp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33743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feld 7"/>
          <p:cNvSpPr txBox="1"/>
          <p:nvPr userDrawn="1"/>
        </p:nvSpPr>
        <p:spPr>
          <a:xfrm rot="16200000">
            <a:off x="8631237" y="3297236"/>
            <a:ext cx="6857999" cy="263527"/>
          </a:xfrm>
          <a:prstGeom prst="rect">
            <a:avLst/>
          </a:prstGeom>
          <a:solidFill>
            <a:schemeClr val="bg2"/>
          </a:solidFill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endParaRPr lang="de-DE" sz="800" kern="1200" spc="-30" baseline="0">
              <a:solidFill>
                <a:schemeClr val="accent5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Textfeld 8"/>
          <p:cNvSpPr txBox="1"/>
          <p:nvPr userDrawn="1"/>
        </p:nvSpPr>
        <p:spPr>
          <a:xfrm rot="16200000">
            <a:off x="11605877" y="322597"/>
            <a:ext cx="908719" cy="263527"/>
          </a:xfrm>
          <a:prstGeom prst="rect">
            <a:avLst/>
          </a:prstGeom>
          <a:noFill/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r>
              <a:rPr lang="de-DE" sz="800" kern="1200" spc="-3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© Rödl &amp; Partner </a:t>
            </a:r>
          </a:p>
        </p:txBody>
      </p:sp>
      <p:sp>
        <p:nvSpPr>
          <p:cNvPr id="16" name="object 6">
            <a:extLst>
              <a:ext uri="{FF2B5EF4-FFF2-40B4-BE49-F238E27FC236}">
                <a16:creationId xmlns:a16="http://schemas.microsoft.com/office/drawing/2014/main" id="{35B15152-362B-804E-8180-EB8D98DF2756}"/>
              </a:ext>
            </a:extLst>
          </p:cNvPr>
          <p:cNvSpPr/>
          <p:nvPr userDrawn="1"/>
        </p:nvSpPr>
        <p:spPr>
          <a:xfrm>
            <a:off x="4816097" y="-6350"/>
            <a:ext cx="45719" cy="6864350"/>
          </a:xfrm>
          <a:custGeom>
            <a:avLst/>
            <a:gdLst/>
            <a:ahLst/>
            <a:cxnLst/>
            <a:rect l="l" t="t" r="r" b="b"/>
            <a:pathLst>
              <a:path h="4698365">
                <a:moveTo>
                  <a:pt x="0" y="0"/>
                </a:moveTo>
                <a:lnTo>
                  <a:pt x="0" y="4697996"/>
                </a:lnTo>
              </a:path>
            </a:pathLst>
          </a:custGeom>
          <a:ln w="285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7" name="Foliennummernplatzhalter 16"/>
          <p:cNvSpPr>
            <a:spLocks noGrp="1"/>
          </p:cNvSpPr>
          <p:nvPr>
            <p:ph type="sldNum" sz="quarter" idx="17"/>
          </p:nvPr>
        </p:nvSpPr>
        <p:spPr>
          <a:xfrm>
            <a:off x="11928648" y="6453187"/>
            <a:ext cx="263350" cy="404813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ctr">
              <a:defRPr sz="11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4CFEB0D3-1EB3-4F08-8062-95FFB9749870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4" name="Textplatzhalter 15">
            <a:extLst>
              <a:ext uri="{FF2B5EF4-FFF2-40B4-BE49-F238E27FC236}">
                <a16:creationId xmlns:a16="http://schemas.microsoft.com/office/drawing/2014/main" id="{1A835BE2-55CD-2A46-97A5-3378A6C95F2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" y="244800"/>
            <a:ext cx="4799856" cy="641726"/>
          </a:xfrm>
          <a:solidFill>
            <a:schemeClr val="tx2"/>
          </a:solidFill>
          <a:effectLst>
            <a:outerShdw dist="27940" dir="5100000" algn="t" rotWithShape="0">
              <a:prstClr val="black"/>
            </a:outerShdw>
          </a:effectLst>
        </p:spPr>
        <p:txBody>
          <a:bodyPr wrap="square" lIns="262800" rIns="144000" bIns="208800">
            <a:sp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2800" cap="all" spc="-7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de-DE" err="1"/>
              <a:t>KApitel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92147751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einstieg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/>
          <p:cNvSpPr/>
          <p:nvPr userDrawn="1"/>
        </p:nvSpPr>
        <p:spPr>
          <a:xfrm>
            <a:off x="-794" y="0"/>
            <a:ext cx="12193588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" name="object 4">
            <a:extLst>
              <a:ext uri="{FF2B5EF4-FFF2-40B4-BE49-F238E27FC236}">
                <a16:creationId xmlns:a16="http://schemas.microsoft.com/office/drawing/2014/main" id="{880C4227-47B7-694C-8443-CF01E2AE097C}"/>
              </a:ext>
            </a:extLst>
          </p:cNvPr>
          <p:cNvSpPr/>
          <p:nvPr userDrawn="1"/>
        </p:nvSpPr>
        <p:spPr>
          <a:xfrm>
            <a:off x="2681" y="899998"/>
            <a:ext cx="12193200" cy="158460"/>
          </a:xfrm>
          <a:custGeom>
            <a:avLst/>
            <a:gdLst/>
            <a:ahLst/>
            <a:cxnLst/>
            <a:rect l="l" t="t" r="r" b="b"/>
            <a:pathLst>
              <a:path w="12192635">
                <a:moveTo>
                  <a:pt x="0" y="0"/>
                </a:moveTo>
                <a:lnTo>
                  <a:pt x="12192113" y="0"/>
                </a:lnTo>
              </a:path>
            </a:pathLst>
          </a:custGeom>
          <a:ln w="28575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397089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feld 7"/>
          <p:cNvSpPr txBox="1"/>
          <p:nvPr userDrawn="1"/>
        </p:nvSpPr>
        <p:spPr>
          <a:xfrm rot="16200000">
            <a:off x="8631237" y="3297236"/>
            <a:ext cx="6857999" cy="263527"/>
          </a:xfrm>
          <a:prstGeom prst="rect">
            <a:avLst/>
          </a:prstGeom>
          <a:solidFill>
            <a:schemeClr val="bg2"/>
          </a:solidFill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endParaRPr lang="de-DE" sz="800" kern="1200" spc="-30" baseline="0">
              <a:solidFill>
                <a:schemeClr val="accent5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Textfeld 8"/>
          <p:cNvSpPr txBox="1"/>
          <p:nvPr userDrawn="1"/>
        </p:nvSpPr>
        <p:spPr>
          <a:xfrm rot="16200000">
            <a:off x="11605877" y="322597"/>
            <a:ext cx="908719" cy="263527"/>
          </a:xfrm>
          <a:prstGeom prst="rect">
            <a:avLst/>
          </a:prstGeom>
          <a:noFill/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r>
              <a:rPr lang="de-DE" sz="800" kern="1200" spc="-3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© Rödl &amp; Partner </a:t>
            </a:r>
          </a:p>
        </p:txBody>
      </p:sp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>
          <a:xfrm>
            <a:off x="263525" y="260648"/>
            <a:ext cx="11449049" cy="396000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de-DE" err="1"/>
              <a:t>kapitel</a:t>
            </a:r>
            <a:endParaRPr lang="en-GB"/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10"/>
          </p:nvPr>
        </p:nvSpPr>
        <p:spPr>
          <a:xfrm>
            <a:off x="11928648" y="6453187"/>
            <a:ext cx="263350" cy="404813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lang="de-DE" sz="1100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algn="ctr"/>
            <a:fld id="{4CFEB0D3-1EB3-4F08-8062-95FFB9749870}" type="slidenum">
              <a:rPr lang="de-DE" smtClean="0"/>
              <a:pPr algn="ctr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27495543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einstieg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/>
          <p:cNvSpPr/>
          <p:nvPr userDrawn="1"/>
        </p:nvSpPr>
        <p:spPr>
          <a:xfrm>
            <a:off x="-794" y="0"/>
            <a:ext cx="12193588" cy="89999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" name="object 4">
            <a:extLst>
              <a:ext uri="{FF2B5EF4-FFF2-40B4-BE49-F238E27FC236}">
                <a16:creationId xmlns:a16="http://schemas.microsoft.com/office/drawing/2014/main" id="{880C4227-47B7-694C-8443-CF01E2AE097C}"/>
              </a:ext>
            </a:extLst>
          </p:cNvPr>
          <p:cNvSpPr/>
          <p:nvPr userDrawn="1"/>
        </p:nvSpPr>
        <p:spPr>
          <a:xfrm>
            <a:off x="2681" y="899998"/>
            <a:ext cx="12193200" cy="158460"/>
          </a:xfrm>
          <a:custGeom>
            <a:avLst/>
            <a:gdLst/>
            <a:ahLst/>
            <a:cxnLst/>
            <a:rect l="l" t="t" r="r" b="b"/>
            <a:pathLst>
              <a:path w="12192635">
                <a:moveTo>
                  <a:pt x="0" y="0"/>
                </a:moveTo>
                <a:lnTo>
                  <a:pt x="12192113" y="0"/>
                </a:lnTo>
              </a:path>
            </a:pathLst>
          </a:custGeom>
          <a:ln w="28575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648381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feld 7"/>
          <p:cNvSpPr txBox="1"/>
          <p:nvPr userDrawn="1"/>
        </p:nvSpPr>
        <p:spPr>
          <a:xfrm rot="16200000">
            <a:off x="8631237" y="3297236"/>
            <a:ext cx="6857999" cy="263527"/>
          </a:xfrm>
          <a:prstGeom prst="rect">
            <a:avLst/>
          </a:prstGeom>
          <a:solidFill>
            <a:schemeClr val="bg2"/>
          </a:solidFill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endParaRPr lang="de-DE" sz="800" kern="1200" spc="-30" baseline="0">
              <a:solidFill>
                <a:schemeClr val="accent5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Textfeld 8"/>
          <p:cNvSpPr txBox="1"/>
          <p:nvPr userDrawn="1"/>
        </p:nvSpPr>
        <p:spPr>
          <a:xfrm rot="16200000">
            <a:off x="11605877" y="322597"/>
            <a:ext cx="908719" cy="263527"/>
          </a:xfrm>
          <a:prstGeom prst="rect">
            <a:avLst/>
          </a:prstGeom>
          <a:noFill/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r>
              <a:rPr lang="de-DE" sz="800" kern="1200" spc="-3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© Rödl &amp; Partner </a:t>
            </a:r>
          </a:p>
        </p:txBody>
      </p:sp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>
          <a:xfrm>
            <a:off x="263525" y="260648"/>
            <a:ext cx="11449049" cy="396000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de-DE" err="1"/>
              <a:t>kapitel</a:t>
            </a:r>
            <a:endParaRPr lang="en-GB"/>
          </a:p>
        </p:txBody>
      </p:sp>
      <p:sp>
        <p:nvSpPr>
          <p:cNvPr id="17" name="Foliennummernplatzhalter 16"/>
          <p:cNvSpPr>
            <a:spLocks noGrp="1"/>
          </p:cNvSpPr>
          <p:nvPr>
            <p:ph type="sldNum" sz="quarter" idx="10"/>
          </p:nvPr>
        </p:nvSpPr>
        <p:spPr>
          <a:xfrm>
            <a:off x="11928648" y="6453187"/>
            <a:ext cx="263350" cy="404813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lang="de-DE" sz="1100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algn="ctr"/>
            <a:fld id="{4CFEB0D3-1EB3-4F08-8062-95FFB9749870}" type="slidenum">
              <a:rPr lang="de-DE" smtClean="0"/>
              <a:pPr algn="ctr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84537218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einstieg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869550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de-DE" sz="2800" b="0" i="0" baseline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" name="Rechteck 9"/>
          <p:cNvSpPr/>
          <p:nvPr userDrawn="1"/>
        </p:nvSpPr>
        <p:spPr>
          <a:xfrm>
            <a:off x="0" y="1"/>
            <a:ext cx="12193588" cy="900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cxnSp>
        <p:nvCxnSpPr>
          <p:cNvPr id="13" name="Gerade Verbindung 12"/>
          <p:cNvCxnSpPr/>
          <p:nvPr userDrawn="1"/>
        </p:nvCxnSpPr>
        <p:spPr>
          <a:xfrm>
            <a:off x="0" y="900000"/>
            <a:ext cx="11928475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feld 7"/>
          <p:cNvSpPr txBox="1"/>
          <p:nvPr userDrawn="1"/>
        </p:nvSpPr>
        <p:spPr>
          <a:xfrm rot="16200000">
            <a:off x="8631237" y="3297236"/>
            <a:ext cx="6857999" cy="263527"/>
          </a:xfrm>
          <a:prstGeom prst="rect">
            <a:avLst/>
          </a:prstGeom>
          <a:solidFill>
            <a:schemeClr val="bg2"/>
          </a:solidFill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endParaRPr lang="de-DE" sz="800" kern="1200" spc="-30" baseline="0">
              <a:solidFill>
                <a:schemeClr val="accent5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Textfeld 8"/>
          <p:cNvSpPr txBox="1"/>
          <p:nvPr userDrawn="1"/>
        </p:nvSpPr>
        <p:spPr>
          <a:xfrm rot="16200000">
            <a:off x="11605877" y="322597"/>
            <a:ext cx="908719" cy="263527"/>
          </a:xfrm>
          <a:prstGeom prst="rect">
            <a:avLst/>
          </a:prstGeom>
          <a:noFill/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r>
              <a:rPr lang="de-DE" sz="800" kern="1200" spc="-3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© Rödl &amp; Partner 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5"/>
          </p:nvPr>
        </p:nvSpPr>
        <p:spPr>
          <a:xfrm>
            <a:off x="11928648" y="6453187"/>
            <a:ext cx="263350" cy="404813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lang="de-DE" sz="1100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algn="ctr"/>
            <a:fld id="{4CFEB0D3-1EB3-4F08-8062-95FFB9749870}" type="slidenum">
              <a:rPr lang="de-DE" smtClean="0"/>
              <a:pPr algn="ctr"/>
              <a:t>‹Nr.›</a:t>
            </a:fld>
            <a:endParaRPr lang="de-DE"/>
          </a:p>
        </p:txBody>
      </p:sp>
      <p:sp>
        <p:nvSpPr>
          <p:cNvPr id="12" name="Textplatzhalter 15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914400"/>
            <a:ext cx="11928472" cy="991792"/>
          </a:xfrm>
          <a:solidFill>
            <a:schemeClr val="tx2"/>
          </a:solidFill>
          <a:effectLst>
            <a:outerShdw dist="27940" dir="5400000" algn="t" rotWithShape="0">
              <a:schemeClr val="tx1"/>
            </a:outerShdw>
          </a:effectLst>
        </p:spPr>
        <p:txBody>
          <a:bodyPr lIns="1170000" tIns="72000" bIns="72000">
            <a:spAutoFit/>
          </a:bodyPr>
          <a:lstStyle>
            <a:lvl1pPr>
              <a:lnSpc>
                <a:spcPts val="6600"/>
              </a:lnSpc>
              <a:defRPr sz="6000" cap="all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de-DE"/>
              <a:t>Text bearbeiten</a:t>
            </a:r>
          </a:p>
        </p:txBody>
      </p:sp>
    </p:spTree>
    <p:extLst>
      <p:ext uri="{BB962C8B-B14F-4D97-AF65-F5344CB8AC3E}">
        <p14:creationId xmlns:p14="http://schemas.microsoft.com/office/powerpoint/2010/main" val="1022432446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pfzeile Untertitel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platzhalter 14"/>
          <p:cNvSpPr>
            <a:spLocks noGrp="1"/>
          </p:cNvSpPr>
          <p:nvPr>
            <p:ph type="body" sz="quarter" idx="13"/>
          </p:nvPr>
        </p:nvSpPr>
        <p:spPr>
          <a:xfrm>
            <a:off x="263525" y="1457326"/>
            <a:ext cx="11449048" cy="4610100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5" name="Rechteck 4"/>
          <p:cNvSpPr/>
          <p:nvPr userDrawn="1"/>
        </p:nvSpPr>
        <p:spPr>
          <a:xfrm>
            <a:off x="-794" y="0"/>
            <a:ext cx="12193588" cy="89999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" name="object 4">
            <a:extLst>
              <a:ext uri="{FF2B5EF4-FFF2-40B4-BE49-F238E27FC236}">
                <a16:creationId xmlns:a16="http://schemas.microsoft.com/office/drawing/2014/main" id="{880C4227-47B7-694C-8443-CF01E2AE097C}"/>
              </a:ext>
            </a:extLst>
          </p:cNvPr>
          <p:cNvSpPr/>
          <p:nvPr userDrawn="1"/>
        </p:nvSpPr>
        <p:spPr>
          <a:xfrm>
            <a:off x="2681" y="899998"/>
            <a:ext cx="12193200" cy="158460"/>
          </a:xfrm>
          <a:custGeom>
            <a:avLst/>
            <a:gdLst/>
            <a:ahLst/>
            <a:cxnLst/>
            <a:rect l="l" t="t" r="r" b="b"/>
            <a:pathLst>
              <a:path w="12192635">
                <a:moveTo>
                  <a:pt x="0" y="0"/>
                </a:moveTo>
                <a:lnTo>
                  <a:pt x="12192113" y="0"/>
                </a:lnTo>
              </a:path>
            </a:pathLst>
          </a:custGeom>
          <a:ln w="28575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220223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feld 7"/>
          <p:cNvSpPr txBox="1"/>
          <p:nvPr userDrawn="1"/>
        </p:nvSpPr>
        <p:spPr>
          <a:xfrm rot="16200000">
            <a:off x="8631237" y="3297236"/>
            <a:ext cx="6857999" cy="263527"/>
          </a:xfrm>
          <a:prstGeom prst="rect">
            <a:avLst/>
          </a:prstGeom>
          <a:solidFill>
            <a:schemeClr val="bg2"/>
          </a:solidFill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endParaRPr lang="de-DE" sz="800" kern="1200" spc="-30" baseline="0">
              <a:solidFill>
                <a:schemeClr val="accent5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Textfeld 8"/>
          <p:cNvSpPr txBox="1"/>
          <p:nvPr userDrawn="1"/>
        </p:nvSpPr>
        <p:spPr>
          <a:xfrm rot="16200000">
            <a:off x="11605877" y="322597"/>
            <a:ext cx="908719" cy="263527"/>
          </a:xfrm>
          <a:prstGeom prst="rect">
            <a:avLst/>
          </a:prstGeom>
          <a:noFill/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r>
              <a:rPr lang="de-DE" sz="800" kern="1200" spc="-3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© Rödl &amp; Partner </a:t>
            </a:r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>
          <a:xfrm>
            <a:off x="263525" y="260648"/>
            <a:ext cx="11449049" cy="396000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GB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263525" y="1065214"/>
            <a:ext cx="11449048" cy="288000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de-DE"/>
              <a:t>Untertitel durch Klicken hinzufügen</a:t>
            </a:r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2" hasCustomPrompt="1"/>
          </p:nvPr>
        </p:nvSpPr>
        <p:spPr>
          <a:xfrm>
            <a:off x="263524" y="6248400"/>
            <a:ext cx="11449049" cy="204788"/>
          </a:xfrm>
        </p:spPr>
        <p:txBody>
          <a:bodyPr vert="horz" lIns="0" tIns="0" rIns="0" bIns="0" rtlCol="0" anchor="b">
            <a:noAutofit/>
          </a:bodyPr>
          <a:lstStyle>
            <a:lvl1pPr>
              <a:defRPr lang="de-DE" sz="1000" dirty="0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de-DE"/>
              <a:t>Fußnote durch Klicken hinzufügen</a:t>
            </a:r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14"/>
          </p:nvPr>
        </p:nvSpPr>
        <p:spPr>
          <a:xfrm>
            <a:off x="11928648" y="6453187"/>
            <a:ext cx="263350" cy="404813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lang="de-DE" sz="1100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algn="ctr"/>
            <a:fld id="{4CFEB0D3-1EB3-4F08-8062-95FFB9749870}" type="slidenum">
              <a:rPr lang="de-DE" smtClean="0"/>
              <a:pPr algn="ctr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40401808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pfzeile Unter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/>
          <p:cNvSpPr/>
          <p:nvPr userDrawn="1"/>
        </p:nvSpPr>
        <p:spPr>
          <a:xfrm>
            <a:off x="-794" y="0"/>
            <a:ext cx="12193588" cy="89999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" name="object 4">
            <a:extLst>
              <a:ext uri="{FF2B5EF4-FFF2-40B4-BE49-F238E27FC236}">
                <a16:creationId xmlns:a16="http://schemas.microsoft.com/office/drawing/2014/main" id="{880C4227-47B7-694C-8443-CF01E2AE097C}"/>
              </a:ext>
            </a:extLst>
          </p:cNvPr>
          <p:cNvSpPr/>
          <p:nvPr userDrawn="1"/>
        </p:nvSpPr>
        <p:spPr>
          <a:xfrm>
            <a:off x="2681" y="899998"/>
            <a:ext cx="12193200" cy="158460"/>
          </a:xfrm>
          <a:custGeom>
            <a:avLst/>
            <a:gdLst/>
            <a:ahLst/>
            <a:cxnLst/>
            <a:rect l="l" t="t" r="r" b="b"/>
            <a:pathLst>
              <a:path w="12192635">
                <a:moveTo>
                  <a:pt x="0" y="0"/>
                </a:moveTo>
                <a:lnTo>
                  <a:pt x="12192113" y="0"/>
                </a:lnTo>
              </a:path>
            </a:pathLst>
          </a:custGeom>
          <a:ln w="28575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817579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feld 7"/>
          <p:cNvSpPr txBox="1"/>
          <p:nvPr userDrawn="1"/>
        </p:nvSpPr>
        <p:spPr>
          <a:xfrm rot="16200000">
            <a:off x="8631237" y="3297236"/>
            <a:ext cx="6857999" cy="263527"/>
          </a:xfrm>
          <a:prstGeom prst="rect">
            <a:avLst/>
          </a:prstGeom>
          <a:solidFill>
            <a:schemeClr val="bg2"/>
          </a:solidFill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endParaRPr lang="de-DE" sz="800" kern="1200" spc="-30" baseline="0">
              <a:solidFill>
                <a:schemeClr val="accent5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Textfeld 8"/>
          <p:cNvSpPr txBox="1"/>
          <p:nvPr userDrawn="1"/>
        </p:nvSpPr>
        <p:spPr>
          <a:xfrm rot="16200000">
            <a:off x="11605877" y="322597"/>
            <a:ext cx="908719" cy="263527"/>
          </a:xfrm>
          <a:prstGeom prst="rect">
            <a:avLst/>
          </a:prstGeom>
          <a:noFill/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r>
              <a:rPr lang="de-DE" sz="800" kern="1200" spc="-3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© Rödl &amp; Partner </a:t>
            </a:r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>
          <a:xfrm>
            <a:off x="263525" y="260648"/>
            <a:ext cx="11449049" cy="396000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GB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263525" y="1065214"/>
            <a:ext cx="11449048" cy="288000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de-DE"/>
              <a:t>Untertitel durch Klicken hinzufügen</a:t>
            </a:r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14"/>
          </p:nvPr>
        </p:nvSpPr>
        <p:spPr>
          <a:xfrm>
            <a:off x="11928648" y="6453187"/>
            <a:ext cx="263350" cy="404813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lang="de-DE" sz="1100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algn="ctr"/>
            <a:fld id="{4CFEB0D3-1EB3-4F08-8062-95FFB9749870}" type="slidenum">
              <a:rPr lang="de-DE" smtClean="0"/>
              <a:pPr algn="ctr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41844347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pfzeile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platzhalter 14"/>
          <p:cNvSpPr>
            <a:spLocks noGrp="1"/>
          </p:cNvSpPr>
          <p:nvPr>
            <p:ph type="body" sz="quarter" idx="13"/>
          </p:nvPr>
        </p:nvSpPr>
        <p:spPr>
          <a:xfrm>
            <a:off x="263525" y="1058458"/>
            <a:ext cx="11449048" cy="5008968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5" name="Rechteck 4"/>
          <p:cNvSpPr/>
          <p:nvPr userDrawn="1"/>
        </p:nvSpPr>
        <p:spPr>
          <a:xfrm>
            <a:off x="-794" y="0"/>
            <a:ext cx="12193588" cy="89999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" name="object 4">
            <a:extLst>
              <a:ext uri="{FF2B5EF4-FFF2-40B4-BE49-F238E27FC236}">
                <a16:creationId xmlns:a16="http://schemas.microsoft.com/office/drawing/2014/main" id="{880C4227-47B7-694C-8443-CF01E2AE097C}"/>
              </a:ext>
            </a:extLst>
          </p:cNvPr>
          <p:cNvSpPr/>
          <p:nvPr userDrawn="1"/>
        </p:nvSpPr>
        <p:spPr>
          <a:xfrm>
            <a:off x="2681" y="899998"/>
            <a:ext cx="12193200" cy="158460"/>
          </a:xfrm>
          <a:custGeom>
            <a:avLst/>
            <a:gdLst/>
            <a:ahLst/>
            <a:cxnLst/>
            <a:rect l="l" t="t" r="r" b="b"/>
            <a:pathLst>
              <a:path w="12192635">
                <a:moveTo>
                  <a:pt x="0" y="0"/>
                </a:moveTo>
                <a:lnTo>
                  <a:pt x="12192113" y="0"/>
                </a:lnTo>
              </a:path>
            </a:pathLst>
          </a:custGeom>
          <a:ln w="28575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764602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feld 7"/>
          <p:cNvSpPr txBox="1"/>
          <p:nvPr userDrawn="1"/>
        </p:nvSpPr>
        <p:spPr>
          <a:xfrm rot="16200000">
            <a:off x="8631237" y="3297236"/>
            <a:ext cx="6857999" cy="263527"/>
          </a:xfrm>
          <a:prstGeom prst="rect">
            <a:avLst/>
          </a:prstGeom>
          <a:solidFill>
            <a:schemeClr val="bg2"/>
          </a:solidFill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endParaRPr lang="de-DE" sz="800" kern="1200" spc="-30" baseline="0">
              <a:solidFill>
                <a:schemeClr val="accent5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Textfeld 8"/>
          <p:cNvSpPr txBox="1"/>
          <p:nvPr userDrawn="1"/>
        </p:nvSpPr>
        <p:spPr>
          <a:xfrm rot="16200000">
            <a:off x="11605877" y="322597"/>
            <a:ext cx="908719" cy="263527"/>
          </a:xfrm>
          <a:prstGeom prst="rect">
            <a:avLst/>
          </a:prstGeom>
          <a:noFill/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r>
              <a:rPr lang="de-DE" sz="800" kern="1200" spc="-3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© Rödl &amp; Partner </a:t>
            </a:r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>
          <a:xfrm>
            <a:off x="263525" y="260648"/>
            <a:ext cx="11449049" cy="396000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GB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2" hasCustomPrompt="1"/>
          </p:nvPr>
        </p:nvSpPr>
        <p:spPr>
          <a:xfrm>
            <a:off x="263524" y="6248400"/>
            <a:ext cx="11449049" cy="204788"/>
          </a:xfrm>
        </p:spPr>
        <p:txBody>
          <a:bodyPr vert="horz" lIns="0" tIns="0" rIns="0" bIns="0" rtlCol="0" anchor="b">
            <a:noAutofit/>
          </a:bodyPr>
          <a:lstStyle>
            <a:lvl1pPr>
              <a:defRPr lang="de-DE" sz="1000" dirty="0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de-DE"/>
              <a:t>Fußnote durch Klicken hinzufügen</a:t>
            </a:r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14"/>
          </p:nvPr>
        </p:nvSpPr>
        <p:spPr>
          <a:xfrm>
            <a:off x="11928648" y="6453187"/>
            <a:ext cx="263350" cy="404813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lang="de-DE" sz="1100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algn="ctr"/>
            <a:fld id="{4CFEB0D3-1EB3-4F08-8062-95FFB9749870}" type="slidenum">
              <a:rPr lang="de-DE" smtClean="0"/>
              <a:pPr algn="ctr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481494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3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tags" Target="../tags/tag81.xml"/><Relationship Id="rId3" Type="http://schemas.openxmlformats.org/officeDocument/2006/relationships/slideLayout" Target="../slideLayouts/slideLayout55.xml"/><Relationship Id="rId7" Type="http://schemas.openxmlformats.org/officeDocument/2006/relationships/tags" Target="../tags/tag80.xml"/><Relationship Id="rId2" Type="http://schemas.openxmlformats.org/officeDocument/2006/relationships/slideLayout" Target="../slideLayouts/slideLayout54.xml"/><Relationship Id="rId1" Type="http://schemas.openxmlformats.org/officeDocument/2006/relationships/slideLayout" Target="../slideLayouts/slideLayout53.xml"/><Relationship Id="rId6" Type="http://schemas.openxmlformats.org/officeDocument/2006/relationships/theme" Target="../theme/theme10.xml"/><Relationship Id="rId5" Type="http://schemas.openxmlformats.org/officeDocument/2006/relationships/slideLayout" Target="../slideLayouts/slideLayout57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56.xml"/><Relationship Id="rId9" Type="http://schemas.openxmlformats.org/officeDocument/2006/relationships/oleObject" Target="../embeddings/oleObject62.bin"/></Relationships>
</file>

<file path=ppt/slideMasters/_rels/slideMaster1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1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59.xml"/><Relationship Id="rId1" Type="http://schemas.openxmlformats.org/officeDocument/2006/relationships/slideLayout" Target="../slideLayouts/slideLayout58.xml"/><Relationship Id="rId6" Type="http://schemas.openxmlformats.org/officeDocument/2006/relationships/oleObject" Target="../embeddings/oleObject68.bin"/><Relationship Id="rId5" Type="http://schemas.openxmlformats.org/officeDocument/2006/relationships/tags" Target="../tags/tag88.xml"/><Relationship Id="rId4" Type="http://schemas.openxmlformats.org/officeDocument/2006/relationships/tags" Target="../tags/tag87.xml"/></Relationships>
</file>

<file path=ppt/slideMasters/_rels/slideMaster12.xml.rels><?xml version="1.0" encoding="UTF-8" standalone="yes"?>
<Relationships xmlns="http://schemas.openxmlformats.org/package/2006/relationships"><Relationship Id="rId3" Type="http://schemas.openxmlformats.org/officeDocument/2006/relationships/theme" Target="../theme/theme12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61.xml"/><Relationship Id="rId1" Type="http://schemas.openxmlformats.org/officeDocument/2006/relationships/slideLayout" Target="../slideLayouts/slideLayout60.xml"/><Relationship Id="rId6" Type="http://schemas.openxmlformats.org/officeDocument/2006/relationships/oleObject" Target="../embeddings/oleObject71.bin"/><Relationship Id="rId5" Type="http://schemas.openxmlformats.org/officeDocument/2006/relationships/tags" Target="../tags/tag92.xml"/><Relationship Id="rId4" Type="http://schemas.openxmlformats.org/officeDocument/2006/relationships/tags" Target="../tags/tag91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9.xml"/><Relationship Id="rId13" Type="http://schemas.openxmlformats.org/officeDocument/2006/relationships/tags" Target="../tags/tag96.xml"/><Relationship Id="rId3" Type="http://schemas.openxmlformats.org/officeDocument/2006/relationships/slideLayout" Target="../slideLayouts/slideLayout64.xml"/><Relationship Id="rId7" Type="http://schemas.openxmlformats.org/officeDocument/2006/relationships/slideLayout" Target="../slideLayouts/slideLayout68.xml"/><Relationship Id="rId12" Type="http://schemas.openxmlformats.org/officeDocument/2006/relationships/tags" Target="../tags/tag95.xml"/><Relationship Id="rId2" Type="http://schemas.openxmlformats.org/officeDocument/2006/relationships/slideLayout" Target="../slideLayouts/slideLayout63.xml"/><Relationship Id="rId1" Type="http://schemas.openxmlformats.org/officeDocument/2006/relationships/slideLayout" Target="../slideLayouts/slideLayout62.xml"/><Relationship Id="rId6" Type="http://schemas.openxmlformats.org/officeDocument/2006/relationships/slideLayout" Target="../slideLayouts/slideLayout67.xml"/><Relationship Id="rId11" Type="http://schemas.openxmlformats.org/officeDocument/2006/relationships/theme" Target="../theme/theme13.xml"/><Relationship Id="rId5" Type="http://schemas.openxmlformats.org/officeDocument/2006/relationships/slideLayout" Target="../slideLayouts/slideLayout66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71.xml"/><Relationship Id="rId4" Type="http://schemas.openxmlformats.org/officeDocument/2006/relationships/slideLayout" Target="../slideLayouts/slideLayout65.xml"/><Relationship Id="rId9" Type="http://schemas.openxmlformats.org/officeDocument/2006/relationships/slideLayout" Target="../slideLayouts/slideLayout70.xml"/><Relationship Id="rId14" Type="http://schemas.openxmlformats.org/officeDocument/2006/relationships/oleObject" Target="../embeddings/oleObject74.bin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9.xml"/><Relationship Id="rId13" Type="http://schemas.openxmlformats.org/officeDocument/2006/relationships/theme" Target="../theme/theme14.xml"/><Relationship Id="rId3" Type="http://schemas.openxmlformats.org/officeDocument/2006/relationships/slideLayout" Target="../slideLayouts/slideLayout74.xml"/><Relationship Id="rId7" Type="http://schemas.openxmlformats.org/officeDocument/2006/relationships/slideLayout" Target="../slideLayouts/slideLayout78.xml"/><Relationship Id="rId12" Type="http://schemas.openxmlformats.org/officeDocument/2006/relationships/slideLayout" Target="../slideLayouts/slideLayout83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73.xml"/><Relationship Id="rId16" Type="http://schemas.openxmlformats.org/officeDocument/2006/relationships/oleObject" Target="../embeddings/oleObject83.bin"/><Relationship Id="rId1" Type="http://schemas.openxmlformats.org/officeDocument/2006/relationships/slideLayout" Target="../slideLayouts/slideLayout72.xml"/><Relationship Id="rId6" Type="http://schemas.openxmlformats.org/officeDocument/2006/relationships/slideLayout" Target="../slideLayouts/slideLayout77.xml"/><Relationship Id="rId11" Type="http://schemas.openxmlformats.org/officeDocument/2006/relationships/slideLayout" Target="../slideLayouts/slideLayout82.xml"/><Relationship Id="rId5" Type="http://schemas.openxmlformats.org/officeDocument/2006/relationships/slideLayout" Target="../slideLayouts/slideLayout76.xml"/><Relationship Id="rId15" Type="http://schemas.openxmlformats.org/officeDocument/2006/relationships/tags" Target="../tags/tag112.xml"/><Relationship Id="rId10" Type="http://schemas.openxmlformats.org/officeDocument/2006/relationships/slideLayout" Target="../slideLayouts/slideLayout81.xml"/><Relationship Id="rId4" Type="http://schemas.openxmlformats.org/officeDocument/2006/relationships/slideLayout" Target="../slideLayouts/slideLayout75.xml"/><Relationship Id="rId9" Type="http://schemas.openxmlformats.org/officeDocument/2006/relationships/slideLayout" Target="../slideLayouts/slideLayout80.xml"/><Relationship Id="rId14" Type="http://schemas.openxmlformats.org/officeDocument/2006/relationships/tags" Target="../tags/tag111.xml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1.xml"/><Relationship Id="rId13" Type="http://schemas.openxmlformats.org/officeDocument/2006/relationships/oleObject" Target="../embeddings/oleObject96.bin"/><Relationship Id="rId3" Type="http://schemas.openxmlformats.org/officeDocument/2006/relationships/slideLayout" Target="../slideLayouts/slideLayout86.xml"/><Relationship Id="rId7" Type="http://schemas.openxmlformats.org/officeDocument/2006/relationships/slideLayout" Target="../slideLayouts/slideLayout90.xml"/><Relationship Id="rId12" Type="http://schemas.openxmlformats.org/officeDocument/2006/relationships/tags" Target="../tags/tag131.xml"/><Relationship Id="rId2" Type="http://schemas.openxmlformats.org/officeDocument/2006/relationships/slideLayout" Target="../slideLayouts/slideLayout85.xml"/><Relationship Id="rId1" Type="http://schemas.openxmlformats.org/officeDocument/2006/relationships/slideLayout" Target="../slideLayouts/slideLayout84.xml"/><Relationship Id="rId6" Type="http://schemas.openxmlformats.org/officeDocument/2006/relationships/slideLayout" Target="../slideLayouts/slideLayout89.xml"/><Relationship Id="rId11" Type="http://schemas.openxmlformats.org/officeDocument/2006/relationships/tags" Target="../tags/tag130.xml"/><Relationship Id="rId5" Type="http://schemas.openxmlformats.org/officeDocument/2006/relationships/slideLayout" Target="../slideLayouts/slideLayout88.xml"/><Relationship Id="rId10" Type="http://schemas.openxmlformats.org/officeDocument/2006/relationships/theme" Target="../theme/theme15.xml"/><Relationship Id="rId4" Type="http://schemas.openxmlformats.org/officeDocument/2006/relationships/slideLayout" Target="../slideLayouts/slideLayout87.xml"/><Relationship Id="rId9" Type="http://schemas.openxmlformats.org/officeDocument/2006/relationships/slideLayout" Target="../slideLayouts/slideLayout92.xml"/><Relationship Id="rId14" Type="http://schemas.openxmlformats.org/officeDocument/2006/relationships/image" Target="../media/image1.emf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0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95.xml"/><Relationship Id="rId7" Type="http://schemas.openxmlformats.org/officeDocument/2006/relationships/slideLayout" Target="../slideLayouts/slideLayout99.xml"/><Relationship Id="rId12" Type="http://schemas.openxmlformats.org/officeDocument/2006/relationships/oleObject" Target="../embeddings/oleObject96.bin"/><Relationship Id="rId2" Type="http://schemas.openxmlformats.org/officeDocument/2006/relationships/slideLayout" Target="../slideLayouts/slideLayout94.xml"/><Relationship Id="rId1" Type="http://schemas.openxmlformats.org/officeDocument/2006/relationships/slideLayout" Target="../slideLayouts/slideLayout93.xml"/><Relationship Id="rId6" Type="http://schemas.openxmlformats.org/officeDocument/2006/relationships/slideLayout" Target="../slideLayouts/slideLayout98.xml"/><Relationship Id="rId11" Type="http://schemas.openxmlformats.org/officeDocument/2006/relationships/tags" Target="../tags/tag144.xml"/><Relationship Id="rId5" Type="http://schemas.openxmlformats.org/officeDocument/2006/relationships/slideLayout" Target="../slideLayouts/slideLayout97.xml"/><Relationship Id="rId10" Type="http://schemas.openxmlformats.org/officeDocument/2006/relationships/tags" Target="../tags/tag143.xml"/><Relationship Id="rId4" Type="http://schemas.openxmlformats.org/officeDocument/2006/relationships/slideLayout" Target="../slideLayouts/slideLayout96.xml"/><Relationship Id="rId9" Type="http://schemas.openxmlformats.org/officeDocument/2006/relationships/theme" Target="../theme/theme16.xml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8.xml"/><Relationship Id="rId13" Type="http://schemas.openxmlformats.org/officeDocument/2006/relationships/tags" Target="../tags/tag155.xml"/><Relationship Id="rId3" Type="http://schemas.openxmlformats.org/officeDocument/2006/relationships/slideLayout" Target="../slideLayouts/slideLayout103.xml"/><Relationship Id="rId7" Type="http://schemas.openxmlformats.org/officeDocument/2006/relationships/slideLayout" Target="../slideLayouts/slideLayout107.xml"/><Relationship Id="rId12" Type="http://schemas.openxmlformats.org/officeDocument/2006/relationships/tags" Target="../tags/tag154.xml"/><Relationship Id="rId2" Type="http://schemas.openxmlformats.org/officeDocument/2006/relationships/slideLayout" Target="../slideLayouts/slideLayout102.xml"/><Relationship Id="rId1" Type="http://schemas.openxmlformats.org/officeDocument/2006/relationships/slideLayout" Target="../slideLayouts/slideLayout101.xml"/><Relationship Id="rId6" Type="http://schemas.openxmlformats.org/officeDocument/2006/relationships/slideLayout" Target="../slideLayouts/slideLayout106.xml"/><Relationship Id="rId11" Type="http://schemas.openxmlformats.org/officeDocument/2006/relationships/theme" Target="../theme/theme17.xml"/><Relationship Id="rId5" Type="http://schemas.openxmlformats.org/officeDocument/2006/relationships/slideLayout" Target="../slideLayouts/slideLayout10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10.xml"/><Relationship Id="rId4" Type="http://schemas.openxmlformats.org/officeDocument/2006/relationships/slideLayout" Target="../slideLayouts/slideLayout104.xml"/><Relationship Id="rId9" Type="http://schemas.openxmlformats.org/officeDocument/2006/relationships/slideLayout" Target="../slideLayouts/slideLayout109.xml"/><Relationship Id="rId14" Type="http://schemas.openxmlformats.org/officeDocument/2006/relationships/oleObject" Target="../embeddings/oleObject106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9.xml"/><Relationship Id="rId7" Type="http://schemas.openxmlformats.org/officeDocument/2006/relationships/slideLayout" Target="../slideLayouts/slideLayout13.xml"/><Relationship Id="rId12" Type="http://schemas.openxmlformats.org/officeDocument/2006/relationships/oleObject" Target="../embeddings/oleObject8.bin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11" Type="http://schemas.openxmlformats.org/officeDocument/2006/relationships/tags" Target="../tags/tag13.xml"/><Relationship Id="rId5" Type="http://schemas.openxmlformats.org/officeDocument/2006/relationships/slideLayout" Target="../slideLayouts/slideLayout11.xml"/><Relationship Id="rId10" Type="http://schemas.openxmlformats.org/officeDocument/2006/relationships/tags" Target="../tags/tag12.xml"/><Relationship Id="rId4" Type="http://schemas.openxmlformats.org/officeDocument/2006/relationships/slideLayout" Target="../slideLayouts/slideLayout10.xml"/><Relationship Id="rId9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17.xml"/><Relationship Id="rId7" Type="http://schemas.openxmlformats.org/officeDocument/2006/relationships/slideLayout" Target="../slideLayouts/slideLayout21.xml"/><Relationship Id="rId12" Type="http://schemas.openxmlformats.org/officeDocument/2006/relationships/oleObject" Target="../embeddings/oleObject17.bin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tags" Target="../tags/tag24.xml"/><Relationship Id="rId5" Type="http://schemas.openxmlformats.org/officeDocument/2006/relationships/slideLayout" Target="../slideLayouts/slideLayout19.xml"/><Relationship Id="rId10" Type="http://schemas.openxmlformats.org/officeDocument/2006/relationships/tags" Target="../tags/tag23.xml"/><Relationship Id="rId4" Type="http://schemas.openxmlformats.org/officeDocument/2006/relationships/slideLayout" Target="../slideLayouts/slideLayout18.xml"/><Relationship Id="rId9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heme" Target="../theme/theme4.xml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oleObject" Target="../embeddings/oleObject26.bin"/><Relationship Id="rId5" Type="http://schemas.openxmlformats.org/officeDocument/2006/relationships/slideLayout" Target="../slideLayouts/slideLayout27.xml"/><Relationship Id="rId10" Type="http://schemas.openxmlformats.org/officeDocument/2006/relationships/tags" Target="../tags/tag35.xml"/><Relationship Id="rId4" Type="http://schemas.openxmlformats.org/officeDocument/2006/relationships/slideLayout" Target="../slideLayouts/slideLayout26.xml"/><Relationship Id="rId9" Type="http://schemas.openxmlformats.org/officeDocument/2006/relationships/tags" Target="../tags/tag3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4.bin"/><Relationship Id="rId3" Type="http://schemas.openxmlformats.org/officeDocument/2006/relationships/slideLayout" Target="../slideLayouts/slideLayout32.xml"/><Relationship Id="rId7" Type="http://schemas.openxmlformats.org/officeDocument/2006/relationships/tags" Target="../tags/tag45.xml"/><Relationship Id="rId2" Type="http://schemas.openxmlformats.org/officeDocument/2006/relationships/slideLayout" Target="../slideLayouts/slideLayout31.xml"/><Relationship Id="rId1" Type="http://schemas.openxmlformats.org/officeDocument/2006/relationships/slideLayout" Target="../slideLayouts/slideLayout30.xml"/><Relationship Id="rId6" Type="http://schemas.openxmlformats.org/officeDocument/2006/relationships/tags" Target="../tags/tag44.xml"/><Relationship Id="rId5" Type="http://schemas.openxmlformats.org/officeDocument/2006/relationships/theme" Target="../theme/theme5.xml"/><Relationship Id="rId4" Type="http://schemas.openxmlformats.org/officeDocument/2006/relationships/slideLayout" Target="../slideLayouts/slideLayout33.xml"/><Relationship Id="rId9" Type="http://schemas.openxmlformats.org/officeDocument/2006/relationships/image" Target="../media/image1.emf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tags" Target="../tags/tag54.xml"/><Relationship Id="rId3" Type="http://schemas.openxmlformats.org/officeDocument/2006/relationships/slideLayout" Target="../slideLayouts/slideLayout36.xml"/><Relationship Id="rId7" Type="http://schemas.openxmlformats.org/officeDocument/2006/relationships/tags" Target="../tags/tag53.xml"/><Relationship Id="rId2" Type="http://schemas.openxmlformats.org/officeDocument/2006/relationships/slideLayout" Target="../slideLayouts/slideLayout35.xml"/><Relationship Id="rId1" Type="http://schemas.openxmlformats.org/officeDocument/2006/relationships/slideLayout" Target="../slideLayouts/slideLayout34.xml"/><Relationship Id="rId6" Type="http://schemas.openxmlformats.org/officeDocument/2006/relationships/theme" Target="../theme/theme6.xml"/><Relationship Id="rId5" Type="http://schemas.openxmlformats.org/officeDocument/2006/relationships/slideLayout" Target="../slideLayouts/slideLayout38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37.xml"/><Relationship Id="rId9" Type="http://schemas.openxmlformats.org/officeDocument/2006/relationships/oleObject" Target="../embeddings/oleObject39.bin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5.bin"/><Relationship Id="rId3" Type="http://schemas.openxmlformats.org/officeDocument/2006/relationships/slideLayout" Target="../slideLayouts/slideLayout41.xml"/><Relationship Id="rId7" Type="http://schemas.openxmlformats.org/officeDocument/2006/relationships/tags" Target="../tags/tag61.xml"/><Relationship Id="rId2" Type="http://schemas.openxmlformats.org/officeDocument/2006/relationships/slideLayout" Target="../slideLayouts/slideLayout40.xml"/><Relationship Id="rId1" Type="http://schemas.openxmlformats.org/officeDocument/2006/relationships/slideLayout" Target="../slideLayouts/slideLayout39.xml"/><Relationship Id="rId6" Type="http://schemas.openxmlformats.org/officeDocument/2006/relationships/tags" Target="../tags/tag60.xml"/><Relationship Id="rId5" Type="http://schemas.openxmlformats.org/officeDocument/2006/relationships/theme" Target="../theme/theme7.xml"/><Relationship Id="rId4" Type="http://schemas.openxmlformats.org/officeDocument/2006/relationships/slideLayout" Target="../slideLayouts/slideLayout42.xml"/><Relationship Id="rId9" Type="http://schemas.openxmlformats.org/officeDocument/2006/relationships/image" Target="../media/image1.emf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tags" Target="../tags/tag67.xml"/><Relationship Id="rId3" Type="http://schemas.openxmlformats.org/officeDocument/2006/relationships/slideLayout" Target="../slideLayouts/slideLayout45.xml"/><Relationship Id="rId7" Type="http://schemas.openxmlformats.org/officeDocument/2006/relationships/tags" Target="../tags/tag66.xml"/><Relationship Id="rId2" Type="http://schemas.openxmlformats.org/officeDocument/2006/relationships/slideLayout" Target="../slideLayouts/slideLayout44.xml"/><Relationship Id="rId1" Type="http://schemas.openxmlformats.org/officeDocument/2006/relationships/slideLayout" Target="../slideLayouts/slideLayout43.xml"/><Relationship Id="rId6" Type="http://schemas.openxmlformats.org/officeDocument/2006/relationships/theme" Target="../theme/theme8.xml"/><Relationship Id="rId5" Type="http://schemas.openxmlformats.org/officeDocument/2006/relationships/slideLayout" Target="../slideLayouts/slideLayout47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6.xml"/><Relationship Id="rId9" Type="http://schemas.openxmlformats.org/officeDocument/2006/relationships/oleObject" Target="../embeddings/oleObject50.bin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tags" Target="../tags/tag74.xml"/><Relationship Id="rId3" Type="http://schemas.openxmlformats.org/officeDocument/2006/relationships/slideLayout" Target="../slideLayouts/slideLayout50.xml"/><Relationship Id="rId7" Type="http://schemas.openxmlformats.org/officeDocument/2006/relationships/tags" Target="../tags/tag73.xml"/><Relationship Id="rId2" Type="http://schemas.openxmlformats.org/officeDocument/2006/relationships/slideLayout" Target="../slideLayouts/slideLayout49.xml"/><Relationship Id="rId1" Type="http://schemas.openxmlformats.org/officeDocument/2006/relationships/slideLayout" Target="../slideLayouts/slideLayout48.xml"/><Relationship Id="rId6" Type="http://schemas.openxmlformats.org/officeDocument/2006/relationships/theme" Target="../theme/theme9.xml"/><Relationship Id="rId5" Type="http://schemas.openxmlformats.org/officeDocument/2006/relationships/slideLayout" Target="../slideLayouts/slideLayout52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51.xml"/><Relationship Id="rId9" Type="http://schemas.openxmlformats.org/officeDocument/2006/relationships/oleObject" Target="../embeddings/oleObject56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31546003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0" imgW="344" imgH="345" progId="TCLayout.ActiveDocument.1">
                  <p:embed/>
                </p:oleObj>
              </mc:Choice>
              <mc:Fallback>
                <p:oleObj name="think-cell Folie" r:id="rId10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/>
          <p:cNvSpPr/>
          <p:nvPr>
            <p:custDataLst>
              <p:tags r:id="rId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de-DE" sz="2800" b="0" i="0" baseline="0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263525" y="260648"/>
            <a:ext cx="11447923" cy="396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de-DE" noProof="0" dirty="0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263525" y="1052512"/>
            <a:ext cx="11448000" cy="54006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 dirty="0"/>
              <a:t>Formatvorlagen des Textmasters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33" name="Textfeld 32"/>
          <p:cNvSpPr txBox="1"/>
          <p:nvPr/>
        </p:nvSpPr>
        <p:spPr>
          <a:xfrm>
            <a:off x="-974191" y="960180"/>
            <a:ext cx="696839" cy="184666"/>
          </a:xfrm>
          <a:prstGeom prst="rect">
            <a:avLst/>
          </a:prstGeom>
          <a:noFill/>
        </p:spPr>
        <p:txBody>
          <a:bodyPr wrap="none" lIns="72000" tIns="0" rIns="72000" bIns="0" rtlCol="0" anchor="ctr">
            <a:spAutoFit/>
          </a:bodyPr>
          <a:lstStyle/>
          <a:p>
            <a:pPr algn="r"/>
            <a:r>
              <a:rPr lang="de-DE" sz="1200" noProof="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extbox</a:t>
            </a:r>
          </a:p>
        </p:txBody>
      </p:sp>
      <p:sp>
        <p:nvSpPr>
          <p:cNvPr id="100" name="Textfeld 99"/>
          <p:cNvSpPr txBox="1"/>
          <p:nvPr/>
        </p:nvSpPr>
        <p:spPr>
          <a:xfrm>
            <a:off x="-1014869" y="-381635"/>
            <a:ext cx="990189" cy="184666"/>
          </a:xfrm>
          <a:prstGeom prst="rect">
            <a:avLst/>
          </a:prstGeom>
          <a:noFill/>
        </p:spPr>
        <p:txBody>
          <a:bodyPr wrap="none" lIns="72000" tIns="0" rIns="72000" bIns="0" rtlCol="0" anchor="ctr">
            <a:spAutoFit/>
          </a:bodyPr>
          <a:lstStyle/>
          <a:p>
            <a:pPr algn="r"/>
            <a:r>
              <a:rPr lang="de-DE" sz="1200" noProof="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Vier</a:t>
            </a:r>
            <a:r>
              <a:rPr lang="de-DE" sz="1200" baseline="0" noProof="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  <a:r>
              <a:rPr lang="de-DE" sz="1200" noProof="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Spalten</a:t>
            </a:r>
          </a:p>
        </p:txBody>
      </p:sp>
      <p:sp>
        <p:nvSpPr>
          <p:cNvPr id="101" name="Textfeld 100"/>
          <p:cNvSpPr txBox="1"/>
          <p:nvPr/>
        </p:nvSpPr>
        <p:spPr>
          <a:xfrm>
            <a:off x="-1032502" y="-618555"/>
            <a:ext cx="1007822" cy="184666"/>
          </a:xfrm>
          <a:prstGeom prst="rect">
            <a:avLst/>
          </a:prstGeom>
          <a:noFill/>
        </p:spPr>
        <p:txBody>
          <a:bodyPr wrap="none" lIns="72000" tIns="0" rIns="72000" bIns="0" rtlCol="0" anchor="ctr">
            <a:spAutoFit/>
          </a:bodyPr>
          <a:lstStyle/>
          <a:p>
            <a:pPr algn="r"/>
            <a:r>
              <a:rPr lang="de-DE" sz="1200" noProof="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Drei</a:t>
            </a:r>
            <a:r>
              <a:rPr lang="de-DE" sz="1200" baseline="0" noProof="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  <a:r>
              <a:rPr lang="de-DE" sz="1200" noProof="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Spalten</a:t>
            </a:r>
          </a:p>
        </p:txBody>
      </p:sp>
      <p:sp>
        <p:nvSpPr>
          <p:cNvPr id="105" name="Textfeld 104"/>
          <p:cNvSpPr txBox="1"/>
          <p:nvPr/>
        </p:nvSpPr>
        <p:spPr>
          <a:xfrm>
            <a:off x="-1067768" y="-855476"/>
            <a:ext cx="1043088" cy="184666"/>
          </a:xfrm>
          <a:prstGeom prst="rect">
            <a:avLst/>
          </a:prstGeom>
          <a:noFill/>
        </p:spPr>
        <p:txBody>
          <a:bodyPr wrap="none" lIns="72000" tIns="0" rIns="72000" bIns="0" rtlCol="0" anchor="ctr">
            <a:spAutoFit/>
          </a:bodyPr>
          <a:lstStyle/>
          <a:p>
            <a:pPr algn="r"/>
            <a:r>
              <a:rPr lang="de-DE" sz="1200" noProof="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Zwei Spalten</a:t>
            </a:r>
          </a:p>
        </p:txBody>
      </p:sp>
      <p:grpSp>
        <p:nvGrpSpPr>
          <p:cNvPr id="120" name="Gruppieren 119"/>
          <p:cNvGrpSpPr/>
          <p:nvPr/>
        </p:nvGrpSpPr>
        <p:grpSpPr>
          <a:xfrm>
            <a:off x="-276708" y="-835143"/>
            <a:ext cx="12205181" cy="7972555"/>
            <a:chOff x="-276708" y="-835143"/>
            <a:chExt cx="12205181" cy="7972555"/>
          </a:xfrm>
        </p:grpSpPr>
        <p:cxnSp>
          <p:nvCxnSpPr>
            <p:cNvPr id="24" name="Gerade Verbindung 23"/>
            <p:cNvCxnSpPr/>
            <p:nvPr userDrawn="1"/>
          </p:nvCxnSpPr>
          <p:spPr>
            <a:xfrm rot="5400000" flipV="1">
              <a:off x="-204708" y="980735"/>
              <a:ext cx="0" cy="1440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24"/>
            <p:cNvCxnSpPr/>
            <p:nvPr userDrawn="1"/>
          </p:nvCxnSpPr>
          <p:spPr>
            <a:xfrm rot="5400000" flipV="1">
              <a:off x="-204708" y="6381336"/>
              <a:ext cx="0" cy="1440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Gerade Verbindung 78"/>
            <p:cNvCxnSpPr/>
            <p:nvPr userDrawn="1"/>
          </p:nvCxnSpPr>
          <p:spPr>
            <a:xfrm>
              <a:off x="259147" y="6993412"/>
              <a:ext cx="0" cy="1440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3" name="Gerade Verbindung mit Pfeil 92"/>
            <p:cNvCxnSpPr/>
            <p:nvPr userDrawn="1"/>
          </p:nvCxnSpPr>
          <p:spPr>
            <a:xfrm>
              <a:off x="263525" y="-526222"/>
              <a:ext cx="3492500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" name="Gerade Verbindung mit Pfeil 93"/>
            <p:cNvCxnSpPr/>
            <p:nvPr userDrawn="1"/>
          </p:nvCxnSpPr>
          <p:spPr>
            <a:xfrm>
              <a:off x="4259684" y="-526222"/>
              <a:ext cx="3457154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Gerade Verbindung mit Pfeil 94"/>
            <p:cNvCxnSpPr/>
            <p:nvPr userDrawn="1"/>
          </p:nvCxnSpPr>
          <p:spPr>
            <a:xfrm>
              <a:off x="8220124" y="-526222"/>
              <a:ext cx="3492500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Gerade Verbindung mit Pfeil 95"/>
            <p:cNvCxnSpPr/>
            <p:nvPr userDrawn="1"/>
          </p:nvCxnSpPr>
          <p:spPr>
            <a:xfrm>
              <a:off x="263525" y="-289302"/>
              <a:ext cx="2484438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Gerade Verbindung mit Pfeil 96"/>
            <p:cNvCxnSpPr/>
            <p:nvPr userDrawn="1"/>
          </p:nvCxnSpPr>
          <p:spPr>
            <a:xfrm>
              <a:off x="3251200" y="-289302"/>
              <a:ext cx="2484438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Gerade Verbindung mit Pfeil 97"/>
            <p:cNvCxnSpPr/>
            <p:nvPr userDrawn="1"/>
          </p:nvCxnSpPr>
          <p:spPr>
            <a:xfrm>
              <a:off x="6240462" y="-289302"/>
              <a:ext cx="2484438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Gerade Verbindung mit Pfeil 98"/>
            <p:cNvCxnSpPr/>
            <p:nvPr userDrawn="1"/>
          </p:nvCxnSpPr>
          <p:spPr>
            <a:xfrm>
              <a:off x="9228186" y="-289302"/>
              <a:ext cx="2484438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Gerade Verbindung mit Pfeil 101"/>
            <p:cNvCxnSpPr/>
            <p:nvPr userDrawn="1"/>
          </p:nvCxnSpPr>
          <p:spPr>
            <a:xfrm>
              <a:off x="263525" y="-763143"/>
              <a:ext cx="5472113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" name="Gerade Verbindung mit Pfeil 103"/>
            <p:cNvCxnSpPr/>
            <p:nvPr userDrawn="1"/>
          </p:nvCxnSpPr>
          <p:spPr>
            <a:xfrm>
              <a:off x="6240463" y="-763143"/>
              <a:ext cx="5472161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Gerade Verbindung 107"/>
            <p:cNvCxnSpPr/>
            <p:nvPr userDrawn="1"/>
          </p:nvCxnSpPr>
          <p:spPr>
            <a:xfrm>
              <a:off x="2999272" y="-361302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Gerade Verbindung 108"/>
            <p:cNvCxnSpPr/>
            <p:nvPr userDrawn="1"/>
          </p:nvCxnSpPr>
          <p:spPr>
            <a:xfrm>
              <a:off x="5987988" y="-361302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Gerade Verbindung 109"/>
            <p:cNvCxnSpPr/>
            <p:nvPr userDrawn="1"/>
          </p:nvCxnSpPr>
          <p:spPr>
            <a:xfrm>
              <a:off x="8976320" y="-361302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Gerade Verbindung 110"/>
            <p:cNvCxnSpPr/>
            <p:nvPr userDrawn="1"/>
          </p:nvCxnSpPr>
          <p:spPr>
            <a:xfrm>
              <a:off x="7968208" y="-598222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Gerade Verbindung 111"/>
            <p:cNvCxnSpPr/>
            <p:nvPr userDrawn="1"/>
          </p:nvCxnSpPr>
          <p:spPr>
            <a:xfrm>
              <a:off x="4007768" y="-598222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Gerade Verbindung 112"/>
            <p:cNvCxnSpPr/>
            <p:nvPr userDrawn="1"/>
          </p:nvCxnSpPr>
          <p:spPr>
            <a:xfrm>
              <a:off x="5987988" y="-835143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33"/>
            <p:cNvCxnSpPr/>
            <p:nvPr userDrawn="1"/>
          </p:nvCxnSpPr>
          <p:spPr>
            <a:xfrm rot="5400000" flipV="1">
              <a:off x="-204708" y="826746"/>
              <a:ext cx="0" cy="144000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34"/>
            <p:cNvCxnSpPr/>
            <p:nvPr userDrawn="1"/>
          </p:nvCxnSpPr>
          <p:spPr>
            <a:xfrm rot="5400000" flipV="1">
              <a:off x="-204708" y="6785999"/>
              <a:ext cx="0" cy="144000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35"/>
            <p:cNvCxnSpPr/>
            <p:nvPr userDrawn="1"/>
          </p:nvCxnSpPr>
          <p:spPr>
            <a:xfrm rot="10800000" flipV="1">
              <a:off x="11928473" y="-361302"/>
              <a:ext cx="0" cy="144000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 Verbindung 38"/>
            <p:cNvCxnSpPr/>
            <p:nvPr userDrawn="1"/>
          </p:nvCxnSpPr>
          <p:spPr>
            <a:xfrm rot="10800000" flipV="1">
              <a:off x="0" y="-361302"/>
              <a:ext cx="0" cy="144000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38" name="Gerade Verbindung 37"/>
          <p:cNvCxnSpPr/>
          <p:nvPr/>
        </p:nvCxnSpPr>
        <p:spPr>
          <a:xfrm>
            <a:off x="11712624" y="6993412"/>
            <a:ext cx="0" cy="144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feld 39"/>
          <p:cNvSpPr txBox="1"/>
          <p:nvPr/>
        </p:nvSpPr>
        <p:spPr>
          <a:xfrm>
            <a:off x="-1791723" y="799523"/>
            <a:ext cx="1514371" cy="184666"/>
          </a:xfrm>
          <a:prstGeom prst="rect">
            <a:avLst/>
          </a:prstGeom>
          <a:noFill/>
        </p:spPr>
        <p:txBody>
          <a:bodyPr wrap="none" lIns="72000" tIns="0" rIns="72000" bIns="0" rtlCol="0" anchor="ctr">
            <a:spAutoFit/>
          </a:bodyPr>
          <a:lstStyle/>
          <a:p>
            <a:pPr algn="r"/>
            <a:r>
              <a:rPr lang="de-DE" sz="1200" noProof="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abelle</a:t>
            </a:r>
            <a:r>
              <a:rPr lang="de-DE" sz="1200" baseline="0" noProof="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  <a:r>
              <a:rPr lang="de-DE" sz="1200" noProof="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(Vollflächig)</a:t>
            </a:r>
          </a:p>
        </p:txBody>
      </p:sp>
      <p:sp>
        <p:nvSpPr>
          <p:cNvPr id="41" name="object 4">
            <a:extLst>
              <a:ext uri="{FF2B5EF4-FFF2-40B4-BE49-F238E27FC236}">
                <a16:creationId xmlns:a16="http://schemas.microsoft.com/office/drawing/2014/main" id="{F1407FCD-A98D-8D4C-BAEA-A83B72042659}"/>
              </a:ext>
            </a:extLst>
          </p:cNvPr>
          <p:cNvSpPr/>
          <p:nvPr/>
        </p:nvSpPr>
        <p:spPr>
          <a:xfrm>
            <a:off x="0" y="899999"/>
            <a:ext cx="12192635" cy="0"/>
          </a:xfrm>
          <a:custGeom>
            <a:avLst/>
            <a:gdLst/>
            <a:ahLst/>
            <a:cxnLst/>
            <a:rect l="l" t="t" r="r" b="b"/>
            <a:pathLst>
              <a:path w="12192635">
                <a:moveTo>
                  <a:pt x="0" y="0"/>
                </a:moveTo>
                <a:lnTo>
                  <a:pt x="12192113" y="0"/>
                </a:lnTo>
              </a:path>
            </a:pathLst>
          </a:custGeom>
          <a:ln w="25400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185970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6" r:id="rId1"/>
    <p:sldLayoutId id="2147483786" r:id="rId2"/>
    <p:sldLayoutId id="2147483929" r:id="rId3"/>
    <p:sldLayoutId id="2147483930" r:id="rId4"/>
    <p:sldLayoutId id="2147483931" r:id="rId5"/>
    <p:sldLayoutId id="2147483780" r:id="rId6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cap="all" spc="-70" baseline="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216000" indent="-216000" algn="l" defTabSz="914400" rtl="0" eaLnBrk="1" latinLnBrk="0" hangingPunct="1">
        <a:lnSpc>
          <a:spcPct val="100000"/>
        </a:lnSpc>
        <a:spcBef>
          <a:spcPts val="500"/>
        </a:spcBef>
        <a:buFontTx/>
        <a:buChar char="–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2pPr>
      <a:lvl3pPr marL="432000" indent="-216000" algn="l" defTabSz="914400" rtl="0" eaLnBrk="1" latinLnBrk="0" hangingPunct="1">
        <a:lnSpc>
          <a:spcPct val="100000"/>
        </a:lnSpc>
        <a:spcBef>
          <a:spcPts val="500"/>
        </a:spcBef>
        <a:buFontTx/>
        <a:buChar char="–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3pPr>
      <a:lvl4pPr marL="648000" indent="-216000" algn="l" defTabSz="914400" rtl="0" eaLnBrk="1" latinLnBrk="0" hangingPunct="1">
        <a:lnSpc>
          <a:spcPct val="100000"/>
        </a:lnSpc>
        <a:spcBef>
          <a:spcPts val="500"/>
        </a:spcBef>
        <a:buFontTx/>
        <a:buChar char="–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4pPr>
      <a:lvl5pPr marL="864000" indent="-216000" algn="l" defTabSz="914400" rtl="0" eaLnBrk="1" latinLnBrk="0" hangingPunct="1">
        <a:lnSpc>
          <a:spcPct val="100000"/>
        </a:lnSpc>
        <a:spcBef>
          <a:spcPts val="500"/>
        </a:spcBef>
        <a:buFontTx/>
        <a:buChar char="–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3212565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9" imgW="344" imgH="345" progId="TCLayout.ActiveDocument.1">
                  <p:embed/>
                </p:oleObj>
              </mc:Choice>
              <mc:Fallback>
                <p:oleObj name="think-cell Folie" r:id="rId9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>
            <p:custDataLst>
              <p:tags r:id="rId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de-DE" sz="2800" b="0" i="0" baseline="0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Textfeld 3"/>
          <p:cNvSpPr txBox="1"/>
          <p:nvPr/>
        </p:nvSpPr>
        <p:spPr>
          <a:xfrm rot="16200000">
            <a:off x="8627637" y="3303909"/>
            <a:ext cx="6865200" cy="263527"/>
          </a:xfrm>
          <a:prstGeom prst="rect">
            <a:avLst/>
          </a:prstGeom>
          <a:solidFill>
            <a:schemeClr val="bg2"/>
          </a:solidFill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endParaRPr lang="de-DE" sz="800" kern="1200" spc="-30" baseline="0" dirty="0">
              <a:solidFill>
                <a:schemeClr val="tx2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Textfeld 8"/>
          <p:cNvSpPr txBox="1"/>
          <p:nvPr/>
        </p:nvSpPr>
        <p:spPr>
          <a:xfrm rot="16200000">
            <a:off x="11605877" y="322597"/>
            <a:ext cx="908719" cy="263527"/>
          </a:xfrm>
          <a:prstGeom prst="rect">
            <a:avLst/>
          </a:prstGeom>
          <a:noFill/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r>
              <a:rPr lang="de-DE" sz="800" kern="1200" spc="-3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© Rödl &amp; Partner </a:t>
            </a:r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263525" y="260648"/>
            <a:ext cx="11447923" cy="396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de-DE" noProof="0" dirty="0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263525" y="1052512"/>
            <a:ext cx="11448000" cy="54006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 dirty="0"/>
              <a:t>Formatvorlagen des Textmasters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928648" y="6453187"/>
            <a:ext cx="263350" cy="404813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lvl1pPr algn="ctr">
              <a:defRPr sz="1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4CFEB0D3-1EB3-4F08-8062-95FFB9749870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33" name="Textfeld 32"/>
          <p:cNvSpPr txBox="1"/>
          <p:nvPr/>
        </p:nvSpPr>
        <p:spPr>
          <a:xfrm>
            <a:off x="-974191" y="960180"/>
            <a:ext cx="696839" cy="184666"/>
          </a:xfrm>
          <a:prstGeom prst="rect">
            <a:avLst/>
          </a:prstGeom>
          <a:noFill/>
        </p:spPr>
        <p:txBody>
          <a:bodyPr wrap="none" lIns="72000" tIns="0" rIns="72000" bIns="0" rtlCol="0" anchor="ctr">
            <a:spAutoFit/>
          </a:bodyPr>
          <a:lstStyle/>
          <a:p>
            <a:pPr algn="r"/>
            <a:r>
              <a:rPr lang="de-DE" sz="1200" noProof="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extbox</a:t>
            </a:r>
          </a:p>
        </p:txBody>
      </p:sp>
      <p:sp>
        <p:nvSpPr>
          <p:cNvPr id="100" name="Textfeld 99"/>
          <p:cNvSpPr txBox="1"/>
          <p:nvPr/>
        </p:nvSpPr>
        <p:spPr>
          <a:xfrm>
            <a:off x="-1014869" y="-381635"/>
            <a:ext cx="990189" cy="184666"/>
          </a:xfrm>
          <a:prstGeom prst="rect">
            <a:avLst/>
          </a:prstGeom>
          <a:noFill/>
        </p:spPr>
        <p:txBody>
          <a:bodyPr wrap="none" lIns="72000" tIns="0" rIns="72000" bIns="0" rtlCol="0" anchor="ctr">
            <a:spAutoFit/>
          </a:bodyPr>
          <a:lstStyle/>
          <a:p>
            <a:pPr algn="r"/>
            <a:r>
              <a:rPr lang="de-DE" sz="1200" noProof="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Vier</a:t>
            </a:r>
            <a:r>
              <a:rPr lang="de-DE" sz="1200" baseline="0" noProof="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  <a:r>
              <a:rPr lang="de-DE" sz="1200" noProof="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Spalten</a:t>
            </a:r>
          </a:p>
        </p:txBody>
      </p:sp>
      <p:sp>
        <p:nvSpPr>
          <p:cNvPr id="101" name="Textfeld 100"/>
          <p:cNvSpPr txBox="1"/>
          <p:nvPr/>
        </p:nvSpPr>
        <p:spPr>
          <a:xfrm>
            <a:off x="-1032502" y="-618555"/>
            <a:ext cx="1007822" cy="184666"/>
          </a:xfrm>
          <a:prstGeom prst="rect">
            <a:avLst/>
          </a:prstGeom>
          <a:noFill/>
        </p:spPr>
        <p:txBody>
          <a:bodyPr wrap="none" lIns="72000" tIns="0" rIns="72000" bIns="0" rtlCol="0" anchor="ctr">
            <a:spAutoFit/>
          </a:bodyPr>
          <a:lstStyle/>
          <a:p>
            <a:pPr algn="r"/>
            <a:r>
              <a:rPr lang="de-DE" sz="1200" noProof="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Drei</a:t>
            </a:r>
            <a:r>
              <a:rPr lang="de-DE" sz="1200" baseline="0" noProof="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  <a:r>
              <a:rPr lang="de-DE" sz="1200" noProof="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Spalten</a:t>
            </a:r>
          </a:p>
        </p:txBody>
      </p:sp>
      <p:sp>
        <p:nvSpPr>
          <p:cNvPr id="105" name="Textfeld 104"/>
          <p:cNvSpPr txBox="1"/>
          <p:nvPr/>
        </p:nvSpPr>
        <p:spPr>
          <a:xfrm>
            <a:off x="-1067768" y="-855476"/>
            <a:ext cx="1043088" cy="184666"/>
          </a:xfrm>
          <a:prstGeom prst="rect">
            <a:avLst/>
          </a:prstGeom>
          <a:noFill/>
        </p:spPr>
        <p:txBody>
          <a:bodyPr wrap="none" lIns="72000" tIns="0" rIns="72000" bIns="0" rtlCol="0" anchor="ctr">
            <a:spAutoFit/>
          </a:bodyPr>
          <a:lstStyle/>
          <a:p>
            <a:pPr algn="r"/>
            <a:r>
              <a:rPr lang="de-DE" sz="1200" noProof="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Zwei Spalten</a:t>
            </a:r>
          </a:p>
        </p:txBody>
      </p:sp>
      <p:cxnSp>
        <p:nvCxnSpPr>
          <p:cNvPr id="38" name="Gerade Verbindung 37"/>
          <p:cNvCxnSpPr/>
          <p:nvPr/>
        </p:nvCxnSpPr>
        <p:spPr>
          <a:xfrm>
            <a:off x="11712624" y="6993412"/>
            <a:ext cx="0" cy="144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1" name="Gruppieren 40"/>
          <p:cNvGrpSpPr/>
          <p:nvPr/>
        </p:nvGrpSpPr>
        <p:grpSpPr>
          <a:xfrm>
            <a:off x="-276708" y="-835143"/>
            <a:ext cx="12205181" cy="7972555"/>
            <a:chOff x="-276708" y="-835143"/>
            <a:chExt cx="12205181" cy="7972555"/>
          </a:xfrm>
        </p:grpSpPr>
        <p:cxnSp>
          <p:nvCxnSpPr>
            <p:cNvPr id="42" name="Gerade Verbindung 41"/>
            <p:cNvCxnSpPr/>
            <p:nvPr userDrawn="1"/>
          </p:nvCxnSpPr>
          <p:spPr>
            <a:xfrm rot="5400000" flipV="1">
              <a:off x="-204708" y="980735"/>
              <a:ext cx="0" cy="1440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 Verbindung 42"/>
            <p:cNvCxnSpPr/>
            <p:nvPr userDrawn="1"/>
          </p:nvCxnSpPr>
          <p:spPr>
            <a:xfrm rot="5400000" flipV="1">
              <a:off x="-204708" y="6381336"/>
              <a:ext cx="0" cy="1440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Gerade Verbindung 43"/>
            <p:cNvCxnSpPr/>
            <p:nvPr userDrawn="1"/>
          </p:nvCxnSpPr>
          <p:spPr>
            <a:xfrm>
              <a:off x="259147" y="6993412"/>
              <a:ext cx="0" cy="1440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Gerade Verbindung mit Pfeil 44"/>
            <p:cNvCxnSpPr/>
            <p:nvPr userDrawn="1"/>
          </p:nvCxnSpPr>
          <p:spPr>
            <a:xfrm>
              <a:off x="263525" y="-526222"/>
              <a:ext cx="3492500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Gerade Verbindung mit Pfeil 45"/>
            <p:cNvCxnSpPr/>
            <p:nvPr userDrawn="1"/>
          </p:nvCxnSpPr>
          <p:spPr>
            <a:xfrm>
              <a:off x="4259684" y="-526222"/>
              <a:ext cx="3457154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Gerade Verbindung mit Pfeil 46"/>
            <p:cNvCxnSpPr/>
            <p:nvPr userDrawn="1"/>
          </p:nvCxnSpPr>
          <p:spPr>
            <a:xfrm>
              <a:off x="8220124" y="-526222"/>
              <a:ext cx="3492500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Gerade Verbindung mit Pfeil 47"/>
            <p:cNvCxnSpPr/>
            <p:nvPr userDrawn="1"/>
          </p:nvCxnSpPr>
          <p:spPr>
            <a:xfrm>
              <a:off x="263525" y="-289302"/>
              <a:ext cx="2484438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mit Pfeil 48"/>
            <p:cNvCxnSpPr/>
            <p:nvPr userDrawn="1"/>
          </p:nvCxnSpPr>
          <p:spPr>
            <a:xfrm>
              <a:off x="3251200" y="-289302"/>
              <a:ext cx="2484438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mit Pfeil 49"/>
            <p:cNvCxnSpPr/>
            <p:nvPr userDrawn="1"/>
          </p:nvCxnSpPr>
          <p:spPr>
            <a:xfrm>
              <a:off x="6240462" y="-289302"/>
              <a:ext cx="2484438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mit Pfeil 50"/>
            <p:cNvCxnSpPr/>
            <p:nvPr userDrawn="1"/>
          </p:nvCxnSpPr>
          <p:spPr>
            <a:xfrm>
              <a:off x="9228186" y="-289302"/>
              <a:ext cx="2484438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 Verbindung mit Pfeil 51"/>
            <p:cNvCxnSpPr/>
            <p:nvPr userDrawn="1"/>
          </p:nvCxnSpPr>
          <p:spPr>
            <a:xfrm>
              <a:off x="263525" y="-763143"/>
              <a:ext cx="5472113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 Verbindung mit Pfeil 52"/>
            <p:cNvCxnSpPr/>
            <p:nvPr userDrawn="1"/>
          </p:nvCxnSpPr>
          <p:spPr>
            <a:xfrm>
              <a:off x="6240463" y="-763143"/>
              <a:ext cx="5472161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Gerade Verbindung 53"/>
            <p:cNvCxnSpPr/>
            <p:nvPr userDrawn="1"/>
          </p:nvCxnSpPr>
          <p:spPr>
            <a:xfrm>
              <a:off x="2999272" y="-361302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54"/>
            <p:cNvCxnSpPr/>
            <p:nvPr userDrawn="1"/>
          </p:nvCxnSpPr>
          <p:spPr>
            <a:xfrm>
              <a:off x="5987988" y="-361302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 Verbindung 55"/>
            <p:cNvCxnSpPr/>
            <p:nvPr userDrawn="1"/>
          </p:nvCxnSpPr>
          <p:spPr>
            <a:xfrm>
              <a:off x="8976320" y="-361302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 Verbindung 56"/>
            <p:cNvCxnSpPr/>
            <p:nvPr userDrawn="1"/>
          </p:nvCxnSpPr>
          <p:spPr>
            <a:xfrm>
              <a:off x="7968208" y="-598222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 Verbindung 57"/>
            <p:cNvCxnSpPr/>
            <p:nvPr userDrawn="1"/>
          </p:nvCxnSpPr>
          <p:spPr>
            <a:xfrm>
              <a:off x="4007768" y="-598222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 Verbindung 58"/>
            <p:cNvCxnSpPr/>
            <p:nvPr userDrawn="1"/>
          </p:nvCxnSpPr>
          <p:spPr>
            <a:xfrm>
              <a:off x="5987988" y="-835143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 Verbindung 59"/>
            <p:cNvCxnSpPr/>
            <p:nvPr userDrawn="1"/>
          </p:nvCxnSpPr>
          <p:spPr>
            <a:xfrm rot="5400000" flipV="1">
              <a:off x="-204708" y="826746"/>
              <a:ext cx="0" cy="144000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Gerade Verbindung 60"/>
            <p:cNvCxnSpPr/>
            <p:nvPr userDrawn="1"/>
          </p:nvCxnSpPr>
          <p:spPr>
            <a:xfrm rot="5400000" flipV="1">
              <a:off x="-204708" y="6785999"/>
              <a:ext cx="0" cy="144000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Gerade Verbindung 61"/>
            <p:cNvCxnSpPr/>
            <p:nvPr userDrawn="1"/>
          </p:nvCxnSpPr>
          <p:spPr>
            <a:xfrm rot="10800000" flipV="1">
              <a:off x="11928473" y="-361302"/>
              <a:ext cx="0" cy="144000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Gerade Verbindung 62"/>
            <p:cNvCxnSpPr/>
            <p:nvPr userDrawn="1"/>
          </p:nvCxnSpPr>
          <p:spPr>
            <a:xfrm rot="10800000" flipV="1">
              <a:off x="0" y="-361302"/>
              <a:ext cx="0" cy="144000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4" name="Textfeld 63"/>
          <p:cNvSpPr txBox="1"/>
          <p:nvPr/>
        </p:nvSpPr>
        <p:spPr>
          <a:xfrm>
            <a:off x="-1791723" y="799523"/>
            <a:ext cx="1514371" cy="184666"/>
          </a:xfrm>
          <a:prstGeom prst="rect">
            <a:avLst/>
          </a:prstGeom>
          <a:noFill/>
        </p:spPr>
        <p:txBody>
          <a:bodyPr wrap="none" lIns="72000" tIns="0" rIns="72000" bIns="0" rtlCol="0" anchor="ctr">
            <a:spAutoFit/>
          </a:bodyPr>
          <a:lstStyle/>
          <a:p>
            <a:pPr algn="r"/>
            <a:r>
              <a:rPr lang="de-DE" sz="1200" noProof="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abelle</a:t>
            </a:r>
            <a:r>
              <a:rPr lang="de-DE" sz="1200" baseline="0" noProof="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  <a:r>
              <a:rPr lang="de-DE" sz="1200" noProof="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(Vollflächig)</a:t>
            </a:r>
          </a:p>
        </p:txBody>
      </p:sp>
    </p:spTree>
    <p:extLst>
      <p:ext uri="{BB962C8B-B14F-4D97-AF65-F5344CB8AC3E}">
        <p14:creationId xmlns:p14="http://schemas.microsoft.com/office/powerpoint/2010/main" val="130421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9" r:id="rId1"/>
    <p:sldLayoutId id="2147483830" r:id="rId2"/>
    <p:sldLayoutId id="2147483880" r:id="rId3"/>
    <p:sldLayoutId id="2147483960" r:id="rId4"/>
    <p:sldLayoutId id="2147483903" r:id="rId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cap="all" spc="-70" baseline="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216000" indent="-216000" algn="l" defTabSz="914400" rtl="0" eaLnBrk="1" latinLnBrk="0" hangingPunct="1">
        <a:lnSpc>
          <a:spcPct val="100000"/>
        </a:lnSpc>
        <a:spcBef>
          <a:spcPts val="500"/>
        </a:spcBef>
        <a:buFontTx/>
        <a:buChar char="–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2pPr>
      <a:lvl3pPr marL="432000" indent="-216000" algn="l" defTabSz="914400" rtl="0" eaLnBrk="1" latinLnBrk="0" hangingPunct="1">
        <a:lnSpc>
          <a:spcPct val="100000"/>
        </a:lnSpc>
        <a:spcBef>
          <a:spcPts val="500"/>
        </a:spcBef>
        <a:buFontTx/>
        <a:buChar char="–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3pPr>
      <a:lvl4pPr marL="648000" indent="-216000" algn="l" defTabSz="914400" rtl="0" eaLnBrk="1" latinLnBrk="0" hangingPunct="1">
        <a:lnSpc>
          <a:spcPct val="100000"/>
        </a:lnSpc>
        <a:spcBef>
          <a:spcPts val="500"/>
        </a:spcBef>
        <a:buFontTx/>
        <a:buChar char="–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4pPr>
      <a:lvl5pPr marL="864000" indent="-216000" algn="l" defTabSz="914400" rtl="0" eaLnBrk="1" latinLnBrk="0" hangingPunct="1">
        <a:lnSpc>
          <a:spcPct val="100000"/>
        </a:lnSpc>
        <a:spcBef>
          <a:spcPts val="500"/>
        </a:spcBef>
        <a:buFontTx/>
        <a:buChar char="–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1570877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6" imgW="344" imgH="345" progId="TCLayout.ActiveDocument.1">
                  <p:embed/>
                </p:oleObj>
              </mc:Choice>
              <mc:Fallback>
                <p:oleObj name="think-cell Folie" r:id="rId6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de-DE" sz="2800" b="0" i="0" baseline="0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Textfeld 3"/>
          <p:cNvSpPr txBox="1"/>
          <p:nvPr/>
        </p:nvSpPr>
        <p:spPr>
          <a:xfrm rot="16200000">
            <a:off x="8627637" y="3303909"/>
            <a:ext cx="6865200" cy="263527"/>
          </a:xfrm>
          <a:prstGeom prst="rect">
            <a:avLst/>
          </a:prstGeom>
          <a:solidFill>
            <a:schemeClr val="bg2"/>
          </a:solidFill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endParaRPr lang="de-DE" sz="800" kern="1200" spc="-30" baseline="0" dirty="0">
              <a:solidFill>
                <a:schemeClr val="tx2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Textfeld 8"/>
          <p:cNvSpPr txBox="1"/>
          <p:nvPr/>
        </p:nvSpPr>
        <p:spPr>
          <a:xfrm rot="16200000">
            <a:off x="11605877" y="322597"/>
            <a:ext cx="908719" cy="263527"/>
          </a:xfrm>
          <a:prstGeom prst="rect">
            <a:avLst/>
          </a:prstGeom>
          <a:noFill/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r>
              <a:rPr lang="de-DE" sz="800" kern="1200" spc="-3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© Rödl &amp; Partner </a:t>
            </a:r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263525" y="260648"/>
            <a:ext cx="11447923" cy="396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de-DE" noProof="0" dirty="0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263525" y="1052512"/>
            <a:ext cx="11448000" cy="54006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 dirty="0"/>
              <a:t>Formatvorlagen des Textmasters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928648" y="6453187"/>
            <a:ext cx="263350" cy="404813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lvl1pPr algn="ctr">
              <a:defRPr sz="1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4CFEB0D3-1EB3-4F08-8062-95FFB9749870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33" name="Textfeld 32"/>
          <p:cNvSpPr txBox="1"/>
          <p:nvPr/>
        </p:nvSpPr>
        <p:spPr>
          <a:xfrm>
            <a:off x="-974191" y="960180"/>
            <a:ext cx="696839" cy="184666"/>
          </a:xfrm>
          <a:prstGeom prst="rect">
            <a:avLst/>
          </a:prstGeom>
          <a:noFill/>
        </p:spPr>
        <p:txBody>
          <a:bodyPr wrap="none" lIns="72000" tIns="0" rIns="72000" bIns="0" rtlCol="0" anchor="ctr">
            <a:spAutoFit/>
          </a:bodyPr>
          <a:lstStyle/>
          <a:p>
            <a:pPr algn="r"/>
            <a:r>
              <a:rPr lang="de-DE" sz="1200" noProof="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extbox</a:t>
            </a:r>
          </a:p>
        </p:txBody>
      </p:sp>
      <p:sp>
        <p:nvSpPr>
          <p:cNvPr id="100" name="Textfeld 99"/>
          <p:cNvSpPr txBox="1"/>
          <p:nvPr/>
        </p:nvSpPr>
        <p:spPr>
          <a:xfrm>
            <a:off x="-1014869" y="-381635"/>
            <a:ext cx="990189" cy="184666"/>
          </a:xfrm>
          <a:prstGeom prst="rect">
            <a:avLst/>
          </a:prstGeom>
          <a:noFill/>
        </p:spPr>
        <p:txBody>
          <a:bodyPr wrap="none" lIns="72000" tIns="0" rIns="72000" bIns="0" rtlCol="0" anchor="ctr">
            <a:spAutoFit/>
          </a:bodyPr>
          <a:lstStyle/>
          <a:p>
            <a:pPr algn="r"/>
            <a:r>
              <a:rPr lang="de-DE" sz="1200" noProof="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Vier</a:t>
            </a:r>
            <a:r>
              <a:rPr lang="de-DE" sz="1200" baseline="0" noProof="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  <a:r>
              <a:rPr lang="de-DE" sz="1200" noProof="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Spalten</a:t>
            </a:r>
          </a:p>
        </p:txBody>
      </p:sp>
      <p:sp>
        <p:nvSpPr>
          <p:cNvPr id="101" name="Textfeld 100"/>
          <p:cNvSpPr txBox="1"/>
          <p:nvPr/>
        </p:nvSpPr>
        <p:spPr>
          <a:xfrm>
            <a:off x="-1032502" y="-618555"/>
            <a:ext cx="1007822" cy="184666"/>
          </a:xfrm>
          <a:prstGeom prst="rect">
            <a:avLst/>
          </a:prstGeom>
          <a:noFill/>
        </p:spPr>
        <p:txBody>
          <a:bodyPr wrap="none" lIns="72000" tIns="0" rIns="72000" bIns="0" rtlCol="0" anchor="ctr">
            <a:spAutoFit/>
          </a:bodyPr>
          <a:lstStyle/>
          <a:p>
            <a:pPr algn="r"/>
            <a:r>
              <a:rPr lang="de-DE" sz="1200" noProof="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Drei</a:t>
            </a:r>
            <a:r>
              <a:rPr lang="de-DE" sz="1200" baseline="0" noProof="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  <a:r>
              <a:rPr lang="de-DE" sz="1200" noProof="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Spalten</a:t>
            </a:r>
          </a:p>
        </p:txBody>
      </p:sp>
      <p:sp>
        <p:nvSpPr>
          <p:cNvPr id="105" name="Textfeld 104"/>
          <p:cNvSpPr txBox="1"/>
          <p:nvPr/>
        </p:nvSpPr>
        <p:spPr>
          <a:xfrm>
            <a:off x="-1067768" y="-855476"/>
            <a:ext cx="1043088" cy="184666"/>
          </a:xfrm>
          <a:prstGeom prst="rect">
            <a:avLst/>
          </a:prstGeom>
          <a:noFill/>
        </p:spPr>
        <p:txBody>
          <a:bodyPr wrap="none" lIns="72000" tIns="0" rIns="72000" bIns="0" rtlCol="0" anchor="ctr">
            <a:spAutoFit/>
          </a:bodyPr>
          <a:lstStyle/>
          <a:p>
            <a:pPr algn="r"/>
            <a:r>
              <a:rPr lang="de-DE" sz="1200" noProof="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Zwei Spalten</a:t>
            </a:r>
          </a:p>
        </p:txBody>
      </p:sp>
      <p:cxnSp>
        <p:nvCxnSpPr>
          <p:cNvPr id="38" name="Gerade Verbindung 37"/>
          <p:cNvCxnSpPr/>
          <p:nvPr/>
        </p:nvCxnSpPr>
        <p:spPr>
          <a:xfrm>
            <a:off x="11712624" y="6993412"/>
            <a:ext cx="0" cy="144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1" name="Gruppieren 40"/>
          <p:cNvGrpSpPr/>
          <p:nvPr/>
        </p:nvGrpSpPr>
        <p:grpSpPr>
          <a:xfrm>
            <a:off x="-276708" y="-835143"/>
            <a:ext cx="12205181" cy="7972555"/>
            <a:chOff x="-276708" y="-835143"/>
            <a:chExt cx="12205181" cy="7972555"/>
          </a:xfrm>
        </p:grpSpPr>
        <p:cxnSp>
          <p:nvCxnSpPr>
            <p:cNvPr id="42" name="Gerade Verbindung 41"/>
            <p:cNvCxnSpPr/>
            <p:nvPr userDrawn="1"/>
          </p:nvCxnSpPr>
          <p:spPr>
            <a:xfrm rot="5400000" flipV="1">
              <a:off x="-204708" y="980735"/>
              <a:ext cx="0" cy="1440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 Verbindung 42"/>
            <p:cNvCxnSpPr/>
            <p:nvPr userDrawn="1"/>
          </p:nvCxnSpPr>
          <p:spPr>
            <a:xfrm rot="5400000" flipV="1">
              <a:off x="-204708" y="6381336"/>
              <a:ext cx="0" cy="1440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Gerade Verbindung 43"/>
            <p:cNvCxnSpPr/>
            <p:nvPr userDrawn="1"/>
          </p:nvCxnSpPr>
          <p:spPr>
            <a:xfrm>
              <a:off x="259147" y="6993412"/>
              <a:ext cx="0" cy="1440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Gerade Verbindung mit Pfeil 44"/>
            <p:cNvCxnSpPr/>
            <p:nvPr userDrawn="1"/>
          </p:nvCxnSpPr>
          <p:spPr>
            <a:xfrm>
              <a:off x="263525" y="-526222"/>
              <a:ext cx="3492500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Gerade Verbindung mit Pfeil 45"/>
            <p:cNvCxnSpPr/>
            <p:nvPr userDrawn="1"/>
          </p:nvCxnSpPr>
          <p:spPr>
            <a:xfrm>
              <a:off x="4259684" y="-526222"/>
              <a:ext cx="3457154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Gerade Verbindung mit Pfeil 46"/>
            <p:cNvCxnSpPr/>
            <p:nvPr userDrawn="1"/>
          </p:nvCxnSpPr>
          <p:spPr>
            <a:xfrm>
              <a:off x="8220124" y="-526222"/>
              <a:ext cx="3492500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Gerade Verbindung mit Pfeil 47"/>
            <p:cNvCxnSpPr/>
            <p:nvPr userDrawn="1"/>
          </p:nvCxnSpPr>
          <p:spPr>
            <a:xfrm>
              <a:off x="263525" y="-289302"/>
              <a:ext cx="2484438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mit Pfeil 48"/>
            <p:cNvCxnSpPr/>
            <p:nvPr userDrawn="1"/>
          </p:nvCxnSpPr>
          <p:spPr>
            <a:xfrm>
              <a:off x="3251200" y="-289302"/>
              <a:ext cx="2484438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mit Pfeil 49"/>
            <p:cNvCxnSpPr/>
            <p:nvPr userDrawn="1"/>
          </p:nvCxnSpPr>
          <p:spPr>
            <a:xfrm>
              <a:off x="6240462" y="-289302"/>
              <a:ext cx="2484438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mit Pfeil 50"/>
            <p:cNvCxnSpPr/>
            <p:nvPr userDrawn="1"/>
          </p:nvCxnSpPr>
          <p:spPr>
            <a:xfrm>
              <a:off x="9228186" y="-289302"/>
              <a:ext cx="2484438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 Verbindung mit Pfeil 51"/>
            <p:cNvCxnSpPr/>
            <p:nvPr userDrawn="1"/>
          </p:nvCxnSpPr>
          <p:spPr>
            <a:xfrm>
              <a:off x="263525" y="-763143"/>
              <a:ext cx="5472113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 Verbindung mit Pfeil 52"/>
            <p:cNvCxnSpPr/>
            <p:nvPr userDrawn="1"/>
          </p:nvCxnSpPr>
          <p:spPr>
            <a:xfrm>
              <a:off x="6240463" y="-763143"/>
              <a:ext cx="5472161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Gerade Verbindung 53"/>
            <p:cNvCxnSpPr/>
            <p:nvPr userDrawn="1"/>
          </p:nvCxnSpPr>
          <p:spPr>
            <a:xfrm>
              <a:off x="2999272" y="-361302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54"/>
            <p:cNvCxnSpPr/>
            <p:nvPr userDrawn="1"/>
          </p:nvCxnSpPr>
          <p:spPr>
            <a:xfrm>
              <a:off x="5987988" y="-361302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 Verbindung 55"/>
            <p:cNvCxnSpPr/>
            <p:nvPr userDrawn="1"/>
          </p:nvCxnSpPr>
          <p:spPr>
            <a:xfrm>
              <a:off x="8976320" y="-361302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 Verbindung 56"/>
            <p:cNvCxnSpPr/>
            <p:nvPr userDrawn="1"/>
          </p:nvCxnSpPr>
          <p:spPr>
            <a:xfrm>
              <a:off x="7968208" y="-598222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 Verbindung 57"/>
            <p:cNvCxnSpPr/>
            <p:nvPr userDrawn="1"/>
          </p:nvCxnSpPr>
          <p:spPr>
            <a:xfrm>
              <a:off x="4007768" y="-598222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 Verbindung 58"/>
            <p:cNvCxnSpPr/>
            <p:nvPr userDrawn="1"/>
          </p:nvCxnSpPr>
          <p:spPr>
            <a:xfrm>
              <a:off x="5987988" y="-835143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 Verbindung 59"/>
            <p:cNvCxnSpPr/>
            <p:nvPr userDrawn="1"/>
          </p:nvCxnSpPr>
          <p:spPr>
            <a:xfrm rot="5400000" flipV="1">
              <a:off x="-204708" y="826746"/>
              <a:ext cx="0" cy="144000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Gerade Verbindung 60"/>
            <p:cNvCxnSpPr/>
            <p:nvPr userDrawn="1"/>
          </p:nvCxnSpPr>
          <p:spPr>
            <a:xfrm rot="5400000" flipV="1">
              <a:off x="-204708" y="6785999"/>
              <a:ext cx="0" cy="144000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Gerade Verbindung 61"/>
            <p:cNvCxnSpPr/>
            <p:nvPr userDrawn="1"/>
          </p:nvCxnSpPr>
          <p:spPr>
            <a:xfrm rot="10800000" flipV="1">
              <a:off x="11928473" y="-361302"/>
              <a:ext cx="0" cy="144000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Gerade Verbindung 62"/>
            <p:cNvCxnSpPr/>
            <p:nvPr userDrawn="1"/>
          </p:nvCxnSpPr>
          <p:spPr>
            <a:xfrm rot="10800000" flipV="1">
              <a:off x="0" y="-361302"/>
              <a:ext cx="0" cy="144000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4" name="Textfeld 63"/>
          <p:cNvSpPr txBox="1"/>
          <p:nvPr/>
        </p:nvSpPr>
        <p:spPr>
          <a:xfrm>
            <a:off x="-1791723" y="799523"/>
            <a:ext cx="1514371" cy="184666"/>
          </a:xfrm>
          <a:prstGeom prst="rect">
            <a:avLst/>
          </a:prstGeom>
          <a:noFill/>
        </p:spPr>
        <p:txBody>
          <a:bodyPr wrap="none" lIns="72000" tIns="0" rIns="72000" bIns="0" rtlCol="0" anchor="ctr">
            <a:spAutoFit/>
          </a:bodyPr>
          <a:lstStyle/>
          <a:p>
            <a:pPr algn="r"/>
            <a:r>
              <a:rPr lang="de-DE" sz="1200" noProof="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abelle</a:t>
            </a:r>
            <a:r>
              <a:rPr lang="de-DE" sz="1200" baseline="0" noProof="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  <a:r>
              <a:rPr lang="de-DE" sz="1200" noProof="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(Vollflächig)</a:t>
            </a:r>
          </a:p>
        </p:txBody>
      </p:sp>
    </p:spTree>
    <p:extLst>
      <p:ext uri="{BB962C8B-B14F-4D97-AF65-F5344CB8AC3E}">
        <p14:creationId xmlns:p14="http://schemas.microsoft.com/office/powerpoint/2010/main" val="2297653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6" r:id="rId1"/>
    <p:sldLayoutId id="2147483961" r:id="rId2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cap="all" spc="-70" baseline="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216000" indent="-216000" algn="l" defTabSz="914400" rtl="0" eaLnBrk="1" latinLnBrk="0" hangingPunct="1">
        <a:lnSpc>
          <a:spcPct val="100000"/>
        </a:lnSpc>
        <a:spcBef>
          <a:spcPts val="500"/>
        </a:spcBef>
        <a:buFontTx/>
        <a:buChar char="–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2pPr>
      <a:lvl3pPr marL="432000" indent="-216000" algn="l" defTabSz="914400" rtl="0" eaLnBrk="1" latinLnBrk="0" hangingPunct="1">
        <a:lnSpc>
          <a:spcPct val="100000"/>
        </a:lnSpc>
        <a:spcBef>
          <a:spcPts val="500"/>
        </a:spcBef>
        <a:buFontTx/>
        <a:buChar char="–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3pPr>
      <a:lvl4pPr marL="648000" indent="-216000" algn="l" defTabSz="914400" rtl="0" eaLnBrk="1" latinLnBrk="0" hangingPunct="1">
        <a:lnSpc>
          <a:spcPct val="100000"/>
        </a:lnSpc>
        <a:spcBef>
          <a:spcPts val="500"/>
        </a:spcBef>
        <a:buFontTx/>
        <a:buChar char="–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4pPr>
      <a:lvl5pPr marL="864000" indent="-216000" algn="l" defTabSz="914400" rtl="0" eaLnBrk="1" latinLnBrk="0" hangingPunct="1">
        <a:lnSpc>
          <a:spcPct val="100000"/>
        </a:lnSpc>
        <a:spcBef>
          <a:spcPts val="500"/>
        </a:spcBef>
        <a:buFontTx/>
        <a:buChar char="–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1604501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6" imgW="344" imgH="345" progId="TCLayout.ActiveDocument.1">
                  <p:embed/>
                </p:oleObj>
              </mc:Choice>
              <mc:Fallback>
                <p:oleObj name="think-cell Folie" r:id="rId6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de-DE" sz="2800" b="0" i="0" baseline="0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Textfeld 3"/>
          <p:cNvSpPr txBox="1"/>
          <p:nvPr/>
        </p:nvSpPr>
        <p:spPr>
          <a:xfrm rot="16200000">
            <a:off x="8627637" y="3303909"/>
            <a:ext cx="6865200" cy="263527"/>
          </a:xfrm>
          <a:prstGeom prst="rect">
            <a:avLst/>
          </a:prstGeom>
          <a:solidFill>
            <a:schemeClr val="bg2"/>
          </a:solidFill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endParaRPr lang="de-DE" sz="800" kern="1200" spc="-30" baseline="0" dirty="0">
              <a:solidFill>
                <a:schemeClr val="tx2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Textfeld 8"/>
          <p:cNvSpPr txBox="1"/>
          <p:nvPr/>
        </p:nvSpPr>
        <p:spPr>
          <a:xfrm rot="16200000">
            <a:off x="11605877" y="322597"/>
            <a:ext cx="908719" cy="263527"/>
          </a:xfrm>
          <a:prstGeom prst="rect">
            <a:avLst/>
          </a:prstGeom>
          <a:noFill/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r>
              <a:rPr lang="de-DE" sz="800" kern="1200" spc="-3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© Rödl &amp; Partner </a:t>
            </a:r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263525" y="260648"/>
            <a:ext cx="11447923" cy="396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de-DE" noProof="0" dirty="0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263525" y="1052512"/>
            <a:ext cx="11448000" cy="54006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 dirty="0"/>
              <a:t>Formatvorlagen des Textmasters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928648" y="6453187"/>
            <a:ext cx="263350" cy="404813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lvl1pPr algn="ctr">
              <a:defRPr sz="1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4CFEB0D3-1EB3-4F08-8062-95FFB9749870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33" name="Textfeld 32"/>
          <p:cNvSpPr txBox="1"/>
          <p:nvPr/>
        </p:nvSpPr>
        <p:spPr>
          <a:xfrm>
            <a:off x="-974191" y="960180"/>
            <a:ext cx="696839" cy="184666"/>
          </a:xfrm>
          <a:prstGeom prst="rect">
            <a:avLst/>
          </a:prstGeom>
          <a:noFill/>
        </p:spPr>
        <p:txBody>
          <a:bodyPr wrap="none" lIns="72000" tIns="0" rIns="72000" bIns="0" rtlCol="0" anchor="ctr">
            <a:spAutoFit/>
          </a:bodyPr>
          <a:lstStyle/>
          <a:p>
            <a:pPr algn="r"/>
            <a:r>
              <a:rPr lang="de-DE" sz="1200" noProof="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extbox</a:t>
            </a:r>
          </a:p>
        </p:txBody>
      </p:sp>
      <p:sp>
        <p:nvSpPr>
          <p:cNvPr id="100" name="Textfeld 99"/>
          <p:cNvSpPr txBox="1"/>
          <p:nvPr/>
        </p:nvSpPr>
        <p:spPr>
          <a:xfrm>
            <a:off x="-1014869" y="-381635"/>
            <a:ext cx="990189" cy="184666"/>
          </a:xfrm>
          <a:prstGeom prst="rect">
            <a:avLst/>
          </a:prstGeom>
          <a:noFill/>
        </p:spPr>
        <p:txBody>
          <a:bodyPr wrap="none" lIns="72000" tIns="0" rIns="72000" bIns="0" rtlCol="0" anchor="ctr">
            <a:spAutoFit/>
          </a:bodyPr>
          <a:lstStyle/>
          <a:p>
            <a:pPr algn="r"/>
            <a:r>
              <a:rPr lang="de-DE" sz="1200" noProof="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Vier</a:t>
            </a:r>
            <a:r>
              <a:rPr lang="de-DE" sz="1200" baseline="0" noProof="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  <a:r>
              <a:rPr lang="de-DE" sz="1200" noProof="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Spalten</a:t>
            </a:r>
          </a:p>
        </p:txBody>
      </p:sp>
      <p:sp>
        <p:nvSpPr>
          <p:cNvPr id="101" name="Textfeld 100"/>
          <p:cNvSpPr txBox="1"/>
          <p:nvPr/>
        </p:nvSpPr>
        <p:spPr>
          <a:xfrm>
            <a:off x="-1032502" y="-618555"/>
            <a:ext cx="1007822" cy="184666"/>
          </a:xfrm>
          <a:prstGeom prst="rect">
            <a:avLst/>
          </a:prstGeom>
          <a:noFill/>
        </p:spPr>
        <p:txBody>
          <a:bodyPr wrap="none" lIns="72000" tIns="0" rIns="72000" bIns="0" rtlCol="0" anchor="ctr">
            <a:spAutoFit/>
          </a:bodyPr>
          <a:lstStyle/>
          <a:p>
            <a:pPr algn="r"/>
            <a:r>
              <a:rPr lang="de-DE" sz="1200" noProof="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Drei</a:t>
            </a:r>
            <a:r>
              <a:rPr lang="de-DE" sz="1200" baseline="0" noProof="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  <a:r>
              <a:rPr lang="de-DE" sz="1200" noProof="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Spalten</a:t>
            </a:r>
          </a:p>
        </p:txBody>
      </p:sp>
      <p:sp>
        <p:nvSpPr>
          <p:cNvPr id="105" name="Textfeld 104"/>
          <p:cNvSpPr txBox="1"/>
          <p:nvPr/>
        </p:nvSpPr>
        <p:spPr>
          <a:xfrm>
            <a:off x="-1067768" y="-855476"/>
            <a:ext cx="1043088" cy="184666"/>
          </a:xfrm>
          <a:prstGeom prst="rect">
            <a:avLst/>
          </a:prstGeom>
          <a:noFill/>
        </p:spPr>
        <p:txBody>
          <a:bodyPr wrap="none" lIns="72000" tIns="0" rIns="72000" bIns="0" rtlCol="0" anchor="ctr">
            <a:spAutoFit/>
          </a:bodyPr>
          <a:lstStyle/>
          <a:p>
            <a:pPr algn="r"/>
            <a:r>
              <a:rPr lang="de-DE" sz="1200" noProof="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Zwei Spalten</a:t>
            </a:r>
          </a:p>
        </p:txBody>
      </p:sp>
      <p:cxnSp>
        <p:nvCxnSpPr>
          <p:cNvPr id="38" name="Gerade Verbindung 37"/>
          <p:cNvCxnSpPr/>
          <p:nvPr/>
        </p:nvCxnSpPr>
        <p:spPr>
          <a:xfrm>
            <a:off x="11712624" y="6993412"/>
            <a:ext cx="0" cy="144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1" name="Gruppieren 40"/>
          <p:cNvGrpSpPr/>
          <p:nvPr/>
        </p:nvGrpSpPr>
        <p:grpSpPr>
          <a:xfrm>
            <a:off x="-276708" y="-835143"/>
            <a:ext cx="12205181" cy="7972555"/>
            <a:chOff x="-276708" y="-835143"/>
            <a:chExt cx="12205181" cy="7972555"/>
          </a:xfrm>
        </p:grpSpPr>
        <p:cxnSp>
          <p:nvCxnSpPr>
            <p:cNvPr id="42" name="Gerade Verbindung 41"/>
            <p:cNvCxnSpPr/>
            <p:nvPr userDrawn="1"/>
          </p:nvCxnSpPr>
          <p:spPr>
            <a:xfrm rot="5400000" flipV="1">
              <a:off x="-204708" y="980735"/>
              <a:ext cx="0" cy="1440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 Verbindung 42"/>
            <p:cNvCxnSpPr/>
            <p:nvPr userDrawn="1"/>
          </p:nvCxnSpPr>
          <p:spPr>
            <a:xfrm rot="5400000" flipV="1">
              <a:off x="-204708" y="6381336"/>
              <a:ext cx="0" cy="1440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Gerade Verbindung 43"/>
            <p:cNvCxnSpPr/>
            <p:nvPr userDrawn="1"/>
          </p:nvCxnSpPr>
          <p:spPr>
            <a:xfrm>
              <a:off x="259147" y="6993412"/>
              <a:ext cx="0" cy="1440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Gerade Verbindung mit Pfeil 44"/>
            <p:cNvCxnSpPr/>
            <p:nvPr userDrawn="1"/>
          </p:nvCxnSpPr>
          <p:spPr>
            <a:xfrm>
              <a:off x="263525" y="-526222"/>
              <a:ext cx="3492500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Gerade Verbindung mit Pfeil 45"/>
            <p:cNvCxnSpPr/>
            <p:nvPr userDrawn="1"/>
          </p:nvCxnSpPr>
          <p:spPr>
            <a:xfrm>
              <a:off x="4259684" y="-526222"/>
              <a:ext cx="3457154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Gerade Verbindung mit Pfeil 46"/>
            <p:cNvCxnSpPr/>
            <p:nvPr userDrawn="1"/>
          </p:nvCxnSpPr>
          <p:spPr>
            <a:xfrm>
              <a:off x="8220124" y="-526222"/>
              <a:ext cx="3492500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Gerade Verbindung mit Pfeil 47"/>
            <p:cNvCxnSpPr/>
            <p:nvPr userDrawn="1"/>
          </p:nvCxnSpPr>
          <p:spPr>
            <a:xfrm>
              <a:off x="263525" y="-289302"/>
              <a:ext cx="2484438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mit Pfeil 48"/>
            <p:cNvCxnSpPr/>
            <p:nvPr userDrawn="1"/>
          </p:nvCxnSpPr>
          <p:spPr>
            <a:xfrm>
              <a:off x="3251200" y="-289302"/>
              <a:ext cx="2484438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mit Pfeil 49"/>
            <p:cNvCxnSpPr/>
            <p:nvPr userDrawn="1"/>
          </p:nvCxnSpPr>
          <p:spPr>
            <a:xfrm>
              <a:off x="6240462" y="-289302"/>
              <a:ext cx="2484438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mit Pfeil 50"/>
            <p:cNvCxnSpPr/>
            <p:nvPr userDrawn="1"/>
          </p:nvCxnSpPr>
          <p:spPr>
            <a:xfrm>
              <a:off x="9228186" y="-289302"/>
              <a:ext cx="2484438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 Verbindung mit Pfeil 51"/>
            <p:cNvCxnSpPr/>
            <p:nvPr userDrawn="1"/>
          </p:nvCxnSpPr>
          <p:spPr>
            <a:xfrm>
              <a:off x="263525" y="-763143"/>
              <a:ext cx="5472113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 Verbindung mit Pfeil 52"/>
            <p:cNvCxnSpPr/>
            <p:nvPr userDrawn="1"/>
          </p:nvCxnSpPr>
          <p:spPr>
            <a:xfrm>
              <a:off x="6240463" y="-763143"/>
              <a:ext cx="5472161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Gerade Verbindung 53"/>
            <p:cNvCxnSpPr/>
            <p:nvPr userDrawn="1"/>
          </p:nvCxnSpPr>
          <p:spPr>
            <a:xfrm>
              <a:off x="2999272" y="-361302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54"/>
            <p:cNvCxnSpPr/>
            <p:nvPr userDrawn="1"/>
          </p:nvCxnSpPr>
          <p:spPr>
            <a:xfrm>
              <a:off x="5987988" y="-361302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 Verbindung 55"/>
            <p:cNvCxnSpPr/>
            <p:nvPr userDrawn="1"/>
          </p:nvCxnSpPr>
          <p:spPr>
            <a:xfrm>
              <a:off x="8976320" y="-361302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 Verbindung 56"/>
            <p:cNvCxnSpPr/>
            <p:nvPr userDrawn="1"/>
          </p:nvCxnSpPr>
          <p:spPr>
            <a:xfrm>
              <a:off x="7968208" y="-598222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 Verbindung 57"/>
            <p:cNvCxnSpPr/>
            <p:nvPr userDrawn="1"/>
          </p:nvCxnSpPr>
          <p:spPr>
            <a:xfrm>
              <a:off x="4007768" y="-598222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 Verbindung 58"/>
            <p:cNvCxnSpPr/>
            <p:nvPr userDrawn="1"/>
          </p:nvCxnSpPr>
          <p:spPr>
            <a:xfrm>
              <a:off x="5987988" y="-835143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 Verbindung 59"/>
            <p:cNvCxnSpPr/>
            <p:nvPr userDrawn="1"/>
          </p:nvCxnSpPr>
          <p:spPr>
            <a:xfrm rot="5400000" flipV="1">
              <a:off x="-204708" y="826746"/>
              <a:ext cx="0" cy="144000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Gerade Verbindung 60"/>
            <p:cNvCxnSpPr/>
            <p:nvPr userDrawn="1"/>
          </p:nvCxnSpPr>
          <p:spPr>
            <a:xfrm rot="5400000" flipV="1">
              <a:off x="-204708" y="6785999"/>
              <a:ext cx="0" cy="144000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Gerade Verbindung 61"/>
            <p:cNvCxnSpPr/>
            <p:nvPr userDrawn="1"/>
          </p:nvCxnSpPr>
          <p:spPr>
            <a:xfrm rot="10800000" flipV="1">
              <a:off x="11928473" y="-361302"/>
              <a:ext cx="0" cy="144000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Gerade Verbindung 62"/>
            <p:cNvCxnSpPr/>
            <p:nvPr userDrawn="1"/>
          </p:nvCxnSpPr>
          <p:spPr>
            <a:xfrm rot="10800000" flipV="1">
              <a:off x="0" y="-361302"/>
              <a:ext cx="0" cy="144000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4" name="Textfeld 63"/>
          <p:cNvSpPr txBox="1"/>
          <p:nvPr/>
        </p:nvSpPr>
        <p:spPr>
          <a:xfrm>
            <a:off x="-1791723" y="799523"/>
            <a:ext cx="1514371" cy="184666"/>
          </a:xfrm>
          <a:prstGeom prst="rect">
            <a:avLst/>
          </a:prstGeom>
          <a:noFill/>
        </p:spPr>
        <p:txBody>
          <a:bodyPr wrap="none" lIns="72000" tIns="0" rIns="72000" bIns="0" rtlCol="0" anchor="ctr">
            <a:spAutoFit/>
          </a:bodyPr>
          <a:lstStyle/>
          <a:p>
            <a:pPr algn="r"/>
            <a:r>
              <a:rPr lang="de-DE" sz="1200" noProof="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abelle</a:t>
            </a:r>
            <a:r>
              <a:rPr lang="de-DE" sz="1200" baseline="0" noProof="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  <a:r>
              <a:rPr lang="de-DE" sz="1200" noProof="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(Vollflächig)</a:t>
            </a:r>
          </a:p>
        </p:txBody>
      </p:sp>
    </p:spTree>
    <p:extLst>
      <p:ext uri="{BB962C8B-B14F-4D97-AF65-F5344CB8AC3E}">
        <p14:creationId xmlns:p14="http://schemas.microsoft.com/office/powerpoint/2010/main" val="23209113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2" r:id="rId1"/>
    <p:sldLayoutId id="2147483963" r:id="rId2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cap="all" spc="-70" baseline="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216000" indent="-216000" algn="l" defTabSz="914400" rtl="0" eaLnBrk="1" latinLnBrk="0" hangingPunct="1">
        <a:lnSpc>
          <a:spcPct val="100000"/>
        </a:lnSpc>
        <a:spcBef>
          <a:spcPts val="500"/>
        </a:spcBef>
        <a:buFontTx/>
        <a:buChar char="–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2pPr>
      <a:lvl3pPr marL="432000" indent="-216000" algn="l" defTabSz="914400" rtl="0" eaLnBrk="1" latinLnBrk="0" hangingPunct="1">
        <a:lnSpc>
          <a:spcPct val="100000"/>
        </a:lnSpc>
        <a:spcBef>
          <a:spcPts val="500"/>
        </a:spcBef>
        <a:buFontTx/>
        <a:buChar char="–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3pPr>
      <a:lvl4pPr marL="648000" indent="-216000" algn="l" defTabSz="914400" rtl="0" eaLnBrk="1" latinLnBrk="0" hangingPunct="1">
        <a:lnSpc>
          <a:spcPct val="100000"/>
        </a:lnSpc>
        <a:spcBef>
          <a:spcPts val="500"/>
        </a:spcBef>
        <a:buFontTx/>
        <a:buChar char="–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4pPr>
      <a:lvl5pPr marL="864000" indent="-216000" algn="l" defTabSz="914400" rtl="0" eaLnBrk="1" latinLnBrk="0" hangingPunct="1">
        <a:lnSpc>
          <a:spcPct val="100000"/>
        </a:lnSpc>
        <a:spcBef>
          <a:spcPts val="500"/>
        </a:spcBef>
        <a:buFontTx/>
        <a:buChar char="–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8001788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4" imgW="344" imgH="345" progId="TCLayout.ActiveDocument.1">
                  <p:embed/>
                </p:oleObj>
              </mc:Choice>
              <mc:Fallback>
                <p:oleObj name="think-cell Folie" r:id="rId14" imgW="344" imgH="345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/>
          <p:cNvSpPr/>
          <p:nvPr>
            <p:custDataLst>
              <p:tags r:id="rId1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de-DE" sz="2800" b="0" i="0" baseline="0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263525" y="260648"/>
            <a:ext cx="11447923" cy="396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de-DE" noProof="0" dirty="0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263525" y="1052512"/>
            <a:ext cx="11448000" cy="54006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 dirty="0"/>
              <a:t>Formatvorlagen des Textmasters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33" name="Textfeld 32"/>
          <p:cNvSpPr txBox="1"/>
          <p:nvPr/>
        </p:nvSpPr>
        <p:spPr>
          <a:xfrm>
            <a:off x="-974191" y="960180"/>
            <a:ext cx="696839" cy="184666"/>
          </a:xfrm>
          <a:prstGeom prst="rect">
            <a:avLst/>
          </a:prstGeom>
          <a:noFill/>
        </p:spPr>
        <p:txBody>
          <a:bodyPr wrap="none" lIns="72000" tIns="0" rIns="72000" bIns="0" rtlCol="0" anchor="ctr">
            <a:spAutoFit/>
          </a:bodyPr>
          <a:lstStyle/>
          <a:p>
            <a:pPr algn="r"/>
            <a:r>
              <a:rPr lang="de-DE" sz="1200" noProof="0" dirty="0">
                <a:latin typeface="Arial" panose="020B0604020202020204" pitchFamily="34" charset="0"/>
                <a:cs typeface="Arial"/>
                <a:sym typeface="Arial" panose="020B0604020202020204" pitchFamily="34" charset="0"/>
              </a:rPr>
              <a:t>Textbox</a:t>
            </a:r>
          </a:p>
        </p:txBody>
      </p:sp>
      <p:sp>
        <p:nvSpPr>
          <p:cNvPr id="100" name="Textfeld 99"/>
          <p:cNvSpPr txBox="1"/>
          <p:nvPr/>
        </p:nvSpPr>
        <p:spPr>
          <a:xfrm>
            <a:off x="-1014869" y="-381635"/>
            <a:ext cx="990189" cy="184666"/>
          </a:xfrm>
          <a:prstGeom prst="rect">
            <a:avLst/>
          </a:prstGeom>
          <a:noFill/>
        </p:spPr>
        <p:txBody>
          <a:bodyPr wrap="none" lIns="72000" tIns="0" rIns="72000" bIns="0" rtlCol="0" anchor="ctr">
            <a:spAutoFit/>
          </a:bodyPr>
          <a:lstStyle/>
          <a:p>
            <a:pPr algn="r"/>
            <a:r>
              <a:rPr lang="de-DE" sz="1200" noProof="0" dirty="0">
                <a:latin typeface="Arial" panose="020B0604020202020204" pitchFamily="34" charset="0"/>
                <a:cs typeface="Arial"/>
                <a:sym typeface="Arial" panose="020B0604020202020204" pitchFamily="34" charset="0"/>
              </a:rPr>
              <a:t>Vier</a:t>
            </a:r>
            <a:r>
              <a:rPr lang="de-DE" sz="1200" baseline="0" noProof="0" dirty="0">
                <a:latin typeface="Arial" panose="020B0604020202020204" pitchFamily="34" charset="0"/>
                <a:cs typeface="Arial"/>
                <a:sym typeface="Arial" panose="020B0604020202020204" pitchFamily="34" charset="0"/>
              </a:rPr>
              <a:t> </a:t>
            </a:r>
            <a:r>
              <a:rPr lang="de-DE" sz="1200" noProof="0" dirty="0">
                <a:latin typeface="Arial" panose="020B0604020202020204" pitchFamily="34" charset="0"/>
                <a:cs typeface="Arial"/>
                <a:sym typeface="Arial" panose="020B0604020202020204" pitchFamily="34" charset="0"/>
              </a:rPr>
              <a:t>Spalten</a:t>
            </a:r>
          </a:p>
        </p:txBody>
      </p:sp>
      <p:sp>
        <p:nvSpPr>
          <p:cNvPr id="101" name="Textfeld 100"/>
          <p:cNvSpPr txBox="1"/>
          <p:nvPr/>
        </p:nvSpPr>
        <p:spPr>
          <a:xfrm>
            <a:off x="-1032502" y="-618555"/>
            <a:ext cx="1007822" cy="184666"/>
          </a:xfrm>
          <a:prstGeom prst="rect">
            <a:avLst/>
          </a:prstGeom>
          <a:noFill/>
        </p:spPr>
        <p:txBody>
          <a:bodyPr wrap="none" lIns="72000" tIns="0" rIns="72000" bIns="0" rtlCol="0" anchor="ctr">
            <a:spAutoFit/>
          </a:bodyPr>
          <a:lstStyle/>
          <a:p>
            <a:pPr algn="r"/>
            <a:r>
              <a:rPr lang="de-DE" sz="1200" noProof="0" dirty="0">
                <a:latin typeface="Arial" panose="020B0604020202020204" pitchFamily="34" charset="0"/>
                <a:cs typeface="Arial"/>
                <a:sym typeface="Arial" panose="020B0604020202020204" pitchFamily="34" charset="0"/>
              </a:rPr>
              <a:t>Drei</a:t>
            </a:r>
            <a:r>
              <a:rPr lang="de-DE" sz="1200" baseline="0" noProof="0" dirty="0">
                <a:latin typeface="Arial" panose="020B0604020202020204" pitchFamily="34" charset="0"/>
                <a:cs typeface="Arial"/>
                <a:sym typeface="Arial" panose="020B0604020202020204" pitchFamily="34" charset="0"/>
              </a:rPr>
              <a:t> </a:t>
            </a:r>
            <a:r>
              <a:rPr lang="de-DE" sz="1200" noProof="0" dirty="0">
                <a:latin typeface="Arial" panose="020B0604020202020204" pitchFamily="34" charset="0"/>
                <a:cs typeface="Arial"/>
                <a:sym typeface="Arial" panose="020B0604020202020204" pitchFamily="34" charset="0"/>
              </a:rPr>
              <a:t>Spalten</a:t>
            </a:r>
          </a:p>
        </p:txBody>
      </p:sp>
      <p:sp>
        <p:nvSpPr>
          <p:cNvPr id="105" name="Textfeld 104"/>
          <p:cNvSpPr txBox="1"/>
          <p:nvPr/>
        </p:nvSpPr>
        <p:spPr>
          <a:xfrm>
            <a:off x="-1067768" y="-855476"/>
            <a:ext cx="1043088" cy="184666"/>
          </a:xfrm>
          <a:prstGeom prst="rect">
            <a:avLst/>
          </a:prstGeom>
          <a:noFill/>
        </p:spPr>
        <p:txBody>
          <a:bodyPr wrap="none" lIns="72000" tIns="0" rIns="72000" bIns="0" rtlCol="0" anchor="ctr">
            <a:spAutoFit/>
          </a:bodyPr>
          <a:lstStyle/>
          <a:p>
            <a:pPr algn="r"/>
            <a:r>
              <a:rPr lang="de-DE" sz="1200" noProof="0" dirty="0">
                <a:latin typeface="Arial" panose="020B0604020202020204" pitchFamily="34" charset="0"/>
                <a:cs typeface="Arial"/>
                <a:sym typeface="Arial" panose="020B0604020202020204" pitchFamily="34" charset="0"/>
              </a:rPr>
              <a:t>Zwei Spalten</a:t>
            </a:r>
          </a:p>
        </p:txBody>
      </p:sp>
      <p:grpSp>
        <p:nvGrpSpPr>
          <p:cNvPr id="120" name="Gruppieren 119"/>
          <p:cNvGrpSpPr/>
          <p:nvPr/>
        </p:nvGrpSpPr>
        <p:grpSpPr>
          <a:xfrm>
            <a:off x="-276708" y="-835143"/>
            <a:ext cx="12205181" cy="7972555"/>
            <a:chOff x="-276708" y="-835143"/>
            <a:chExt cx="12205181" cy="7972555"/>
          </a:xfrm>
        </p:grpSpPr>
        <p:cxnSp>
          <p:nvCxnSpPr>
            <p:cNvPr id="24" name="Gerade Verbindung 23"/>
            <p:cNvCxnSpPr/>
            <p:nvPr userDrawn="1"/>
          </p:nvCxnSpPr>
          <p:spPr>
            <a:xfrm rot="5400000" flipV="1">
              <a:off x="-204708" y="980735"/>
              <a:ext cx="0" cy="1440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24"/>
            <p:cNvCxnSpPr/>
            <p:nvPr userDrawn="1"/>
          </p:nvCxnSpPr>
          <p:spPr>
            <a:xfrm rot="5400000" flipV="1">
              <a:off x="-204708" y="6381336"/>
              <a:ext cx="0" cy="1440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Gerade Verbindung 78"/>
            <p:cNvCxnSpPr/>
            <p:nvPr userDrawn="1"/>
          </p:nvCxnSpPr>
          <p:spPr>
            <a:xfrm>
              <a:off x="259147" y="6993412"/>
              <a:ext cx="0" cy="1440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3" name="Gerade Verbindung mit Pfeil 92"/>
            <p:cNvCxnSpPr/>
            <p:nvPr userDrawn="1"/>
          </p:nvCxnSpPr>
          <p:spPr>
            <a:xfrm>
              <a:off x="263525" y="-526222"/>
              <a:ext cx="3492500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" name="Gerade Verbindung mit Pfeil 93"/>
            <p:cNvCxnSpPr/>
            <p:nvPr userDrawn="1"/>
          </p:nvCxnSpPr>
          <p:spPr>
            <a:xfrm>
              <a:off x="4259684" y="-526222"/>
              <a:ext cx="3457154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Gerade Verbindung mit Pfeil 94"/>
            <p:cNvCxnSpPr/>
            <p:nvPr userDrawn="1"/>
          </p:nvCxnSpPr>
          <p:spPr>
            <a:xfrm>
              <a:off x="8220124" y="-526222"/>
              <a:ext cx="3492500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Gerade Verbindung mit Pfeil 95"/>
            <p:cNvCxnSpPr/>
            <p:nvPr userDrawn="1"/>
          </p:nvCxnSpPr>
          <p:spPr>
            <a:xfrm>
              <a:off x="263525" y="-289302"/>
              <a:ext cx="2484438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Gerade Verbindung mit Pfeil 96"/>
            <p:cNvCxnSpPr/>
            <p:nvPr userDrawn="1"/>
          </p:nvCxnSpPr>
          <p:spPr>
            <a:xfrm>
              <a:off x="3251200" y="-289302"/>
              <a:ext cx="2484438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Gerade Verbindung mit Pfeil 97"/>
            <p:cNvCxnSpPr/>
            <p:nvPr userDrawn="1"/>
          </p:nvCxnSpPr>
          <p:spPr>
            <a:xfrm>
              <a:off x="6240462" y="-289302"/>
              <a:ext cx="2484438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Gerade Verbindung mit Pfeil 98"/>
            <p:cNvCxnSpPr/>
            <p:nvPr userDrawn="1"/>
          </p:nvCxnSpPr>
          <p:spPr>
            <a:xfrm>
              <a:off x="9228186" y="-289302"/>
              <a:ext cx="2484438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Gerade Verbindung mit Pfeil 101"/>
            <p:cNvCxnSpPr/>
            <p:nvPr userDrawn="1"/>
          </p:nvCxnSpPr>
          <p:spPr>
            <a:xfrm>
              <a:off x="263525" y="-763143"/>
              <a:ext cx="5472113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" name="Gerade Verbindung mit Pfeil 103"/>
            <p:cNvCxnSpPr/>
            <p:nvPr userDrawn="1"/>
          </p:nvCxnSpPr>
          <p:spPr>
            <a:xfrm>
              <a:off x="6240463" y="-763143"/>
              <a:ext cx="5472161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Gerade Verbindung 107"/>
            <p:cNvCxnSpPr/>
            <p:nvPr userDrawn="1"/>
          </p:nvCxnSpPr>
          <p:spPr>
            <a:xfrm>
              <a:off x="2999272" y="-361302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Gerade Verbindung 108"/>
            <p:cNvCxnSpPr/>
            <p:nvPr userDrawn="1"/>
          </p:nvCxnSpPr>
          <p:spPr>
            <a:xfrm>
              <a:off x="5987988" y="-361302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Gerade Verbindung 109"/>
            <p:cNvCxnSpPr/>
            <p:nvPr userDrawn="1"/>
          </p:nvCxnSpPr>
          <p:spPr>
            <a:xfrm>
              <a:off x="8976320" y="-361302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Gerade Verbindung 110"/>
            <p:cNvCxnSpPr/>
            <p:nvPr userDrawn="1"/>
          </p:nvCxnSpPr>
          <p:spPr>
            <a:xfrm>
              <a:off x="7968208" y="-598222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Gerade Verbindung 111"/>
            <p:cNvCxnSpPr/>
            <p:nvPr userDrawn="1"/>
          </p:nvCxnSpPr>
          <p:spPr>
            <a:xfrm>
              <a:off x="4007768" y="-598222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Gerade Verbindung 112"/>
            <p:cNvCxnSpPr/>
            <p:nvPr userDrawn="1"/>
          </p:nvCxnSpPr>
          <p:spPr>
            <a:xfrm>
              <a:off x="5987988" y="-835143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33"/>
            <p:cNvCxnSpPr/>
            <p:nvPr userDrawn="1"/>
          </p:nvCxnSpPr>
          <p:spPr>
            <a:xfrm rot="5400000" flipV="1">
              <a:off x="-204708" y="826746"/>
              <a:ext cx="0" cy="144000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34"/>
            <p:cNvCxnSpPr/>
            <p:nvPr userDrawn="1"/>
          </p:nvCxnSpPr>
          <p:spPr>
            <a:xfrm rot="5400000" flipV="1">
              <a:off x="-204708" y="6785999"/>
              <a:ext cx="0" cy="144000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35"/>
            <p:cNvCxnSpPr/>
            <p:nvPr userDrawn="1"/>
          </p:nvCxnSpPr>
          <p:spPr>
            <a:xfrm rot="10800000" flipV="1">
              <a:off x="11928473" y="-361302"/>
              <a:ext cx="0" cy="144000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 Verbindung 38"/>
            <p:cNvCxnSpPr/>
            <p:nvPr userDrawn="1"/>
          </p:nvCxnSpPr>
          <p:spPr>
            <a:xfrm rot="10800000" flipV="1">
              <a:off x="0" y="-361302"/>
              <a:ext cx="0" cy="144000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38" name="Gerade Verbindung 37"/>
          <p:cNvCxnSpPr/>
          <p:nvPr/>
        </p:nvCxnSpPr>
        <p:spPr>
          <a:xfrm>
            <a:off x="11712624" y="6993412"/>
            <a:ext cx="0" cy="144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feld 39"/>
          <p:cNvSpPr txBox="1"/>
          <p:nvPr/>
        </p:nvSpPr>
        <p:spPr>
          <a:xfrm>
            <a:off x="-1791723" y="799523"/>
            <a:ext cx="1514371" cy="184666"/>
          </a:xfrm>
          <a:prstGeom prst="rect">
            <a:avLst/>
          </a:prstGeom>
          <a:noFill/>
        </p:spPr>
        <p:txBody>
          <a:bodyPr wrap="none" lIns="72000" tIns="0" rIns="72000" bIns="0" rtlCol="0" anchor="ctr">
            <a:spAutoFit/>
          </a:bodyPr>
          <a:lstStyle/>
          <a:p>
            <a:pPr algn="r"/>
            <a:r>
              <a:rPr lang="de-DE" sz="1200" noProof="0" dirty="0">
                <a:solidFill>
                  <a:srgbClr val="FF0000"/>
                </a:solidFill>
                <a:latin typeface="Arial" panose="020B0604020202020204" pitchFamily="34" charset="0"/>
                <a:cs typeface="Arial"/>
                <a:sym typeface="Arial" panose="020B0604020202020204" pitchFamily="34" charset="0"/>
              </a:rPr>
              <a:t>Tabelle</a:t>
            </a:r>
            <a:r>
              <a:rPr lang="de-DE" sz="1200" baseline="0" noProof="0" dirty="0">
                <a:solidFill>
                  <a:srgbClr val="FF0000"/>
                </a:solidFill>
                <a:latin typeface="Arial" panose="020B0604020202020204" pitchFamily="34" charset="0"/>
                <a:cs typeface="Arial"/>
                <a:sym typeface="Arial" panose="020B0604020202020204" pitchFamily="34" charset="0"/>
              </a:rPr>
              <a:t> </a:t>
            </a:r>
            <a:r>
              <a:rPr lang="de-DE" sz="1200" noProof="0" dirty="0">
                <a:solidFill>
                  <a:srgbClr val="FF0000"/>
                </a:solidFill>
                <a:latin typeface="Arial" panose="020B0604020202020204" pitchFamily="34" charset="0"/>
                <a:cs typeface="Arial"/>
                <a:sym typeface="Arial" panose="020B0604020202020204" pitchFamily="34" charset="0"/>
              </a:rPr>
              <a:t>(Vollflächig)</a:t>
            </a:r>
          </a:p>
        </p:txBody>
      </p:sp>
      <p:sp>
        <p:nvSpPr>
          <p:cNvPr id="41" name="object 4">
            <a:extLst>
              <a:ext uri="{FF2B5EF4-FFF2-40B4-BE49-F238E27FC236}">
                <a16:creationId xmlns:a16="http://schemas.microsoft.com/office/drawing/2014/main" id="{F1407FCD-A98D-8D4C-BAEA-A83B72042659}"/>
              </a:ext>
            </a:extLst>
          </p:cNvPr>
          <p:cNvSpPr/>
          <p:nvPr/>
        </p:nvSpPr>
        <p:spPr>
          <a:xfrm>
            <a:off x="0" y="899999"/>
            <a:ext cx="12192635" cy="0"/>
          </a:xfrm>
          <a:custGeom>
            <a:avLst/>
            <a:gdLst/>
            <a:ahLst/>
            <a:cxnLst/>
            <a:rect l="l" t="t" r="r" b="b"/>
            <a:pathLst>
              <a:path w="12192635">
                <a:moveTo>
                  <a:pt x="0" y="0"/>
                </a:moveTo>
                <a:lnTo>
                  <a:pt x="12192113" y="0"/>
                </a:lnTo>
              </a:path>
            </a:pathLst>
          </a:custGeom>
          <a:ln w="25400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090169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6" r:id="rId1"/>
    <p:sldLayoutId id="2147483967" r:id="rId2"/>
    <p:sldLayoutId id="2147483968" r:id="rId3"/>
    <p:sldLayoutId id="2147483969" r:id="rId4"/>
    <p:sldLayoutId id="2147483970" r:id="rId5"/>
    <p:sldLayoutId id="2147483971" r:id="rId6"/>
    <p:sldLayoutId id="2147483972" r:id="rId7"/>
    <p:sldLayoutId id="2147483973" r:id="rId8"/>
    <p:sldLayoutId id="2147483974" r:id="rId9"/>
    <p:sldLayoutId id="2147483975" r:id="rId10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cap="all" spc="-70" baseline="0">
          <a:solidFill>
            <a:schemeClr val="tx1"/>
          </a:solidFill>
          <a:latin typeface="Arial" panose="020B0604020202020204" pitchFamily="34" charset="0"/>
          <a:ea typeface="+mj-ea"/>
          <a:cs typeface="Arial"/>
          <a:sym typeface="Arial" panose="020B0604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/>
          <a:sym typeface="Arial" panose="020B0604020202020204" pitchFamily="34" charset="0"/>
        </a:defRPr>
      </a:lvl1pPr>
      <a:lvl2pPr marL="216000" indent="-216000" algn="l" defTabSz="914400" rtl="0" eaLnBrk="1" latinLnBrk="0" hangingPunct="1">
        <a:lnSpc>
          <a:spcPct val="100000"/>
        </a:lnSpc>
        <a:spcBef>
          <a:spcPts val="500"/>
        </a:spcBef>
        <a:buFontTx/>
        <a:buChar char="–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/>
          <a:sym typeface="Arial" panose="020B0604020202020204" pitchFamily="34" charset="0"/>
        </a:defRPr>
      </a:lvl2pPr>
      <a:lvl3pPr marL="432000" indent="-216000" algn="l" defTabSz="914400" rtl="0" eaLnBrk="1" latinLnBrk="0" hangingPunct="1">
        <a:lnSpc>
          <a:spcPct val="100000"/>
        </a:lnSpc>
        <a:spcBef>
          <a:spcPts val="500"/>
        </a:spcBef>
        <a:buFontTx/>
        <a:buChar char="–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/>
          <a:sym typeface="Arial" panose="020B0604020202020204" pitchFamily="34" charset="0"/>
        </a:defRPr>
      </a:lvl3pPr>
      <a:lvl4pPr marL="648000" indent="-216000" algn="l" defTabSz="914400" rtl="0" eaLnBrk="1" latinLnBrk="0" hangingPunct="1">
        <a:lnSpc>
          <a:spcPct val="100000"/>
        </a:lnSpc>
        <a:spcBef>
          <a:spcPts val="500"/>
        </a:spcBef>
        <a:buFontTx/>
        <a:buChar char="–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/>
          <a:sym typeface="Arial" panose="020B0604020202020204" pitchFamily="34" charset="0"/>
        </a:defRPr>
      </a:lvl4pPr>
      <a:lvl5pPr marL="864000" indent="-216000" algn="l" defTabSz="914400" rtl="0" eaLnBrk="1" latinLnBrk="0" hangingPunct="1">
        <a:lnSpc>
          <a:spcPct val="100000"/>
        </a:lnSpc>
        <a:spcBef>
          <a:spcPts val="500"/>
        </a:spcBef>
        <a:buFontTx/>
        <a:buChar char="–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/>
          <a:sym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35340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6" imgW="344" imgH="345" progId="TCLayout.ActiveDocument.1">
                  <p:embed/>
                </p:oleObj>
              </mc:Choice>
              <mc:Fallback>
                <p:oleObj name="think-cell Folie" r:id="rId16" imgW="344" imgH="345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/>
          <p:cNvSpPr/>
          <p:nvPr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de-DE" sz="2800" b="0" i="0" baseline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263525" y="260648"/>
            <a:ext cx="11447923" cy="396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de-DE" noProof="0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263525" y="1052512"/>
            <a:ext cx="11448000" cy="54006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Formatvorlagen des Textmasters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33" name="Textfeld 32"/>
          <p:cNvSpPr txBox="1"/>
          <p:nvPr/>
        </p:nvSpPr>
        <p:spPr>
          <a:xfrm>
            <a:off x="-974191" y="960180"/>
            <a:ext cx="696839" cy="184666"/>
          </a:xfrm>
          <a:prstGeom prst="rect">
            <a:avLst/>
          </a:prstGeom>
          <a:noFill/>
        </p:spPr>
        <p:txBody>
          <a:bodyPr wrap="none" lIns="72000" tIns="0" rIns="72000" bIns="0" rtlCol="0" anchor="ctr">
            <a:spAutoFit/>
          </a:bodyPr>
          <a:lstStyle/>
          <a:p>
            <a:pPr algn="r"/>
            <a:r>
              <a:rPr lang="de-DE" sz="1200" noProof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extbox</a:t>
            </a:r>
          </a:p>
        </p:txBody>
      </p:sp>
      <p:sp>
        <p:nvSpPr>
          <p:cNvPr id="100" name="Textfeld 99"/>
          <p:cNvSpPr txBox="1"/>
          <p:nvPr/>
        </p:nvSpPr>
        <p:spPr>
          <a:xfrm>
            <a:off x="-1014869" y="-381635"/>
            <a:ext cx="990189" cy="184666"/>
          </a:xfrm>
          <a:prstGeom prst="rect">
            <a:avLst/>
          </a:prstGeom>
          <a:noFill/>
        </p:spPr>
        <p:txBody>
          <a:bodyPr wrap="none" lIns="72000" tIns="0" rIns="72000" bIns="0" rtlCol="0" anchor="ctr">
            <a:spAutoFit/>
          </a:bodyPr>
          <a:lstStyle/>
          <a:p>
            <a:pPr algn="r"/>
            <a:r>
              <a:rPr lang="de-DE" sz="1200" noProof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Vier</a:t>
            </a:r>
            <a:r>
              <a:rPr lang="de-DE" sz="1200" baseline="0" noProof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  <a:r>
              <a:rPr lang="de-DE" sz="1200" noProof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Spalten</a:t>
            </a:r>
          </a:p>
        </p:txBody>
      </p:sp>
      <p:sp>
        <p:nvSpPr>
          <p:cNvPr id="101" name="Textfeld 100"/>
          <p:cNvSpPr txBox="1"/>
          <p:nvPr/>
        </p:nvSpPr>
        <p:spPr>
          <a:xfrm>
            <a:off x="-1032502" y="-618555"/>
            <a:ext cx="1007822" cy="184666"/>
          </a:xfrm>
          <a:prstGeom prst="rect">
            <a:avLst/>
          </a:prstGeom>
          <a:noFill/>
        </p:spPr>
        <p:txBody>
          <a:bodyPr wrap="none" lIns="72000" tIns="0" rIns="72000" bIns="0" rtlCol="0" anchor="ctr">
            <a:spAutoFit/>
          </a:bodyPr>
          <a:lstStyle/>
          <a:p>
            <a:pPr algn="r"/>
            <a:r>
              <a:rPr lang="de-DE" sz="1200" noProof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Drei</a:t>
            </a:r>
            <a:r>
              <a:rPr lang="de-DE" sz="1200" baseline="0" noProof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  <a:r>
              <a:rPr lang="de-DE" sz="1200" noProof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Spalten</a:t>
            </a:r>
          </a:p>
        </p:txBody>
      </p:sp>
      <p:sp>
        <p:nvSpPr>
          <p:cNvPr id="105" name="Textfeld 104"/>
          <p:cNvSpPr txBox="1"/>
          <p:nvPr/>
        </p:nvSpPr>
        <p:spPr>
          <a:xfrm>
            <a:off x="-1067768" y="-855476"/>
            <a:ext cx="1043088" cy="184666"/>
          </a:xfrm>
          <a:prstGeom prst="rect">
            <a:avLst/>
          </a:prstGeom>
          <a:noFill/>
        </p:spPr>
        <p:txBody>
          <a:bodyPr wrap="none" lIns="72000" tIns="0" rIns="72000" bIns="0" rtlCol="0" anchor="ctr">
            <a:spAutoFit/>
          </a:bodyPr>
          <a:lstStyle/>
          <a:p>
            <a:pPr algn="r"/>
            <a:r>
              <a:rPr lang="de-DE" sz="1200" noProof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Zwei Spalten</a:t>
            </a:r>
          </a:p>
        </p:txBody>
      </p:sp>
      <p:grpSp>
        <p:nvGrpSpPr>
          <p:cNvPr id="120" name="Gruppieren 119"/>
          <p:cNvGrpSpPr/>
          <p:nvPr/>
        </p:nvGrpSpPr>
        <p:grpSpPr>
          <a:xfrm>
            <a:off x="-276708" y="-835143"/>
            <a:ext cx="12205181" cy="7972555"/>
            <a:chOff x="-276708" y="-835143"/>
            <a:chExt cx="12205181" cy="7972555"/>
          </a:xfrm>
        </p:grpSpPr>
        <p:cxnSp>
          <p:nvCxnSpPr>
            <p:cNvPr id="24" name="Gerade Verbindung 23"/>
            <p:cNvCxnSpPr/>
            <p:nvPr userDrawn="1"/>
          </p:nvCxnSpPr>
          <p:spPr>
            <a:xfrm rot="5400000" flipV="1">
              <a:off x="-204708" y="980735"/>
              <a:ext cx="0" cy="1440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24"/>
            <p:cNvCxnSpPr/>
            <p:nvPr userDrawn="1"/>
          </p:nvCxnSpPr>
          <p:spPr>
            <a:xfrm rot="5400000" flipV="1">
              <a:off x="-204708" y="6381336"/>
              <a:ext cx="0" cy="1440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Gerade Verbindung 78"/>
            <p:cNvCxnSpPr/>
            <p:nvPr userDrawn="1"/>
          </p:nvCxnSpPr>
          <p:spPr>
            <a:xfrm>
              <a:off x="259147" y="6993412"/>
              <a:ext cx="0" cy="1440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3" name="Gerade Verbindung mit Pfeil 92"/>
            <p:cNvCxnSpPr/>
            <p:nvPr userDrawn="1"/>
          </p:nvCxnSpPr>
          <p:spPr>
            <a:xfrm>
              <a:off x="263525" y="-526222"/>
              <a:ext cx="3492500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" name="Gerade Verbindung mit Pfeil 93"/>
            <p:cNvCxnSpPr/>
            <p:nvPr userDrawn="1"/>
          </p:nvCxnSpPr>
          <p:spPr>
            <a:xfrm>
              <a:off x="4259684" y="-526222"/>
              <a:ext cx="3457154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Gerade Verbindung mit Pfeil 94"/>
            <p:cNvCxnSpPr/>
            <p:nvPr userDrawn="1"/>
          </p:nvCxnSpPr>
          <p:spPr>
            <a:xfrm>
              <a:off x="8220124" y="-526222"/>
              <a:ext cx="3492500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Gerade Verbindung mit Pfeil 95"/>
            <p:cNvCxnSpPr/>
            <p:nvPr userDrawn="1"/>
          </p:nvCxnSpPr>
          <p:spPr>
            <a:xfrm>
              <a:off x="263525" y="-289302"/>
              <a:ext cx="2484438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Gerade Verbindung mit Pfeil 96"/>
            <p:cNvCxnSpPr/>
            <p:nvPr userDrawn="1"/>
          </p:nvCxnSpPr>
          <p:spPr>
            <a:xfrm>
              <a:off x="3251200" y="-289302"/>
              <a:ext cx="2484438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Gerade Verbindung mit Pfeil 97"/>
            <p:cNvCxnSpPr/>
            <p:nvPr userDrawn="1"/>
          </p:nvCxnSpPr>
          <p:spPr>
            <a:xfrm>
              <a:off x="6240462" y="-289302"/>
              <a:ext cx="2484438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Gerade Verbindung mit Pfeil 98"/>
            <p:cNvCxnSpPr/>
            <p:nvPr userDrawn="1"/>
          </p:nvCxnSpPr>
          <p:spPr>
            <a:xfrm>
              <a:off x="9228186" y="-289302"/>
              <a:ext cx="2484438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Gerade Verbindung mit Pfeil 101"/>
            <p:cNvCxnSpPr/>
            <p:nvPr userDrawn="1"/>
          </p:nvCxnSpPr>
          <p:spPr>
            <a:xfrm>
              <a:off x="263525" y="-763143"/>
              <a:ext cx="5472113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" name="Gerade Verbindung mit Pfeil 103"/>
            <p:cNvCxnSpPr/>
            <p:nvPr userDrawn="1"/>
          </p:nvCxnSpPr>
          <p:spPr>
            <a:xfrm>
              <a:off x="6240463" y="-763143"/>
              <a:ext cx="5472161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Gerade Verbindung 107"/>
            <p:cNvCxnSpPr/>
            <p:nvPr userDrawn="1"/>
          </p:nvCxnSpPr>
          <p:spPr>
            <a:xfrm>
              <a:off x="2999272" y="-361302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Gerade Verbindung 108"/>
            <p:cNvCxnSpPr/>
            <p:nvPr userDrawn="1"/>
          </p:nvCxnSpPr>
          <p:spPr>
            <a:xfrm>
              <a:off x="5987988" y="-361302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Gerade Verbindung 109"/>
            <p:cNvCxnSpPr/>
            <p:nvPr userDrawn="1"/>
          </p:nvCxnSpPr>
          <p:spPr>
            <a:xfrm>
              <a:off x="8976320" y="-361302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Gerade Verbindung 110"/>
            <p:cNvCxnSpPr/>
            <p:nvPr userDrawn="1"/>
          </p:nvCxnSpPr>
          <p:spPr>
            <a:xfrm>
              <a:off x="7968208" y="-598222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Gerade Verbindung 111"/>
            <p:cNvCxnSpPr/>
            <p:nvPr userDrawn="1"/>
          </p:nvCxnSpPr>
          <p:spPr>
            <a:xfrm>
              <a:off x="4007768" y="-598222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Gerade Verbindung 112"/>
            <p:cNvCxnSpPr/>
            <p:nvPr userDrawn="1"/>
          </p:nvCxnSpPr>
          <p:spPr>
            <a:xfrm>
              <a:off x="5987988" y="-835143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33"/>
            <p:cNvCxnSpPr/>
            <p:nvPr userDrawn="1"/>
          </p:nvCxnSpPr>
          <p:spPr>
            <a:xfrm rot="5400000" flipV="1">
              <a:off x="-204708" y="826746"/>
              <a:ext cx="0" cy="144000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34"/>
            <p:cNvCxnSpPr/>
            <p:nvPr userDrawn="1"/>
          </p:nvCxnSpPr>
          <p:spPr>
            <a:xfrm rot="5400000" flipV="1">
              <a:off x="-204708" y="6785999"/>
              <a:ext cx="0" cy="144000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35"/>
            <p:cNvCxnSpPr/>
            <p:nvPr userDrawn="1"/>
          </p:nvCxnSpPr>
          <p:spPr>
            <a:xfrm rot="10800000" flipV="1">
              <a:off x="11928473" y="-361302"/>
              <a:ext cx="0" cy="144000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 Verbindung 38"/>
            <p:cNvCxnSpPr/>
            <p:nvPr userDrawn="1"/>
          </p:nvCxnSpPr>
          <p:spPr>
            <a:xfrm rot="10800000" flipV="1">
              <a:off x="0" y="-361302"/>
              <a:ext cx="0" cy="144000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38" name="Gerade Verbindung 37"/>
          <p:cNvCxnSpPr/>
          <p:nvPr/>
        </p:nvCxnSpPr>
        <p:spPr>
          <a:xfrm>
            <a:off x="11712624" y="6993412"/>
            <a:ext cx="0" cy="144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feld 39"/>
          <p:cNvSpPr txBox="1"/>
          <p:nvPr/>
        </p:nvSpPr>
        <p:spPr>
          <a:xfrm>
            <a:off x="-1791723" y="799523"/>
            <a:ext cx="1514371" cy="184666"/>
          </a:xfrm>
          <a:prstGeom prst="rect">
            <a:avLst/>
          </a:prstGeom>
          <a:noFill/>
        </p:spPr>
        <p:txBody>
          <a:bodyPr wrap="none" lIns="72000" tIns="0" rIns="72000" bIns="0" rtlCol="0" anchor="ctr">
            <a:spAutoFit/>
          </a:bodyPr>
          <a:lstStyle/>
          <a:p>
            <a:pPr algn="r"/>
            <a:r>
              <a:rPr lang="de-DE" sz="1200" noProof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abelle</a:t>
            </a:r>
            <a:r>
              <a:rPr lang="de-DE" sz="1200" baseline="0" noProof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  <a:r>
              <a:rPr lang="de-DE" sz="1200" noProof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(Vollflächig)</a:t>
            </a:r>
          </a:p>
        </p:txBody>
      </p:sp>
      <p:sp>
        <p:nvSpPr>
          <p:cNvPr id="41" name="object 4">
            <a:extLst>
              <a:ext uri="{FF2B5EF4-FFF2-40B4-BE49-F238E27FC236}">
                <a16:creationId xmlns:a16="http://schemas.microsoft.com/office/drawing/2014/main" id="{F1407FCD-A98D-8D4C-BAEA-A83B72042659}"/>
              </a:ext>
            </a:extLst>
          </p:cNvPr>
          <p:cNvSpPr/>
          <p:nvPr/>
        </p:nvSpPr>
        <p:spPr>
          <a:xfrm>
            <a:off x="0" y="899999"/>
            <a:ext cx="12192635" cy="0"/>
          </a:xfrm>
          <a:custGeom>
            <a:avLst/>
            <a:gdLst/>
            <a:ahLst/>
            <a:cxnLst/>
            <a:rect l="l" t="t" r="r" b="b"/>
            <a:pathLst>
              <a:path w="12192635">
                <a:moveTo>
                  <a:pt x="0" y="0"/>
                </a:moveTo>
                <a:lnTo>
                  <a:pt x="12192113" y="0"/>
                </a:lnTo>
              </a:path>
            </a:pathLst>
          </a:custGeom>
          <a:ln w="25400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790515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7" r:id="rId1"/>
    <p:sldLayoutId id="2147483978" r:id="rId2"/>
    <p:sldLayoutId id="2147483979" r:id="rId3"/>
    <p:sldLayoutId id="2147483980" r:id="rId4"/>
    <p:sldLayoutId id="2147483981" r:id="rId5"/>
    <p:sldLayoutId id="2147483982" r:id="rId6"/>
    <p:sldLayoutId id="2147483983" r:id="rId7"/>
    <p:sldLayoutId id="2147483984" r:id="rId8"/>
    <p:sldLayoutId id="2147483985" r:id="rId9"/>
    <p:sldLayoutId id="2147483986" r:id="rId10"/>
    <p:sldLayoutId id="2147483987" r:id="rId11"/>
    <p:sldLayoutId id="2147483988" r:id="rId12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cap="all" spc="-70" baseline="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216000" indent="-216000" algn="l" defTabSz="914400" rtl="0" eaLnBrk="1" latinLnBrk="0" hangingPunct="1">
        <a:lnSpc>
          <a:spcPct val="100000"/>
        </a:lnSpc>
        <a:spcBef>
          <a:spcPts val="500"/>
        </a:spcBef>
        <a:buFontTx/>
        <a:buChar char="–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2pPr>
      <a:lvl3pPr marL="432000" indent="-216000" algn="l" defTabSz="914400" rtl="0" eaLnBrk="1" latinLnBrk="0" hangingPunct="1">
        <a:lnSpc>
          <a:spcPct val="100000"/>
        </a:lnSpc>
        <a:spcBef>
          <a:spcPts val="500"/>
        </a:spcBef>
        <a:buFontTx/>
        <a:buChar char="–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3pPr>
      <a:lvl4pPr marL="648000" indent="-216000" algn="l" defTabSz="914400" rtl="0" eaLnBrk="1" latinLnBrk="0" hangingPunct="1">
        <a:lnSpc>
          <a:spcPct val="100000"/>
        </a:lnSpc>
        <a:spcBef>
          <a:spcPts val="500"/>
        </a:spcBef>
        <a:buFontTx/>
        <a:buChar char="–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4pPr>
      <a:lvl5pPr marL="864000" indent="-216000" algn="l" defTabSz="914400" rtl="0" eaLnBrk="1" latinLnBrk="0" hangingPunct="1">
        <a:lnSpc>
          <a:spcPct val="100000"/>
        </a:lnSpc>
        <a:spcBef>
          <a:spcPts val="500"/>
        </a:spcBef>
        <a:buFontTx/>
        <a:buChar char="–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7145418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3" imgW="344" imgH="345" progId="TCLayout.ActiveDocument.1">
                  <p:embed/>
                </p:oleObj>
              </mc:Choice>
              <mc:Fallback>
                <p:oleObj name="think-cell Folie" r:id="rId13" imgW="344" imgH="345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/>
          <p:cNvSpPr/>
          <p:nvPr>
            <p:custDataLst>
              <p:tags r:id="rId1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de-DE" sz="2800" b="0" i="0" baseline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263525" y="260648"/>
            <a:ext cx="11447923" cy="396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de-DE" noProof="0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263525" y="1052512"/>
            <a:ext cx="11448000" cy="54006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Formatvorlagen des Textmasters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33" name="Textfeld 32"/>
          <p:cNvSpPr txBox="1"/>
          <p:nvPr/>
        </p:nvSpPr>
        <p:spPr>
          <a:xfrm>
            <a:off x="-974191" y="960180"/>
            <a:ext cx="696839" cy="184666"/>
          </a:xfrm>
          <a:prstGeom prst="rect">
            <a:avLst/>
          </a:prstGeom>
          <a:noFill/>
        </p:spPr>
        <p:txBody>
          <a:bodyPr wrap="none" lIns="72000" tIns="0" rIns="72000" bIns="0" rtlCol="0" anchor="ctr">
            <a:spAutoFit/>
          </a:bodyPr>
          <a:lstStyle/>
          <a:p>
            <a:pPr algn="r"/>
            <a:r>
              <a:rPr lang="de-DE" sz="1200" noProof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extbox</a:t>
            </a:r>
          </a:p>
        </p:txBody>
      </p:sp>
      <p:sp>
        <p:nvSpPr>
          <p:cNvPr id="100" name="Textfeld 99"/>
          <p:cNvSpPr txBox="1"/>
          <p:nvPr/>
        </p:nvSpPr>
        <p:spPr>
          <a:xfrm>
            <a:off x="-1014869" y="-381635"/>
            <a:ext cx="990189" cy="184666"/>
          </a:xfrm>
          <a:prstGeom prst="rect">
            <a:avLst/>
          </a:prstGeom>
          <a:noFill/>
        </p:spPr>
        <p:txBody>
          <a:bodyPr wrap="none" lIns="72000" tIns="0" rIns="72000" bIns="0" rtlCol="0" anchor="ctr">
            <a:spAutoFit/>
          </a:bodyPr>
          <a:lstStyle/>
          <a:p>
            <a:pPr algn="r"/>
            <a:r>
              <a:rPr lang="de-DE" sz="1200" noProof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Vier</a:t>
            </a:r>
            <a:r>
              <a:rPr lang="de-DE" sz="1200" baseline="0" noProof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  <a:r>
              <a:rPr lang="de-DE" sz="1200" noProof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Spalten</a:t>
            </a:r>
          </a:p>
        </p:txBody>
      </p:sp>
      <p:sp>
        <p:nvSpPr>
          <p:cNvPr id="101" name="Textfeld 100"/>
          <p:cNvSpPr txBox="1"/>
          <p:nvPr/>
        </p:nvSpPr>
        <p:spPr>
          <a:xfrm>
            <a:off x="-1032502" y="-618555"/>
            <a:ext cx="1007822" cy="184666"/>
          </a:xfrm>
          <a:prstGeom prst="rect">
            <a:avLst/>
          </a:prstGeom>
          <a:noFill/>
        </p:spPr>
        <p:txBody>
          <a:bodyPr wrap="none" lIns="72000" tIns="0" rIns="72000" bIns="0" rtlCol="0" anchor="ctr">
            <a:spAutoFit/>
          </a:bodyPr>
          <a:lstStyle/>
          <a:p>
            <a:pPr algn="r"/>
            <a:r>
              <a:rPr lang="de-DE" sz="1200" noProof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Drei</a:t>
            </a:r>
            <a:r>
              <a:rPr lang="de-DE" sz="1200" baseline="0" noProof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  <a:r>
              <a:rPr lang="de-DE" sz="1200" noProof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Spalten</a:t>
            </a:r>
          </a:p>
        </p:txBody>
      </p:sp>
      <p:sp>
        <p:nvSpPr>
          <p:cNvPr id="105" name="Textfeld 104"/>
          <p:cNvSpPr txBox="1"/>
          <p:nvPr/>
        </p:nvSpPr>
        <p:spPr>
          <a:xfrm>
            <a:off x="-1067768" y="-855476"/>
            <a:ext cx="1043088" cy="184666"/>
          </a:xfrm>
          <a:prstGeom prst="rect">
            <a:avLst/>
          </a:prstGeom>
          <a:noFill/>
        </p:spPr>
        <p:txBody>
          <a:bodyPr wrap="none" lIns="72000" tIns="0" rIns="72000" bIns="0" rtlCol="0" anchor="ctr">
            <a:spAutoFit/>
          </a:bodyPr>
          <a:lstStyle/>
          <a:p>
            <a:pPr algn="r"/>
            <a:r>
              <a:rPr lang="de-DE" sz="1200" noProof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Zwei Spalten</a:t>
            </a:r>
          </a:p>
        </p:txBody>
      </p:sp>
      <p:grpSp>
        <p:nvGrpSpPr>
          <p:cNvPr id="120" name="Gruppieren 119"/>
          <p:cNvGrpSpPr/>
          <p:nvPr/>
        </p:nvGrpSpPr>
        <p:grpSpPr>
          <a:xfrm>
            <a:off x="-276708" y="-835143"/>
            <a:ext cx="12205181" cy="7972555"/>
            <a:chOff x="-276708" y="-835143"/>
            <a:chExt cx="12205181" cy="7972555"/>
          </a:xfrm>
        </p:grpSpPr>
        <p:cxnSp>
          <p:nvCxnSpPr>
            <p:cNvPr id="24" name="Gerade Verbindung 23"/>
            <p:cNvCxnSpPr/>
            <p:nvPr userDrawn="1"/>
          </p:nvCxnSpPr>
          <p:spPr>
            <a:xfrm rot="5400000" flipV="1">
              <a:off x="-204708" y="980735"/>
              <a:ext cx="0" cy="1440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24"/>
            <p:cNvCxnSpPr/>
            <p:nvPr userDrawn="1"/>
          </p:nvCxnSpPr>
          <p:spPr>
            <a:xfrm rot="5400000" flipV="1">
              <a:off x="-204708" y="6381336"/>
              <a:ext cx="0" cy="1440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Gerade Verbindung 78"/>
            <p:cNvCxnSpPr/>
            <p:nvPr userDrawn="1"/>
          </p:nvCxnSpPr>
          <p:spPr>
            <a:xfrm>
              <a:off x="259147" y="6993412"/>
              <a:ext cx="0" cy="1440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3" name="Gerade Verbindung mit Pfeil 92"/>
            <p:cNvCxnSpPr/>
            <p:nvPr userDrawn="1"/>
          </p:nvCxnSpPr>
          <p:spPr>
            <a:xfrm>
              <a:off x="263525" y="-526222"/>
              <a:ext cx="3492500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" name="Gerade Verbindung mit Pfeil 93"/>
            <p:cNvCxnSpPr/>
            <p:nvPr userDrawn="1"/>
          </p:nvCxnSpPr>
          <p:spPr>
            <a:xfrm>
              <a:off x="4259684" y="-526222"/>
              <a:ext cx="3457154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Gerade Verbindung mit Pfeil 94"/>
            <p:cNvCxnSpPr/>
            <p:nvPr userDrawn="1"/>
          </p:nvCxnSpPr>
          <p:spPr>
            <a:xfrm>
              <a:off x="8220124" y="-526222"/>
              <a:ext cx="3492500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Gerade Verbindung mit Pfeil 95"/>
            <p:cNvCxnSpPr/>
            <p:nvPr userDrawn="1"/>
          </p:nvCxnSpPr>
          <p:spPr>
            <a:xfrm>
              <a:off x="263525" y="-289302"/>
              <a:ext cx="2484438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Gerade Verbindung mit Pfeil 96"/>
            <p:cNvCxnSpPr/>
            <p:nvPr userDrawn="1"/>
          </p:nvCxnSpPr>
          <p:spPr>
            <a:xfrm>
              <a:off x="3251200" y="-289302"/>
              <a:ext cx="2484438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Gerade Verbindung mit Pfeil 97"/>
            <p:cNvCxnSpPr/>
            <p:nvPr userDrawn="1"/>
          </p:nvCxnSpPr>
          <p:spPr>
            <a:xfrm>
              <a:off x="6240462" y="-289302"/>
              <a:ext cx="2484438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Gerade Verbindung mit Pfeil 98"/>
            <p:cNvCxnSpPr/>
            <p:nvPr userDrawn="1"/>
          </p:nvCxnSpPr>
          <p:spPr>
            <a:xfrm>
              <a:off x="9228186" y="-289302"/>
              <a:ext cx="2484438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Gerade Verbindung mit Pfeil 101"/>
            <p:cNvCxnSpPr/>
            <p:nvPr userDrawn="1"/>
          </p:nvCxnSpPr>
          <p:spPr>
            <a:xfrm>
              <a:off x="263525" y="-763143"/>
              <a:ext cx="5472113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" name="Gerade Verbindung mit Pfeil 103"/>
            <p:cNvCxnSpPr/>
            <p:nvPr userDrawn="1"/>
          </p:nvCxnSpPr>
          <p:spPr>
            <a:xfrm>
              <a:off x="6240463" y="-763143"/>
              <a:ext cx="5472161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Gerade Verbindung 107"/>
            <p:cNvCxnSpPr/>
            <p:nvPr userDrawn="1"/>
          </p:nvCxnSpPr>
          <p:spPr>
            <a:xfrm>
              <a:off x="2999272" y="-361302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Gerade Verbindung 108"/>
            <p:cNvCxnSpPr/>
            <p:nvPr userDrawn="1"/>
          </p:nvCxnSpPr>
          <p:spPr>
            <a:xfrm>
              <a:off x="5987988" y="-361302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Gerade Verbindung 109"/>
            <p:cNvCxnSpPr/>
            <p:nvPr userDrawn="1"/>
          </p:nvCxnSpPr>
          <p:spPr>
            <a:xfrm>
              <a:off x="8976320" y="-361302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Gerade Verbindung 110"/>
            <p:cNvCxnSpPr/>
            <p:nvPr userDrawn="1"/>
          </p:nvCxnSpPr>
          <p:spPr>
            <a:xfrm>
              <a:off x="7968208" y="-598222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Gerade Verbindung 111"/>
            <p:cNvCxnSpPr/>
            <p:nvPr userDrawn="1"/>
          </p:nvCxnSpPr>
          <p:spPr>
            <a:xfrm>
              <a:off x="4007768" y="-598222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Gerade Verbindung 112"/>
            <p:cNvCxnSpPr/>
            <p:nvPr userDrawn="1"/>
          </p:nvCxnSpPr>
          <p:spPr>
            <a:xfrm>
              <a:off x="5987988" y="-835143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33"/>
            <p:cNvCxnSpPr/>
            <p:nvPr userDrawn="1"/>
          </p:nvCxnSpPr>
          <p:spPr>
            <a:xfrm rot="5400000" flipV="1">
              <a:off x="-204708" y="826746"/>
              <a:ext cx="0" cy="144000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34"/>
            <p:cNvCxnSpPr/>
            <p:nvPr userDrawn="1"/>
          </p:nvCxnSpPr>
          <p:spPr>
            <a:xfrm rot="5400000" flipV="1">
              <a:off x="-204708" y="6785999"/>
              <a:ext cx="0" cy="144000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35"/>
            <p:cNvCxnSpPr/>
            <p:nvPr userDrawn="1"/>
          </p:nvCxnSpPr>
          <p:spPr>
            <a:xfrm rot="10800000" flipV="1">
              <a:off x="11928473" y="-361302"/>
              <a:ext cx="0" cy="144000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 Verbindung 38"/>
            <p:cNvCxnSpPr/>
            <p:nvPr userDrawn="1"/>
          </p:nvCxnSpPr>
          <p:spPr>
            <a:xfrm rot="10800000" flipV="1">
              <a:off x="0" y="-361302"/>
              <a:ext cx="0" cy="144000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38" name="Gerade Verbindung 37"/>
          <p:cNvCxnSpPr/>
          <p:nvPr/>
        </p:nvCxnSpPr>
        <p:spPr>
          <a:xfrm>
            <a:off x="11712624" y="6993412"/>
            <a:ext cx="0" cy="144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feld 39"/>
          <p:cNvSpPr txBox="1"/>
          <p:nvPr/>
        </p:nvSpPr>
        <p:spPr>
          <a:xfrm>
            <a:off x="-1791723" y="799523"/>
            <a:ext cx="1514371" cy="184666"/>
          </a:xfrm>
          <a:prstGeom prst="rect">
            <a:avLst/>
          </a:prstGeom>
          <a:noFill/>
        </p:spPr>
        <p:txBody>
          <a:bodyPr wrap="none" lIns="72000" tIns="0" rIns="72000" bIns="0" rtlCol="0" anchor="ctr">
            <a:spAutoFit/>
          </a:bodyPr>
          <a:lstStyle/>
          <a:p>
            <a:pPr algn="r"/>
            <a:r>
              <a:rPr lang="de-DE" sz="1200" noProof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abelle</a:t>
            </a:r>
            <a:r>
              <a:rPr lang="de-DE" sz="1200" baseline="0" noProof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  <a:r>
              <a:rPr lang="de-DE" sz="1200" noProof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(Vollflächig)</a:t>
            </a:r>
          </a:p>
        </p:txBody>
      </p:sp>
      <p:sp>
        <p:nvSpPr>
          <p:cNvPr id="41" name="object 4">
            <a:extLst>
              <a:ext uri="{FF2B5EF4-FFF2-40B4-BE49-F238E27FC236}">
                <a16:creationId xmlns:a16="http://schemas.microsoft.com/office/drawing/2014/main" id="{F1407FCD-A98D-8D4C-BAEA-A83B72042659}"/>
              </a:ext>
            </a:extLst>
          </p:cNvPr>
          <p:cNvSpPr/>
          <p:nvPr/>
        </p:nvSpPr>
        <p:spPr>
          <a:xfrm>
            <a:off x="0" y="899999"/>
            <a:ext cx="12192635" cy="0"/>
          </a:xfrm>
          <a:custGeom>
            <a:avLst/>
            <a:gdLst/>
            <a:ahLst/>
            <a:cxnLst/>
            <a:rect l="l" t="t" r="r" b="b"/>
            <a:pathLst>
              <a:path w="12192635">
                <a:moveTo>
                  <a:pt x="0" y="0"/>
                </a:moveTo>
                <a:lnTo>
                  <a:pt x="12192113" y="0"/>
                </a:lnTo>
              </a:path>
            </a:pathLst>
          </a:custGeom>
          <a:ln w="28575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835617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90" r:id="rId1"/>
    <p:sldLayoutId id="2147483991" r:id="rId2"/>
    <p:sldLayoutId id="2147483992" r:id="rId3"/>
    <p:sldLayoutId id="2147483993" r:id="rId4"/>
    <p:sldLayoutId id="2147483994" r:id="rId5"/>
    <p:sldLayoutId id="2147483995" r:id="rId6"/>
    <p:sldLayoutId id="2147483996" r:id="rId7"/>
    <p:sldLayoutId id="2147483997" r:id="rId8"/>
    <p:sldLayoutId id="2147483998" r:id="rId9"/>
  </p:sldLayoutIdLst>
  <p:hf hdr="0" ft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cap="all" spc="-70" baseline="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216000" indent="-216000" algn="l" defTabSz="914400" rtl="0" eaLnBrk="1" latinLnBrk="0" hangingPunct="1">
        <a:lnSpc>
          <a:spcPct val="100000"/>
        </a:lnSpc>
        <a:spcBef>
          <a:spcPts val="500"/>
        </a:spcBef>
        <a:buFontTx/>
        <a:buChar char="–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2pPr>
      <a:lvl3pPr marL="432000" indent="-216000" algn="l" defTabSz="914400" rtl="0" eaLnBrk="1" latinLnBrk="0" hangingPunct="1">
        <a:lnSpc>
          <a:spcPct val="100000"/>
        </a:lnSpc>
        <a:spcBef>
          <a:spcPts val="500"/>
        </a:spcBef>
        <a:buFontTx/>
        <a:buChar char="–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3pPr>
      <a:lvl4pPr marL="648000" indent="-216000" algn="l" defTabSz="914400" rtl="0" eaLnBrk="1" latinLnBrk="0" hangingPunct="1">
        <a:lnSpc>
          <a:spcPct val="100000"/>
        </a:lnSpc>
        <a:spcBef>
          <a:spcPts val="500"/>
        </a:spcBef>
        <a:buFontTx/>
        <a:buChar char="–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4pPr>
      <a:lvl5pPr marL="864000" indent="-216000" algn="l" defTabSz="914400" rtl="0" eaLnBrk="1" latinLnBrk="0" hangingPunct="1">
        <a:lnSpc>
          <a:spcPct val="100000"/>
        </a:lnSpc>
        <a:spcBef>
          <a:spcPts val="500"/>
        </a:spcBef>
        <a:buFontTx/>
        <a:buChar char="–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7145418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2" imgW="344" imgH="345" progId="TCLayout.ActiveDocument.1">
                  <p:embed/>
                </p:oleObj>
              </mc:Choice>
              <mc:Fallback>
                <p:oleObj name="think-cell Folie" r:id="rId12" imgW="344" imgH="345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/>
          <p:cNvSpPr/>
          <p:nvPr>
            <p:custDataLst>
              <p:tags r:id="rId1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de-DE" sz="2800" b="0" i="0" baseline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263525" y="260648"/>
            <a:ext cx="11447923" cy="396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de-DE" noProof="0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263525" y="1052512"/>
            <a:ext cx="11448000" cy="54006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Formatvorlagen des Textmasters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33" name="Textfeld 32"/>
          <p:cNvSpPr txBox="1"/>
          <p:nvPr/>
        </p:nvSpPr>
        <p:spPr>
          <a:xfrm>
            <a:off x="-974191" y="960180"/>
            <a:ext cx="696839" cy="184666"/>
          </a:xfrm>
          <a:prstGeom prst="rect">
            <a:avLst/>
          </a:prstGeom>
          <a:noFill/>
        </p:spPr>
        <p:txBody>
          <a:bodyPr wrap="none" lIns="72000" tIns="0" rIns="72000" bIns="0" rtlCol="0" anchor="ctr">
            <a:spAutoFit/>
          </a:bodyPr>
          <a:lstStyle/>
          <a:p>
            <a:pPr algn="r"/>
            <a:r>
              <a:rPr lang="de-DE" sz="1200" noProof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extbox</a:t>
            </a:r>
          </a:p>
        </p:txBody>
      </p:sp>
      <p:sp>
        <p:nvSpPr>
          <p:cNvPr id="100" name="Textfeld 99"/>
          <p:cNvSpPr txBox="1"/>
          <p:nvPr/>
        </p:nvSpPr>
        <p:spPr>
          <a:xfrm>
            <a:off x="-1014869" y="-381635"/>
            <a:ext cx="990189" cy="184666"/>
          </a:xfrm>
          <a:prstGeom prst="rect">
            <a:avLst/>
          </a:prstGeom>
          <a:noFill/>
        </p:spPr>
        <p:txBody>
          <a:bodyPr wrap="none" lIns="72000" tIns="0" rIns="72000" bIns="0" rtlCol="0" anchor="ctr">
            <a:spAutoFit/>
          </a:bodyPr>
          <a:lstStyle/>
          <a:p>
            <a:pPr algn="r"/>
            <a:r>
              <a:rPr lang="de-DE" sz="1200" noProof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Vier</a:t>
            </a:r>
            <a:r>
              <a:rPr lang="de-DE" sz="1200" baseline="0" noProof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  <a:r>
              <a:rPr lang="de-DE" sz="1200" noProof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Spalten</a:t>
            </a:r>
          </a:p>
        </p:txBody>
      </p:sp>
      <p:sp>
        <p:nvSpPr>
          <p:cNvPr id="101" name="Textfeld 100"/>
          <p:cNvSpPr txBox="1"/>
          <p:nvPr/>
        </p:nvSpPr>
        <p:spPr>
          <a:xfrm>
            <a:off x="-1032502" y="-618555"/>
            <a:ext cx="1007822" cy="184666"/>
          </a:xfrm>
          <a:prstGeom prst="rect">
            <a:avLst/>
          </a:prstGeom>
          <a:noFill/>
        </p:spPr>
        <p:txBody>
          <a:bodyPr wrap="none" lIns="72000" tIns="0" rIns="72000" bIns="0" rtlCol="0" anchor="ctr">
            <a:spAutoFit/>
          </a:bodyPr>
          <a:lstStyle/>
          <a:p>
            <a:pPr algn="r"/>
            <a:r>
              <a:rPr lang="de-DE" sz="1200" noProof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Drei</a:t>
            </a:r>
            <a:r>
              <a:rPr lang="de-DE" sz="1200" baseline="0" noProof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  <a:r>
              <a:rPr lang="de-DE" sz="1200" noProof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Spalten</a:t>
            </a:r>
          </a:p>
        </p:txBody>
      </p:sp>
      <p:sp>
        <p:nvSpPr>
          <p:cNvPr id="105" name="Textfeld 104"/>
          <p:cNvSpPr txBox="1"/>
          <p:nvPr/>
        </p:nvSpPr>
        <p:spPr>
          <a:xfrm>
            <a:off x="-1067768" y="-855476"/>
            <a:ext cx="1043088" cy="184666"/>
          </a:xfrm>
          <a:prstGeom prst="rect">
            <a:avLst/>
          </a:prstGeom>
          <a:noFill/>
        </p:spPr>
        <p:txBody>
          <a:bodyPr wrap="none" lIns="72000" tIns="0" rIns="72000" bIns="0" rtlCol="0" anchor="ctr">
            <a:spAutoFit/>
          </a:bodyPr>
          <a:lstStyle/>
          <a:p>
            <a:pPr algn="r"/>
            <a:r>
              <a:rPr lang="de-DE" sz="1200" noProof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Zwei Spalten</a:t>
            </a:r>
          </a:p>
        </p:txBody>
      </p:sp>
      <p:grpSp>
        <p:nvGrpSpPr>
          <p:cNvPr id="120" name="Gruppieren 119"/>
          <p:cNvGrpSpPr/>
          <p:nvPr/>
        </p:nvGrpSpPr>
        <p:grpSpPr>
          <a:xfrm>
            <a:off x="-276708" y="-835143"/>
            <a:ext cx="12205181" cy="7972555"/>
            <a:chOff x="-276708" y="-835143"/>
            <a:chExt cx="12205181" cy="7972555"/>
          </a:xfrm>
        </p:grpSpPr>
        <p:cxnSp>
          <p:nvCxnSpPr>
            <p:cNvPr id="24" name="Gerade Verbindung 23"/>
            <p:cNvCxnSpPr/>
            <p:nvPr userDrawn="1"/>
          </p:nvCxnSpPr>
          <p:spPr>
            <a:xfrm rot="5400000" flipV="1">
              <a:off x="-204708" y="980735"/>
              <a:ext cx="0" cy="1440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24"/>
            <p:cNvCxnSpPr/>
            <p:nvPr userDrawn="1"/>
          </p:nvCxnSpPr>
          <p:spPr>
            <a:xfrm rot="5400000" flipV="1">
              <a:off x="-204708" y="6381336"/>
              <a:ext cx="0" cy="1440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Gerade Verbindung 78"/>
            <p:cNvCxnSpPr/>
            <p:nvPr userDrawn="1"/>
          </p:nvCxnSpPr>
          <p:spPr>
            <a:xfrm>
              <a:off x="259147" y="6993412"/>
              <a:ext cx="0" cy="1440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3" name="Gerade Verbindung mit Pfeil 92"/>
            <p:cNvCxnSpPr/>
            <p:nvPr userDrawn="1"/>
          </p:nvCxnSpPr>
          <p:spPr>
            <a:xfrm>
              <a:off x="263525" y="-526222"/>
              <a:ext cx="3492500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" name="Gerade Verbindung mit Pfeil 93"/>
            <p:cNvCxnSpPr/>
            <p:nvPr userDrawn="1"/>
          </p:nvCxnSpPr>
          <p:spPr>
            <a:xfrm>
              <a:off x="4259684" y="-526222"/>
              <a:ext cx="3457154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Gerade Verbindung mit Pfeil 94"/>
            <p:cNvCxnSpPr/>
            <p:nvPr userDrawn="1"/>
          </p:nvCxnSpPr>
          <p:spPr>
            <a:xfrm>
              <a:off x="8220124" y="-526222"/>
              <a:ext cx="3492500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Gerade Verbindung mit Pfeil 95"/>
            <p:cNvCxnSpPr/>
            <p:nvPr userDrawn="1"/>
          </p:nvCxnSpPr>
          <p:spPr>
            <a:xfrm>
              <a:off x="263525" y="-289302"/>
              <a:ext cx="2484438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Gerade Verbindung mit Pfeil 96"/>
            <p:cNvCxnSpPr/>
            <p:nvPr userDrawn="1"/>
          </p:nvCxnSpPr>
          <p:spPr>
            <a:xfrm>
              <a:off x="3251200" y="-289302"/>
              <a:ext cx="2484438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Gerade Verbindung mit Pfeil 97"/>
            <p:cNvCxnSpPr/>
            <p:nvPr userDrawn="1"/>
          </p:nvCxnSpPr>
          <p:spPr>
            <a:xfrm>
              <a:off x="6240462" y="-289302"/>
              <a:ext cx="2484438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Gerade Verbindung mit Pfeil 98"/>
            <p:cNvCxnSpPr/>
            <p:nvPr userDrawn="1"/>
          </p:nvCxnSpPr>
          <p:spPr>
            <a:xfrm>
              <a:off x="9228186" y="-289302"/>
              <a:ext cx="2484438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Gerade Verbindung mit Pfeil 101"/>
            <p:cNvCxnSpPr/>
            <p:nvPr userDrawn="1"/>
          </p:nvCxnSpPr>
          <p:spPr>
            <a:xfrm>
              <a:off x="263525" y="-763143"/>
              <a:ext cx="5472113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" name="Gerade Verbindung mit Pfeil 103"/>
            <p:cNvCxnSpPr/>
            <p:nvPr userDrawn="1"/>
          </p:nvCxnSpPr>
          <p:spPr>
            <a:xfrm>
              <a:off x="6240463" y="-763143"/>
              <a:ext cx="5472161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Gerade Verbindung 107"/>
            <p:cNvCxnSpPr/>
            <p:nvPr userDrawn="1"/>
          </p:nvCxnSpPr>
          <p:spPr>
            <a:xfrm>
              <a:off x="2999272" y="-361302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Gerade Verbindung 108"/>
            <p:cNvCxnSpPr/>
            <p:nvPr userDrawn="1"/>
          </p:nvCxnSpPr>
          <p:spPr>
            <a:xfrm>
              <a:off x="5987988" y="-361302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Gerade Verbindung 109"/>
            <p:cNvCxnSpPr/>
            <p:nvPr userDrawn="1"/>
          </p:nvCxnSpPr>
          <p:spPr>
            <a:xfrm>
              <a:off x="8976320" y="-361302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Gerade Verbindung 110"/>
            <p:cNvCxnSpPr/>
            <p:nvPr userDrawn="1"/>
          </p:nvCxnSpPr>
          <p:spPr>
            <a:xfrm>
              <a:off x="7968208" y="-598222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Gerade Verbindung 111"/>
            <p:cNvCxnSpPr/>
            <p:nvPr userDrawn="1"/>
          </p:nvCxnSpPr>
          <p:spPr>
            <a:xfrm>
              <a:off x="4007768" y="-598222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Gerade Verbindung 112"/>
            <p:cNvCxnSpPr/>
            <p:nvPr userDrawn="1"/>
          </p:nvCxnSpPr>
          <p:spPr>
            <a:xfrm>
              <a:off x="5987988" y="-835143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33"/>
            <p:cNvCxnSpPr/>
            <p:nvPr userDrawn="1"/>
          </p:nvCxnSpPr>
          <p:spPr>
            <a:xfrm rot="5400000" flipV="1">
              <a:off x="-204708" y="826746"/>
              <a:ext cx="0" cy="144000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34"/>
            <p:cNvCxnSpPr/>
            <p:nvPr userDrawn="1"/>
          </p:nvCxnSpPr>
          <p:spPr>
            <a:xfrm rot="5400000" flipV="1">
              <a:off x="-204708" y="6785999"/>
              <a:ext cx="0" cy="144000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35"/>
            <p:cNvCxnSpPr/>
            <p:nvPr userDrawn="1"/>
          </p:nvCxnSpPr>
          <p:spPr>
            <a:xfrm rot="10800000" flipV="1">
              <a:off x="11928473" y="-361302"/>
              <a:ext cx="0" cy="144000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 Verbindung 38"/>
            <p:cNvCxnSpPr/>
            <p:nvPr userDrawn="1"/>
          </p:nvCxnSpPr>
          <p:spPr>
            <a:xfrm rot="10800000" flipV="1">
              <a:off x="0" y="-361302"/>
              <a:ext cx="0" cy="144000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38" name="Gerade Verbindung 37"/>
          <p:cNvCxnSpPr/>
          <p:nvPr/>
        </p:nvCxnSpPr>
        <p:spPr>
          <a:xfrm>
            <a:off x="11712624" y="6993412"/>
            <a:ext cx="0" cy="144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feld 39"/>
          <p:cNvSpPr txBox="1"/>
          <p:nvPr/>
        </p:nvSpPr>
        <p:spPr>
          <a:xfrm>
            <a:off x="-1791723" y="799523"/>
            <a:ext cx="1514371" cy="184666"/>
          </a:xfrm>
          <a:prstGeom prst="rect">
            <a:avLst/>
          </a:prstGeom>
          <a:noFill/>
        </p:spPr>
        <p:txBody>
          <a:bodyPr wrap="none" lIns="72000" tIns="0" rIns="72000" bIns="0" rtlCol="0" anchor="ctr">
            <a:spAutoFit/>
          </a:bodyPr>
          <a:lstStyle/>
          <a:p>
            <a:pPr algn="r"/>
            <a:r>
              <a:rPr lang="de-DE" sz="1200" noProof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abelle</a:t>
            </a:r>
            <a:r>
              <a:rPr lang="de-DE" sz="1200" baseline="0" noProof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  <a:r>
              <a:rPr lang="de-DE" sz="1200" noProof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(Vollflächig)</a:t>
            </a:r>
          </a:p>
        </p:txBody>
      </p:sp>
      <p:sp>
        <p:nvSpPr>
          <p:cNvPr id="41" name="object 4">
            <a:extLst>
              <a:ext uri="{FF2B5EF4-FFF2-40B4-BE49-F238E27FC236}">
                <a16:creationId xmlns:a16="http://schemas.microsoft.com/office/drawing/2014/main" id="{F1407FCD-A98D-8D4C-BAEA-A83B72042659}"/>
              </a:ext>
            </a:extLst>
          </p:cNvPr>
          <p:cNvSpPr/>
          <p:nvPr/>
        </p:nvSpPr>
        <p:spPr>
          <a:xfrm>
            <a:off x="0" y="899999"/>
            <a:ext cx="12192635" cy="0"/>
          </a:xfrm>
          <a:custGeom>
            <a:avLst/>
            <a:gdLst/>
            <a:ahLst/>
            <a:cxnLst/>
            <a:rect l="l" t="t" r="r" b="b"/>
            <a:pathLst>
              <a:path w="12192635">
                <a:moveTo>
                  <a:pt x="0" y="0"/>
                </a:moveTo>
                <a:lnTo>
                  <a:pt x="12192113" y="0"/>
                </a:lnTo>
              </a:path>
            </a:pathLst>
          </a:custGeom>
          <a:ln w="28575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681850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00" r:id="rId1"/>
    <p:sldLayoutId id="2147484001" r:id="rId2"/>
    <p:sldLayoutId id="2147484002" r:id="rId3"/>
    <p:sldLayoutId id="2147484003" r:id="rId4"/>
    <p:sldLayoutId id="2147484004" r:id="rId5"/>
    <p:sldLayoutId id="2147484005" r:id="rId6"/>
    <p:sldLayoutId id="2147484006" r:id="rId7"/>
    <p:sldLayoutId id="2147484007" r:id="rId8"/>
  </p:sldLayoutIdLst>
  <p:hf hdr="0" ft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cap="all" spc="-70" baseline="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216000" indent="-216000" algn="l" defTabSz="914400" rtl="0" eaLnBrk="1" latinLnBrk="0" hangingPunct="1">
        <a:lnSpc>
          <a:spcPct val="100000"/>
        </a:lnSpc>
        <a:spcBef>
          <a:spcPts val="500"/>
        </a:spcBef>
        <a:buFontTx/>
        <a:buChar char="–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2pPr>
      <a:lvl3pPr marL="432000" indent="-216000" algn="l" defTabSz="914400" rtl="0" eaLnBrk="1" latinLnBrk="0" hangingPunct="1">
        <a:lnSpc>
          <a:spcPct val="100000"/>
        </a:lnSpc>
        <a:spcBef>
          <a:spcPts val="500"/>
        </a:spcBef>
        <a:buFontTx/>
        <a:buChar char="–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3pPr>
      <a:lvl4pPr marL="648000" indent="-216000" algn="l" defTabSz="914400" rtl="0" eaLnBrk="1" latinLnBrk="0" hangingPunct="1">
        <a:lnSpc>
          <a:spcPct val="100000"/>
        </a:lnSpc>
        <a:spcBef>
          <a:spcPts val="500"/>
        </a:spcBef>
        <a:buFontTx/>
        <a:buChar char="–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4pPr>
      <a:lvl5pPr marL="864000" indent="-216000" algn="l" defTabSz="914400" rtl="0" eaLnBrk="1" latinLnBrk="0" hangingPunct="1">
        <a:lnSpc>
          <a:spcPct val="100000"/>
        </a:lnSpc>
        <a:spcBef>
          <a:spcPts val="500"/>
        </a:spcBef>
        <a:buFontTx/>
        <a:buChar char="–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7145418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4" imgW="344" imgH="345" progId="TCLayout.ActiveDocument.1">
                  <p:embed/>
                </p:oleObj>
              </mc:Choice>
              <mc:Fallback>
                <p:oleObj name="think-cell Folie" r:id="rId14" imgW="344" imgH="345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/>
          <p:cNvSpPr/>
          <p:nvPr>
            <p:custDataLst>
              <p:tags r:id="rId1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de-DE" sz="2800" b="0" i="0" baseline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263525" y="260648"/>
            <a:ext cx="11447923" cy="396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de-DE" noProof="0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263525" y="1052512"/>
            <a:ext cx="11448000" cy="54006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Formatvorlagen des Textmasters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33" name="Textfeld 32"/>
          <p:cNvSpPr txBox="1"/>
          <p:nvPr/>
        </p:nvSpPr>
        <p:spPr>
          <a:xfrm>
            <a:off x="-974191" y="960180"/>
            <a:ext cx="696839" cy="184666"/>
          </a:xfrm>
          <a:prstGeom prst="rect">
            <a:avLst/>
          </a:prstGeom>
          <a:noFill/>
        </p:spPr>
        <p:txBody>
          <a:bodyPr wrap="none" lIns="72000" tIns="0" rIns="72000" bIns="0" rtlCol="0" anchor="ctr">
            <a:spAutoFit/>
          </a:bodyPr>
          <a:lstStyle/>
          <a:p>
            <a:pPr algn="r"/>
            <a:r>
              <a:rPr lang="de-DE" sz="1200" noProof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extbox</a:t>
            </a:r>
          </a:p>
        </p:txBody>
      </p:sp>
      <p:sp>
        <p:nvSpPr>
          <p:cNvPr id="100" name="Textfeld 99"/>
          <p:cNvSpPr txBox="1"/>
          <p:nvPr/>
        </p:nvSpPr>
        <p:spPr>
          <a:xfrm>
            <a:off x="-1014869" y="-381635"/>
            <a:ext cx="990189" cy="184666"/>
          </a:xfrm>
          <a:prstGeom prst="rect">
            <a:avLst/>
          </a:prstGeom>
          <a:noFill/>
        </p:spPr>
        <p:txBody>
          <a:bodyPr wrap="none" lIns="72000" tIns="0" rIns="72000" bIns="0" rtlCol="0" anchor="ctr">
            <a:spAutoFit/>
          </a:bodyPr>
          <a:lstStyle/>
          <a:p>
            <a:pPr algn="r"/>
            <a:r>
              <a:rPr lang="de-DE" sz="1200" noProof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Vier</a:t>
            </a:r>
            <a:r>
              <a:rPr lang="de-DE" sz="1200" baseline="0" noProof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  <a:r>
              <a:rPr lang="de-DE" sz="1200" noProof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Spalten</a:t>
            </a:r>
          </a:p>
        </p:txBody>
      </p:sp>
      <p:sp>
        <p:nvSpPr>
          <p:cNvPr id="101" name="Textfeld 100"/>
          <p:cNvSpPr txBox="1"/>
          <p:nvPr/>
        </p:nvSpPr>
        <p:spPr>
          <a:xfrm>
            <a:off x="-1032502" y="-618555"/>
            <a:ext cx="1007822" cy="184666"/>
          </a:xfrm>
          <a:prstGeom prst="rect">
            <a:avLst/>
          </a:prstGeom>
          <a:noFill/>
        </p:spPr>
        <p:txBody>
          <a:bodyPr wrap="none" lIns="72000" tIns="0" rIns="72000" bIns="0" rtlCol="0" anchor="ctr">
            <a:spAutoFit/>
          </a:bodyPr>
          <a:lstStyle/>
          <a:p>
            <a:pPr algn="r"/>
            <a:r>
              <a:rPr lang="de-DE" sz="1200" noProof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Drei</a:t>
            </a:r>
            <a:r>
              <a:rPr lang="de-DE" sz="1200" baseline="0" noProof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  <a:r>
              <a:rPr lang="de-DE" sz="1200" noProof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Spalten</a:t>
            </a:r>
          </a:p>
        </p:txBody>
      </p:sp>
      <p:sp>
        <p:nvSpPr>
          <p:cNvPr id="105" name="Textfeld 104"/>
          <p:cNvSpPr txBox="1"/>
          <p:nvPr/>
        </p:nvSpPr>
        <p:spPr>
          <a:xfrm>
            <a:off x="-1067768" y="-855476"/>
            <a:ext cx="1043088" cy="184666"/>
          </a:xfrm>
          <a:prstGeom prst="rect">
            <a:avLst/>
          </a:prstGeom>
          <a:noFill/>
        </p:spPr>
        <p:txBody>
          <a:bodyPr wrap="none" lIns="72000" tIns="0" rIns="72000" bIns="0" rtlCol="0" anchor="ctr">
            <a:spAutoFit/>
          </a:bodyPr>
          <a:lstStyle/>
          <a:p>
            <a:pPr algn="r"/>
            <a:r>
              <a:rPr lang="de-DE" sz="1200" noProof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Zwei Spalten</a:t>
            </a:r>
          </a:p>
        </p:txBody>
      </p:sp>
      <p:grpSp>
        <p:nvGrpSpPr>
          <p:cNvPr id="120" name="Gruppieren 119"/>
          <p:cNvGrpSpPr/>
          <p:nvPr/>
        </p:nvGrpSpPr>
        <p:grpSpPr>
          <a:xfrm>
            <a:off x="-276708" y="-835143"/>
            <a:ext cx="12205181" cy="7972555"/>
            <a:chOff x="-276708" y="-835143"/>
            <a:chExt cx="12205181" cy="7972555"/>
          </a:xfrm>
        </p:grpSpPr>
        <p:cxnSp>
          <p:nvCxnSpPr>
            <p:cNvPr id="24" name="Gerade Verbindung 23"/>
            <p:cNvCxnSpPr/>
            <p:nvPr userDrawn="1"/>
          </p:nvCxnSpPr>
          <p:spPr>
            <a:xfrm rot="5400000" flipV="1">
              <a:off x="-204708" y="980735"/>
              <a:ext cx="0" cy="1440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24"/>
            <p:cNvCxnSpPr/>
            <p:nvPr userDrawn="1"/>
          </p:nvCxnSpPr>
          <p:spPr>
            <a:xfrm rot="5400000" flipV="1">
              <a:off x="-204708" y="6381336"/>
              <a:ext cx="0" cy="1440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Gerade Verbindung 78"/>
            <p:cNvCxnSpPr/>
            <p:nvPr userDrawn="1"/>
          </p:nvCxnSpPr>
          <p:spPr>
            <a:xfrm>
              <a:off x="259147" y="6993412"/>
              <a:ext cx="0" cy="1440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3" name="Gerade Verbindung mit Pfeil 92"/>
            <p:cNvCxnSpPr/>
            <p:nvPr userDrawn="1"/>
          </p:nvCxnSpPr>
          <p:spPr>
            <a:xfrm>
              <a:off x="263525" y="-526222"/>
              <a:ext cx="3492500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" name="Gerade Verbindung mit Pfeil 93"/>
            <p:cNvCxnSpPr/>
            <p:nvPr userDrawn="1"/>
          </p:nvCxnSpPr>
          <p:spPr>
            <a:xfrm>
              <a:off x="4259684" y="-526222"/>
              <a:ext cx="3457154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Gerade Verbindung mit Pfeil 94"/>
            <p:cNvCxnSpPr/>
            <p:nvPr userDrawn="1"/>
          </p:nvCxnSpPr>
          <p:spPr>
            <a:xfrm>
              <a:off x="8220124" y="-526222"/>
              <a:ext cx="3492500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Gerade Verbindung mit Pfeil 95"/>
            <p:cNvCxnSpPr/>
            <p:nvPr userDrawn="1"/>
          </p:nvCxnSpPr>
          <p:spPr>
            <a:xfrm>
              <a:off x="263525" y="-289302"/>
              <a:ext cx="2484438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Gerade Verbindung mit Pfeil 96"/>
            <p:cNvCxnSpPr/>
            <p:nvPr userDrawn="1"/>
          </p:nvCxnSpPr>
          <p:spPr>
            <a:xfrm>
              <a:off x="3251200" y="-289302"/>
              <a:ext cx="2484438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Gerade Verbindung mit Pfeil 97"/>
            <p:cNvCxnSpPr/>
            <p:nvPr userDrawn="1"/>
          </p:nvCxnSpPr>
          <p:spPr>
            <a:xfrm>
              <a:off x="6240462" y="-289302"/>
              <a:ext cx="2484438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Gerade Verbindung mit Pfeil 98"/>
            <p:cNvCxnSpPr/>
            <p:nvPr userDrawn="1"/>
          </p:nvCxnSpPr>
          <p:spPr>
            <a:xfrm>
              <a:off x="9228186" y="-289302"/>
              <a:ext cx="2484438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Gerade Verbindung mit Pfeil 101"/>
            <p:cNvCxnSpPr/>
            <p:nvPr userDrawn="1"/>
          </p:nvCxnSpPr>
          <p:spPr>
            <a:xfrm>
              <a:off x="263525" y="-763143"/>
              <a:ext cx="5472113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" name="Gerade Verbindung mit Pfeil 103"/>
            <p:cNvCxnSpPr/>
            <p:nvPr userDrawn="1"/>
          </p:nvCxnSpPr>
          <p:spPr>
            <a:xfrm>
              <a:off x="6240463" y="-763143"/>
              <a:ext cx="5472161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Gerade Verbindung 107"/>
            <p:cNvCxnSpPr/>
            <p:nvPr userDrawn="1"/>
          </p:nvCxnSpPr>
          <p:spPr>
            <a:xfrm>
              <a:off x="2999272" y="-361302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Gerade Verbindung 108"/>
            <p:cNvCxnSpPr/>
            <p:nvPr userDrawn="1"/>
          </p:nvCxnSpPr>
          <p:spPr>
            <a:xfrm>
              <a:off x="5987988" y="-361302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Gerade Verbindung 109"/>
            <p:cNvCxnSpPr/>
            <p:nvPr userDrawn="1"/>
          </p:nvCxnSpPr>
          <p:spPr>
            <a:xfrm>
              <a:off x="8976320" y="-361302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Gerade Verbindung 110"/>
            <p:cNvCxnSpPr/>
            <p:nvPr userDrawn="1"/>
          </p:nvCxnSpPr>
          <p:spPr>
            <a:xfrm>
              <a:off x="7968208" y="-598222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Gerade Verbindung 111"/>
            <p:cNvCxnSpPr/>
            <p:nvPr userDrawn="1"/>
          </p:nvCxnSpPr>
          <p:spPr>
            <a:xfrm>
              <a:off x="4007768" y="-598222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Gerade Verbindung 112"/>
            <p:cNvCxnSpPr/>
            <p:nvPr userDrawn="1"/>
          </p:nvCxnSpPr>
          <p:spPr>
            <a:xfrm>
              <a:off x="5987988" y="-835143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33"/>
            <p:cNvCxnSpPr/>
            <p:nvPr userDrawn="1"/>
          </p:nvCxnSpPr>
          <p:spPr>
            <a:xfrm rot="5400000" flipV="1">
              <a:off x="-204708" y="826746"/>
              <a:ext cx="0" cy="144000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34"/>
            <p:cNvCxnSpPr/>
            <p:nvPr userDrawn="1"/>
          </p:nvCxnSpPr>
          <p:spPr>
            <a:xfrm rot="5400000" flipV="1">
              <a:off x="-204708" y="6785999"/>
              <a:ext cx="0" cy="144000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35"/>
            <p:cNvCxnSpPr/>
            <p:nvPr userDrawn="1"/>
          </p:nvCxnSpPr>
          <p:spPr>
            <a:xfrm rot="10800000" flipV="1">
              <a:off x="11928473" y="-361302"/>
              <a:ext cx="0" cy="144000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 Verbindung 38"/>
            <p:cNvCxnSpPr/>
            <p:nvPr userDrawn="1"/>
          </p:nvCxnSpPr>
          <p:spPr>
            <a:xfrm rot="10800000" flipV="1">
              <a:off x="0" y="-361302"/>
              <a:ext cx="0" cy="144000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38" name="Gerade Verbindung 37"/>
          <p:cNvCxnSpPr/>
          <p:nvPr/>
        </p:nvCxnSpPr>
        <p:spPr>
          <a:xfrm>
            <a:off x="11712624" y="6993412"/>
            <a:ext cx="0" cy="144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feld 39"/>
          <p:cNvSpPr txBox="1"/>
          <p:nvPr/>
        </p:nvSpPr>
        <p:spPr>
          <a:xfrm>
            <a:off x="-1791723" y="799523"/>
            <a:ext cx="1514371" cy="184666"/>
          </a:xfrm>
          <a:prstGeom prst="rect">
            <a:avLst/>
          </a:prstGeom>
          <a:noFill/>
        </p:spPr>
        <p:txBody>
          <a:bodyPr wrap="none" lIns="72000" tIns="0" rIns="72000" bIns="0" rtlCol="0" anchor="ctr">
            <a:spAutoFit/>
          </a:bodyPr>
          <a:lstStyle/>
          <a:p>
            <a:pPr algn="r"/>
            <a:r>
              <a:rPr lang="de-DE" sz="1200" noProof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abelle</a:t>
            </a:r>
            <a:r>
              <a:rPr lang="de-DE" sz="1200" baseline="0" noProof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  <a:r>
              <a:rPr lang="de-DE" sz="1200" noProof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(Vollflächig)</a:t>
            </a:r>
          </a:p>
        </p:txBody>
      </p:sp>
      <p:sp>
        <p:nvSpPr>
          <p:cNvPr id="41" name="object 4">
            <a:extLst>
              <a:ext uri="{FF2B5EF4-FFF2-40B4-BE49-F238E27FC236}">
                <a16:creationId xmlns:a16="http://schemas.microsoft.com/office/drawing/2014/main" id="{F1407FCD-A98D-8D4C-BAEA-A83B72042659}"/>
              </a:ext>
            </a:extLst>
          </p:cNvPr>
          <p:cNvSpPr/>
          <p:nvPr/>
        </p:nvSpPr>
        <p:spPr>
          <a:xfrm>
            <a:off x="0" y="899999"/>
            <a:ext cx="12192635" cy="0"/>
          </a:xfrm>
          <a:custGeom>
            <a:avLst/>
            <a:gdLst/>
            <a:ahLst/>
            <a:cxnLst/>
            <a:rect l="l" t="t" r="r" b="b"/>
            <a:pathLst>
              <a:path w="12192635">
                <a:moveTo>
                  <a:pt x="0" y="0"/>
                </a:moveTo>
                <a:lnTo>
                  <a:pt x="12192113" y="0"/>
                </a:lnTo>
              </a:path>
            </a:pathLst>
          </a:custGeom>
          <a:ln w="28575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18588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09" r:id="rId1"/>
    <p:sldLayoutId id="2147484010" r:id="rId2"/>
    <p:sldLayoutId id="2147484011" r:id="rId3"/>
    <p:sldLayoutId id="2147484012" r:id="rId4"/>
    <p:sldLayoutId id="2147484013" r:id="rId5"/>
    <p:sldLayoutId id="2147484014" r:id="rId6"/>
    <p:sldLayoutId id="2147484015" r:id="rId7"/>
    <p:sldLayoutId id="2147484016" r:id="rId8"/>
    <p:sldLayoutId id="2147484017" r:id="rId9"/>
    <p:sldLayoutId id="2147484018" r:id="rId10"/>
  </p:sldLayoutIdLst>
  <p:hf hdr="0" ft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cap="all" spc="-70" baseline="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216000" indent="-216000" algn="l" defTabSz="914400" rtl="0" eaLnBrk="1" latinLnBrk="0" hangingPunct="1">
        <a:lnSpc>
          <a:spcPct val="100000"/>
        </a:lnSpc>
        <a:spcBef>
          <a:spcPts val="500"/>
        </a:spcBef>
        <a:buFontTx/>
        <a:buChar char="–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2pPr>
      <a:lvl3pPr marL="432000" indent="-216000" algn="l" defTabSz="914400" rtl="0" eaLnBrk="1" latinLnBrk="0" hangingPunct="1">
        <a:lnSpc>
          <a:spcPct val="100000"/>
        </a:lnSpc>
        <a:spcBef>
          <a:spcPts val="500"/>
        </a:spcBef>
        <a:buFontTx/>
        <a:buChar char="–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3pPr>
      <a:lvl4pPr marL="648000" indent="-216000" algn="l" defTabSz="914400" rtl="0" eaLnBrk="1" latinLnBrk="0" hangingPunct="1">
        <a:lnSpc>
          <a:spcPct val="100000"/>
        </a:lnSpc>
        <a:spcBef>
          <a:spcPts val="500"/>
        </a:spcBef>
        <a:buFontTx/>
        <a:buChar char="–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4pPr>
      <a:lvl5pPr marL="864000" indent="-216000" algn="l" defTabSz="914400" rtl="0" eaLnBrk="1" latinLnBrk="0" hangingPunct="1">
        <a:lnSpc>
          <a:spcPct val="100000"/>
        </a:lnSpc>
        <a:spcBef>
          <a:spcPts val="500"/>
        </a:spcBef>
        <a:buFontTx/>
        <a:buChar char="–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42775073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2" imgW="344" imgH="345" progId="TCLayout.ActiveDocument.1">
                  <p:embed/>
                </p:oleObj>
              </mc:Choice>
              <mc:Fallback>
                <p:oleObj name="think-cell Folie" r:id="rId12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/>
          <p:cNvSpPr/>
          <p:nvPr>
            <p:custDataLst>
              <p:tags r:id="rId1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de-DE" sz="2800" b="0" i="0" baseline="0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263525" y="260648"/>
            <a:ext cx="11447923" cy="396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de-DE" noProof="0" dirty="0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263525" y="1052512"/>
            <a:ext cx="11448000" cy="54006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 dirty="0"/>
              <a:t>Formatvorlagen des Textmasters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33" name="Textfeld 32"/>
          <p:cNvSpPr txBox="1"/>
          <p:nvPr/>
        </p:nvSpPr>
        <p:spPr>
          <a:xfrm>
            <a:off x="-974191" y="960180"/>
            <a:ext cx="696839" cy="184666"/>
          </a:xfrm>
          <a:prstGeom prst="rect">
            <a:avLst/>
          </a:prstGeom>
          <a:noFill/>
        </p:spPr>
        <p:txBody>
          <a:bodyPr wrap="none" lIns="72000" tIns="0" rIns="72000" bIns="0" rtlCol="0" anchor="ctr">
            <a:spAutoFit/>
          </a:bodyPr>
          <a:lstStyle/>
          <a:p>
            <a:pPr algn="r"/>
            <a:r>
              <a:rPr lang="de-DE" sz="1200" noProof="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extbox</a:t>
            </a:r>
          </a:p>
        </p:txBody>
      </p:sp>
      <p:sp>
        <p:nvSpPr>
          <p:cNvPr id="100" name="Textfeld 99"/>
          <p:cNvSpPr txBox="1"/>
          <p:nvPr/>
        </p:nvSpPr>
        <p:spPr>
          <a:xfrm>
            <a:off x="-1014869" y="-381635"/>
            <a:ext cx="990189" cy="184666"/>
          </a:xfrm>
          <a:prstGeom prst="rect">
            <a:avLst/>
          </a:prstGeom>
          <a:noFill/>
        </p:spPr>
        <p:txBody>
          <a:bodyPr wrap="none" lIns="72000" tIns="0" rIns="72000" bIns="0" rtlCol="0" anchor="ctr">
            <a:spAutoFit/>
          </a:bodyPr>
          <a:lstStyle/>
          <a:p>
            <a:pPr algn="r"/>
            <a:r>
              <a:rPr lang="de-DE" sz="1200" noProof="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Vier</a:t>
            </a:r>
            <a:r>
              <a:rPr lang="de-DE" sz="1200" baseline="0" noProof="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  <a:r>
              <a:rPr lang="de-DE" sz="1200" noProof="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Spalten</a:t>
            </a:r>
          </a:p>
        </p:txBody>
      </p:sp>
      <p:sp>
        <p:nvSpPr>
          <p:cNvPr id="101" name="Textfeld 100"/>
          <p:cNvSpPr txBox="1"/>
          <p:nvPr/>
        </p:nvSpPr>
        <p:spPr>
          <a:xfrm>
            <a:off x="-1032502" y="-618555"/>
            <a:ext cx="1007822" cy="184666"/>
          </a:xfrm>
          <a:prstGeom prst="rect">
            <a:avLst/>
          </a:prstGeom>
          <a:noFill/>
        </p:spPr>
        <p:txBody>
          <a:bodyPr wrap="none" lIns="72000" tIns="0" rIns="72000" bIns="0" rtlCol="0" anchor="ctr">
            <a:spAutoFit/>
          </a:bodyPr>
          <a:lstStyle/>
          <a:p>
            <a:pPr algn="r"/>
            <a:r>
              <a:rPr lang="de-DE" sz="1200" noProof="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Drei</a:t>
            </a:r>
            <a:r>
              <a:rPr lang="de-DE" sz="1200" baseline="0" noProof="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  <a:r>
              <a:rPr lang="de-DE" sz="1200" noProof="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Spalten</a:t>
            </a:r>
          </a:p>
        </p:txBody>
      </p:sp>
      <p:sp>
        <p:nvSpPr>
          <p:cNvPr id="105" name="Textfeld 104"/>
          <p:cNvSpPr txBox="1"/>
          <p:nvPr/>
        </p:nvSpPr>
        <p:spPr>
          <a:xfrm>
            <a:off x="-1067768" y="-855476"/>
            <a:ext cx="1043088" cy="184666"/>
          </a:xfrm>
          <a:prstGeom prst="rect">
            <a:avLst/>
          </a:prstGeom>
          <a:noFill/>
        </p:spPr>
        <p:txBody>
          <a:bodyPr wrap="none" lIns="72000" tIns="0" rIns="72000" bIns="0" rtlCol="0" anchor="ctr">
            <a:spAutoFit/>
          </a:bodyPr>
          <a:lstStyle/>
          <a:p>
            <a:pPr algn="r"/>
            <a:r>
              <a:rPr lang="de-DE" sz="1200" noProof="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Zwei Spalten</a:t>
            </a:r>
          </a:p>
        </p:txBody>
      </p:sp>
      <p:grpSp>
        <p:nvGrpSpPr>
          <p:cNvPr id="120" name="Gruppieren 119"/>
          <p:cNvGrpSpPr/>
          <p:nvPr/>
        </p:nvGrpSpPr>
        <p:grpSpPr>
          <a:xfrm>
            <a:off x="-276708" y="-835143"/>
            <a:ext cx="12205181" cy="7972555"/>
            <a:chOff x="-276708" y="-835143"/>
            <a:chExt cx="12205181" cy="7972555"/>
          </a:xfrm>
        </p:grpSpPr>
        <p:cxnSp>
          <p:nvCxnSpPr>
            <p:cNvPr id="24" name="Gerade Verbindung 23"/>
            <p:cNvCxnSpPr/>
            <p:nvPr userDrawn="1"/>
          </p:nvCxnSpPr>
          <p:spPr>
            <a:xfrm rot="5400000" flipV="1">
              <a:off x="-204708" y="980735"/>
              <a:ext cx="0" cy="1440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24"/>
            <p:cNvCxnSpPr/>
            <p:nvPr userDrawn="1"/>
          </p:nvCxnSpPr>
          <p:spPr>
            <a:xfrm rot="5400000" flipV="1">
              <a:off x="-204708" y="6381336"/>
              <a:ext cx="0" cy="1440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Gerade Verbindung 78"/>
            <p:cNvCxnSpPr/>
            <p:nvPr userDrawn="1"/>
          </p:nvCxnSpPr>
          <p:spPr>
            <a:xfrm>
              <a:off x="259147" y="6993412"/>
              <a:ext cx="0" cy="1440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3" name="Gerade Verbindung mit Pfeil 92"/>
            <p:cNvCxnSpPr/>
            <p:nvPr userDrawn="1"/>
          </p:nvCxnSpPr>
          <p:spPr>
            <a:xfrm>
              <a:off x="263525" y="-526222"/>
              <a:ext cx="3492500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" name="Gerade Verbindung mit Pfeil 93"/>
            <p:cNvCxnSpPr/>
            <p:nvPr userDrawn="1"/>
          </p:nvCxnSpPr>
          <p:spPr>
            <a:xfrm>
              <a:off x="4259684" y="-526222"/>
              <a:ext cx="3457154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Gerade Verbindung mit Pfeil 94"/>
            <p:cNvCxnSpPr/>
            <p:nvPr userDrawn="1"/>
          </p:nvCxnSpPr>
          <p:spPr>
            <a:xfrm>
              <a:off x="8220124" y="-526222"/>
              <a:ext cx="3492500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Gerade Verbindung mit Pfeil 95"/>
            <p:cNvCxnSpPr/>
            <p:nvPr userDrawn="1"/>
          </p:nvCxnSpPr>
          <p:spPr>
            <a:xfrm>
              <a:off x="263525" y="-289302"/>
              <a:ext cx="2484438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Gerade Verbindung mit Pfeil 96"/>
            <p:cNvCxnSpPr/>
            <p:nvPr userDrawn="1"/>
          </p:nvCxnSpPr>
          <p:spPr>
            <a:xfrm>
              <a:off x="3251200" y="-289302"/>
              <a:ext cx="2484438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Gerade Verbindung mit Pfeil 97"/>
            <p:cNvCxnSpPr/>
            <p:nvPr userDrawn="1"/>
          </p:nvCxnSpPr>
          <p:spPr>
            <a:xfrm>
              <a:off x="6240462" y="-289302"/>
              <a:ext cx="2484438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Gerade Verbindung mit Pfeil 98"/>
            <p:cNvCxnSpPr/>
            <p:nvPr userDrawn="1"/>
          </p:nvCxnSpPr>
          <p:spPr>
            <a:xfrm>
              <a:off x="9228186" y="-289302"/>
              <a:ext cx="2484438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Gerade Verbindung mit Pfeil 101"/>
            <p:cNvCxnSpPr/>
            <p:nvPr userDrawn="1"/>
          </p:nvCxnSpPr>
          <p:spPr>
            <a:xfrm>
              <a:off x="263525" y="-763143"/>
              <a:ext cx="5472113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" name="Gerade Verbindung mit Pfeil 103"/>
            <p:cNvCxnSpPr/>
            <p:nvPr userDrawn="1"/>
          </p:nvCxnSpPr>
          <p:spPr>
            <a:xfrm>
              <a:off x="6240463" y="-763143"/>
              <a:ext cx="5472161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Gerade Verbindung 107"/>
            <p:cNvCxnSpPr/>
            <p:nvPr userDrawn="1"/>
          </p:nvCxnSpPr>
          <p:spPr>
            <a:xfrm>
              <a:off x="2999272" y="-361302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Gerade Verbindung 108"/>
            <p:cNvCxnSpPr/>
            <p:nvPr userDrawn="1"/>
          </p:nvCxnSpPr>
          <p:spPr>
            <a:xfrm>
              <a:off x="5987988" y="-361302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Gerade Verbindung 109"/>
            <p:cNvCxnSpPr/>
            <p:nvPr userDrawn="1"/>
          </p:nvCxnSpPr>
          <p:spPr>
            <a:xfrm>
              <a:off x="8976320" y="-361302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Gerade Verbindung 110"/>
            <p:cNvCxnSpPr/>
            <p:nvPr userDrawn="1"/>
          </p:nvCxnSpPr>
          <p:spPr>
            <a:xfrm>
              <a:off x="7968208" y="-598222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Gerade Verbindung 111"/>
            <p:cNvCxnSpPr/>
            <p:nvPr userDrawn="1"/>
          </p:nvCxnSpPr>
          <p:spPr>
            <a:xfrm>
              <a:off x="4007768" y="-598222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Gerade Verbindung 112"/>
            <p:cNvCxnSpPr/>
            <p:nvPr userDrawn="1"/>
          </p:nvCxnSpPr>
          <p:spPr>
            <a:xfrm>
              <a:off x="5987988" y="-835143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33"/>
            <p:cNvCxnSpPr/>
            <p:nvPr userDrawn="1"/>
          </p:nvCxnSpPr>
          <p:spPr>
            <a:xfrm rot="5400000" flipV="1">
              <a:off x="-204708" y="826746"/>
              <a:ext cx="0" cy="144000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34"/>
            <p:cNvCxnSpPr/>
            <p:nvPr userDrawn="1"/>
          </p:nvCxnSpPr>
          <p:spPr>
            <a:xfrm rot="5400000" flipV="1">
              <a:off x="-204708" y="6785999"/>
              <a:ext cx="0" cy="144000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35"/>
            <p:cNvCxnSpPr/>
            <p:nvPr userDrawn="1"/>
          </p:nvCxnSpPr>
          <p:spPr>
            <a:xfrm rot="10800000" flipV="1">
              <a:off x="11928473" y="-361302"/>
              <a:ext cx="0" cy="144000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 Verbindung 38"/>
            <p:cNvCxnSpPr/>
            <p:nvPr userDrawn="1"/>
          </p:nvCxnSpPr>
          <p:spPr>
            <a:xfrm rot="10800000" flipV="1">
              <a:off x="0" y="-361302"/>
              <a:ext cx="0" cy="144000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38" name="Gerade Verbindung 37"/>
          <p:cNvCxnSpPr/>
          <p:nvPr/>
        </p:nvCxnSpPr>
        <p:spPr>
          <a:xfrm>
            <a:off x="11712624" y="6993412"/>
            <a:ext cx="0" cy="144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feld 39"/>
          <p:cNvSpPr txBox="1"/>
          <p:nvPr/>
        </p:nvSpPr>
        <p:spPr>
          <a:xfrm>
            <a:off x="-1791723" y="799523"/>
            <a:ext cx="1514371" cy="184666"/>
          </a:xfrm>
          <a:prstGeom prst="rect">
            <a:avLst/>
          </a:prstGeom>
          <a:noFill/>
        </p:spPr>
        <p:txBody>
          <a:bodyPr wrap="none" lIns="72000" tIns="0" rIns="72000" bIns="0" rtlCol="0" anchor="ctr">
            <a:spAutoFit/>
          </a:bodyPr>
          <a:lstStyle/>
          <a:p>
            <a:pPr algn="r"/>
            <a:r>
              <a:rPr lang="de-DE" sz="1200" noProof="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abelle</a:t>
            </a:r>
            <a:r>
              <a:rPr lang="de-DE" sz="1200" baseline="0" noProof="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  <a:r>
              <a:rPr lang="de-DE" sz="1200" noProof="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(Vollflächig)</a:t>
            </a:r>
          </a:p>
        </p:txBody>
      </p:sp>
      <p:sp>
        <p:nvSpPr>
          <p:cNvPr id="41" name="object 4">
            <a:extLst>
              <a:ext uri="{FF2B5EF4-FFF2-40B4-BE49-F238E27FC236}">
                <a16:creationId xmlns:a16="http://schemas.microsoft.com/office/drawing/2014/main" id="{F1407FCD-A98D-8D4C-BAEA-A83B72042659}"/>
              </a:ext>
            </a:extLst>
          </p:cNvPr>
          <p:cNvSpPr/>
          <p:nvPr/>
        </p:nvSpPr>
        <p:spPr>
          <a:xfrm>
            <a:off x="0" y="899999"/>
            <a:ext cx="12192635" cy="0"/>
          </a:xfrm>
          <a:custGeom>
            <a:avLst/>
            <a:gdLst/>
            <a:ahLst/>
            <a:cxnLst/>
            <a:rect l="l" t="t" r="r" b="b"/>
            <a:pathLst>
              <a:path w="12192635">
                <a:moveTo>
                  <a:pt x="0" y="0"/>
                </a:moveTo>
                <a:lnTo>
                  <a:pt x="12192113" y="0"/>
                </a:lnTo>
              </a:path>
            </a:pathLst>
          </a:custGeom>
          <a:ln w="28575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983268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3" r:id="rId1"/>
    <p:sldLayoutId id="2147483934" r:id="rId2"/>
    <p:sldLayoutId id="2147483935" r:id="rId3"/>
    <p:sldLayoutId id="2147483950" r:id="rId4"/>
    <p:sldLayoutId id="2147483936" r:id="rId5"/>
    <p:sldLayoutId id="2147483956" r:id="rId6"/>
    <p:sldLayoutId id="2147483937" r:id="rId7"/>
    <p:sldLayoutId id="2147483952" r:id="rId8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cap="all" spc="-70" baseline="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216000" indent="-216000" algn="l" defTabSz="914400" rtl="0" eaLnBrk="1" latinLnBrk="0" hangingPunct="1">
        <a:lnSpc>
          <a:spcPct val="100000"/>
        </a:lnSpc>
        <a:spcBef>
          <a:spcPts val="500"/>
        </a:spcBef>
        <a:buFontTx/>
        <a:buChar char="–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2pPr>
      <a:lvl3pPr marL="432000" indent="-216000" algn="l" defTabSz="914400" rtl="0" eaLnBrk="1" latinLnBrk="0" hangingPunct="1">
        <a:lnSpc>
          <a:spcPct val="100000"/>
        </a:lnSpc>
        <a:spcBef>
          <a:spcPts val="500"/>
        </a:spcBef>
        <a:buFontTx/>
        <a:buChar char="–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3pPr>
      <a:lvl4pPr marL="648000" indent="-216000" algn="l" defTabSz="914400" rtl="0" eaLnBrk="1" latinLnBrk="0" hangingPunct="1">
        <a:lnSpc>
          <a:spcPct val="100000"/>
        </a:lnSpc>
        <a:spcBef>
          <a:spcPts val="500"/>
        </a:spcBef>
        <a:buFontTx/>
        <a:buChar char="–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4pPr>
      <a:lvl5pPr marL="864000" indent="-216000" algn="l" defTabSz="914400" rtl="0" eaLnBrk="1" latinLnBrk="0" hangingPunct="1">
        <a:lnSpc>
          <a:spcPct val="100000"/>
        </a:lnSpc>
        <a:spcBef>
          <a:spcPts val="500"/>
        </a:spcBef>
        <a:buFontTx/>
        <a:buChar char="–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34189415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2" imgW="344" imgH="345" progId="TCLayout.ActiveDocument.1">
                  <p:embed/>
                </p:oleObj>
              </mc:Choice>
              <mc:Fallback>
                <p:oleObj name="think-cell Folie" r:id="rId12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>
            <p:custDataLst>
              <p:tags r:id="rId1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de-DE" sz="2800" b="0" i="0" baseline="0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Textfeld 3"/>
          <p:cNvSpPr txBox="1"/>
          <p:nvPr/>
        </p:nvSpPr>
        <p:spPr>
          <a:xfrm rot="16200000">
            <a:off x="8627637" y="3303909"/>
            <a:ext cx="6865200" cy="263527"/>
          </a:xfrm>
          <a:prstGeom prst="rect">
            <a:avLst/>
          </a:prstGeom>
          <a:solidFill>
            <a:schemeClr val="bg2"/>
          </a:solidFill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endParaRPr lang="de-DE" sz="800" kern="1200" spc="-30" baseline="0" dirty="0">
              <a:solidFill>
                <a:schemeClr val="tx2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Textfeld 8"/>
          <p:cNvSpPr txBox="1"/>
          <p:nvPr/>
        </p:nvSpPr>
        <p:spPr>
          <a:xfrm rot="16200000">
            <a:off x="11605877" y="322597"/>
            <a:ext cx="908719" cy="263527"/>
          </a:xfrm>
          <a:prstGeom prst="rect">
            <a:avLst/>
          </a:prstGeom>
          <a:noFill/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r>
              <a:rPr lang="de-DE" sz="800" kern="1200" spc="-3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© Rödl &amp; Partner </a:t>
            </a:r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263525" y="260648"/>
            <a:ext cx="11447923" cy="396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de-DE" noProof="0" dirty="0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263525" y="1052512"/>
            <a:ext cx="11448000" cy="54006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 dirty="0"/>
              <a:t>Formatvorlagen des Textmasters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928648" y="6453187"/>
            <a:ext cx="263350" cy="404813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lvl1pPr algn="ctr">
              <a:defRPr sz="1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4CFEB0D3-1EB3-4F08-8062-95FFB9749870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33" name="Textfeld 32"/>
          <p:cNvSpPr txBox="1"/>
          <p:nvPr/>
        </p:nvSpPr>
        <p:spPr>
          <a:xfrm>
            <a:off x="-974191" y="960180"/>
            <a:ext cx="696839" cy="184666"/>
          </a:xfrm>
          <a:prstGeom prst="rect">
            <a:avLst/>
          </a:prstGeom>
          <a:noFill/>
        </p:spPr>
        <p:txBody>
          <a:bodyPr wrap="none" lIns="72000" tIns="0" rIns="72000" bIns="0" rtlCol="0" anchor="ctr">
            <a:spAutoFit/>
          </a:bodyPr>
          <a:lstStyle/>
          <a:p>
            <a:pPr algn="r"/>
            <a:r>
              <a:rPr lang="de-DE" sz="1200" noProof="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extbox</a:t>
            </a:r>
          </a:p>
        </p:txBody>
      </p:sp>
      <p:sp>
        <p:nvSpPr>
          <p:cNvPr id="100" name="Textfeld 99"/>
          <p:cNvSpPr txBox="1"/>
          <p:nvPr/>
        </p:nvSpPr>
        <p:spPr>
          <a:xfrm>
            <a:off x="-1014869" y="-381635"/>
            <a:ext cx="990189" cy="184666"/>
          </a:xfrm>
          <a:prstGeom prst="rect">
            <a:avLst/>
          </a:prstGeom>
          <a:noFill/>
        </p:spPr>
        <p:txBody>
          <a:bodyPr wrap="none" lIns="72000" tIns="0" rIns="72000" bIns="0" rtlCol="0" anchor="ctr">
            <a:spAutoFit/>
          </a:bodyPr>
          <a:lstStyle/>
          <a:p>
            <a:pPr algn="r"/>
            <a:r>
              <a:rPr lang="de-DE" sz="1200" noProof="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Vier</a:t>
            </a:r>
            <a:r>
              <a:rPr lang="de-DE" sz="1200" baseline="0" noProof="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  <a:r>
              <a:rPr lang="de-DE" sz="1200" noProof="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Spalten</a:t>
            </a:r>
          </a:p>
        </p:txBody>
      </p:sp>
      <p:sp>
        <p:nvSpPr>
          <p:cNvPr id="101" name="Textfeld 100"/>
          <p:cNvSpPr txBox="1"/>
          <p:nvPr/>
        </p:nvSpPr>
        <p:spPr>
          <a:xfrm>
            <a:off x="-1032502" y="-618555"/>
            <a:ext cx="1007822" cy="184666"/>
          </a:xfrm>
          <a:prstGeom prst="rect">
            <a:avLst/>
          </a:prstGeom>
          <a:noFill/>
        </p:spPr>
        <p:txBody>
          <a:bodyPr wrap="none" lIns="72000" tIns="0" rIns="72000" bIns="0" rtlCol="0" anchor="ctr">
            <a:spAutoFit/>
          </a:bodyPr>
          <a:lstStyle/>
          <a:p>
            <a:pPr algn="r"/>
            <a:r>
              <a:rPr lang="de-DE" sz="1200" noProof="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Drei</a:t>
            </a:r>
            <a:r>
              <a:rPr lang="de-DE" sz="1200" baseline="0" noProof="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  <a:r>
              <a:rPr lang="de-DE" sz="1200" noProof="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Spalten</a:t>
            </a:r>
          </a:p>
        </p:txBody>
      </p:sp>
      <p:sp>
        <p:nvSpPr>
          <p:cNvPr id="105" name="Textfeld 104"/>
          <p:cNvSpPr txBox="1"/>
          <p:nvPr/>
        </p:nvSpPr>
        <p:spPr>
          <a:xfrm>
            <a:off x="-1067768" y="-855476"/>
            <a:ext cx="1043088" cy="184666"/>
          </a:xfrm>
          <a:prstGeom prst="rect">
            <a:avLst/>
          </a:prstGeom>
          <a:noFill/>
        </p:spPr>
        <p:txBody>
          <a:bodyPr wrap="none" lIns="72000" tIns="0" rIns="72000" bIns="0" rtlCol="0" anchor="ctr">
            <a:spAutoFit/>
          </a:bodyPr>
          <a:lstStyle/>
          <a:p>
            <a:pPr algn="r"/>
            <a:r>
              <a:rPr lang="de-DE" sz="1200" noProof="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Zwei Spalten</a:t>
            </a:r>
          </a:p>
        </p:txBody>
      </p:sp>
      <p:cxnSp>
        <p:nvCxnSpPr>
          <p:cNvPr id="38" name="Gerade Verbindung 37"/>
          <p:cNvCxnSpPr/>
          <p:nvPr/>
        </p:nvCxnSpPr>
        <p:spPr>
          <a:xfrm>
            <a:off x="11712624" y="6993412"/>
            <a:ext cx="0" cy="144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1" name="Gruppieren 40"/>
          <p:cNvGrpSpPr/>
          <p:nvPr/>
        </p:nvGrpSpPr>
        <p:grpSpPr>
          <a:xfrm>
            <a:off x="-276708" y="-835143"/>
            <a:ext cx="12205181" cy="7972555"/>
            <a:chOff x="-276708" y="-835143"/>
            <a:chExt cx="12205181" cy="7972555"/>
          </a:xfrm>
        </p:grpSpPr>
        <p:cxnSp>
          <p:nvCxnSpPr>
            <p:cNvPr id="42" name="Gerade Verbindung 41"/>
            <p:cNvCxnSpPr/>
            <p:nvPr userDrawn="1"/>
          </p:nvCxnSpPr>
          <p:spPr>
            <a:xfrm rot="5400000" flipV="1">
              <a:off x="-204708" y="980735"/>
              <a:ext cx="0" cy="1440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 Verbindung 42"/>
            <p:cNvCxnSpPr/>
            <p:nvPr userDrawn="1"/>
          </p:nvCxnSpPr>
          <p:spPr>
            <a:xfrm rot="5400000" flipV="1">
              <a:off x="-204708" y="6381336"/>
              <a:ext cx="0" cy="1440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Gerade Verbindung 43"/>
            <p:cNvCxnSpPr/>
            <p:nvPr userDrawn="1"/>
          </p:nvCxnSpPr>
          <p:spPr>
            <a:xfrm>
              <a:off x="259147" y="6993412"/>
              <a:ext cx="0" cy="1440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Gerade Verbindung mit Pfeil 44"/>
            <p:cNvCxnSpPr/>
            <p:nvPr userDrawn="1"/>
          </p:nvCxnSpPr>
          <p:spPr>
            <a:xfrm>
              <a:off x="263525" y="-526222"/>
              <a:ext cx="3492500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Gerade Verbindung mit Pfeil 45"/>
            <p:cNvCxnSpPr/>
            <p:nvPr userDrawn="1"/>
          </p:nvCxnSpPr>
          <p:spPr>
            <a:xfrm>
              <a:off x="4259684" y="-526222"/>
              <a:ext cx="3457154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Gerade Verbindung mit Pfeil 46"/>
            <p:cNvCxnSpPr/>
            <p:nvPr userDrawn="1"/>
          </p:nvCxnSpPr>
          <p:spPr>
            <a:xfrm>
              <a:off x="8220124" y="-526222"/>
              <a:ext cx="3492500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Gerade Verbindung mit Pfeil 47"/>
            <p:cNvCxnSpPr/>
            <p:nvPr userDrawn="1"/>
          </p:nvCxnSpPr>
          <p:spPr>
            <a:xfrm>
              <a:off x="263525" y="-289302"/>
              <a:ext cx="2484438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mit Pfeil 48"/>
            <p:cNvCxnSpPr/>
            <p:nvPr userDrawn="1"/>
          </p:nvCxnSpPr>
          <p:spPr>
            <a:xfrm>
              <a:off x="3251200" y="-289302"/>
              <a:ext cx="2484438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mit Pfeil 49"/>
            <p:cNvCxnSpPr/>
            <p:nvPr userDrawn="1"/>
          </p:nvCxnSpPr>
          <p:spPr>
            <a:xfrm>
              <a:off x="6240462" y="-289302"/>
              <a:ext cx="2484438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mit Pfeil 50"/>
            <p:cNvCxnSpPr/>
            <p:nvPr userDrawn="1"/>
          </p:nvCxnSpPr>
          <p:spPr>
            <a:xfrm>
              <a:off x="9228186" y="-289302"/>
              <a:ext cx="2484438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 Verbindung mit Pfeil 51"/>
            <p:cNvCxnSpPr/>
            <p:nvPr userDrawn="1"/>
          </p:nvCxnSpPr>
          <p:spPr>
            <a:xfrm>
              <a:off x="263525" y="-763143"/>
              <a:ext cx="5472113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 Verbindung mit Pfeil 52"/>
            <p:cNvCxnSpPr/>
            <p:nvPr userDrawn="1"/>
          </p:nvCxnSpPr>
          <p:spPr>
            <a:xfrm>
              <a:off x="6240463" y="-763143"/>
              <a:ext cx="5472161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Gerade Verbindung 53"/>
            <p:cNvCxnSpPr/>
            <p:nvPr userDrawn="1"/>
          </p:nvCxnSpPr>
          <p:spPr>
            <a:xfrm>
              <a:off x="2999272" y="-361302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54"/>
            <p:cNvCxnSpPr/>
            <p:nvPr userDrawn="1"/>
          </p:nvCxnSpPr>
          <p:spPr>
            <a:xfrm>
              <a:off x="5987988" y="-361302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 Verbindung 55"/>
            <p:cNvCxnSpPr/>
            <p:nvPr userDrawn="1"/>
          </p:nvCxnSpPr>
          <p:spPr>
            <a:xfrm>
              <a:off x="8976320" y="-361302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 Verbindung 56"/>
            <p:cNvCxnSpPr/>
            <p:nvPr userDrawn="1"/>
          </p:nvCxnSpPr>
          <p:spPr>
            <a:xfrm>
              <a:off x="7968208" y="-598222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 Verbindung 57"/>
            <p:cNvCxnSpPr/>
            <p:nvPr userDrawn="1"/>
          </p:nvCxnSpPr>
          <p:spPr>
            <a:xfrm>
              <a:off x="4007768" y="-598222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 Verbindung 58"/>
            <p:cNvCxnSpPr/>
            <p:nvPr userDrawn="1"/>
          </p:nvCxnSpPr>
          <p:spPr>
            <a:xfrm>
              <a:off x="5987988" y="-835143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 Verbindung 59"/>
            <p:cNvCxnSpPr/>
            <p:nvPr userDrawn="1"/>
          </p:nvCxnSpPr>
          <p:spPr>
            <a:xfrm rot="5400000" flipV="1">
              <a:off x="-204708" y="826746"/>
              <a:ext cx="0" cy="144000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Gerade Verbindung 60"/>
            <p:cNvCxnSpPr/>
            <p:nvPr userDrawn="1"/>
          </p:nvCxnSpPr>
          <p:spPr>
            <a:xfrm rot="5400000" flipV="1">
              <a:off x="-204708" y="6785999"/>
              <a:ext cx="0" cy="144000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Gerade Verbindung 61"/>
            <p:cNvCxnSpPr/>
            <p:nvPr userDrawn="1"/>
          </p:nvCxnSpPr>
          <p:spPr>
            <a:xfrm rot="10800000" flipV="1">
              <a:off x="11928473" y="-361302"/>
              <a:ext cx="0" cy="144000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Gerade Verbindung 62"/>
            <p:cNvCxnSpPr/>
            <p:nvPr userDrawn="1"/>
          </p:nvCxnSpPr>
          <p:spPr>
            <a:xfrm rot="10800000" flipV="1">
              <a:off x="0" y="-361302"/>
              <a:ext cx="0" cy="144000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4" name="Textfeld 63"/>
          <p:cNvSpPr txBox="1"/>
          <p:nvPr/>
        </p:nvSpPr>
        <p:spPr>
          <a:xfrm>
            <a:off x="-1791723" y="799523"/>
            <a:ext cx="1514371" cy="184666"/>
          </a:xfrm>
          <a:prstGeom prst="rect">
            <a:avLst/>
          </a:prstGeom>
          <a:noFill/>
        </p:spPr>
        <p:txBody>
          <a:bodyPr wrap="none" lIns="72000" tIns="0" rIns="72000" bIns="0" rtlCol="0" anchor="ctr">
            <a:spAutoFit/>
          </a:bodyPr>
          <a:lstStyle/>
          <a:p>
            <a:pPr algn="r"/>
            <a:r>
              <a:rPr lang="de-DE" sz="1200" noProof="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abelle</a:t>
            </a:r>
            <a:r>
              <a:rPr lang="de-DE" sz="1200" baseline="0" noProof="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  <a:r>
              <a:rPr lang="de-DE" sz="1200" noProof="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(Vollflächig)</a:t>
            </a:r>
          </a:p>
        </p:txBody>
      </p:sp>
    </p:spTree>
    <p:extLst>
      <p:ext uri="{BB962C8B-B14F-4D97-AF65-F5344CB8AC3E}">
        <p14:creationId xmlns:p14="http://schemas.microsoft.com/office/powerpoint/2010/main" val="25343301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8" r:id="rId1"/>
    <p:sldLayoutId id="2147483939" r:id="rId2"/>
    <p:sldLayoutId id="2147483940" r:id="rId3"/>
    <p:sldLayoutId id="2147483948" r:id="rId4"/>
    <p:sldLayoutId id="2147483941" r:id="rId5"/>
    <p:sldLayoutId id="2147483955" r:id="rId6"/>
    <p:sldLayoutId id="2147483942" r:id="rId7"/>
    <p:sldLayoutId id="2147483951" r:id="rId8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cap="all" spc="-70" baseline="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216000" indent="-216000" algn="l" defTabSz="914400" rtl="0" eaLnBrk="1" latinLnBrk="0" hangingPunct="1">
        <a:lnSpc>
          <a:spcPct val="100000"/>
        </a:lnSpc>
        <a:spcBef>
          <a:spcPts val="500"/>
        </a:spcBef>
        <a:buFontTx/>
        <a:buChar char="–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2pPr>
      <a:lvl3pPr marL="432000" indent="-216000" algn="l" defTabSz="914400" rtl="0" eaLnBrk="1" latinLnBrk="0" hangingPunct="1">
        <a:lnSpc>
          <a:spcPct val="100000"/>
        </a:lnSpc>
        <a:spcBef>
          <a:spcPts val="500"/>
        </a:spcBef>
        <a:buFontTx/>
        <a:buChar char="–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3pPr>
      <a:lvl4pPr marL="648000" indent="-216000" algn="l" defTabSz="914400" rtl="0" eaLnBrk="1" latinLnBrk="0" hangingPunct="1">
        <a:lnSpc>
          <a:spcPct val="100000"/>
        </a:lnSpc>
        <a:spcBef>
          <a:spcPts val="500"/>
        </a:spcBef>
        <a:buFontTx/>
        <a:buChar char="–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4pPr>
      <a:lvl5pPr marL="864000" indent="-216000" algn="l" defTabSz="914400" rtl="0" eaLnBrk="1" latinLnBrk="0" hangingPunct="1">
        <a:lnSpc>
          <a:spcPct val="100000"/>
        </a:lnSpc>
        <a:spcBef>
          <a:spcPts val="500"/>
        </a:spcBef>
        <a:buFontTx/>
        <a:buChar char="–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36235690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1" imgW="344" imgH="345" progId="TCLayout.ActiveDocument.1">
                  <p:embed/>
                </p:oleObj>
              </mc:Choice>
              <mc:Fallback>
                <p:oleObj name="think-cell Folie" r:id="rId11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>
            <p:custDataLst>
              <p:tags r:id="rId1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de-DE" sz="2800" b="0" i="0" baseline="0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Textfeld 3"/>
          <p:cNvSpPr txBox="1"/>
          <p:nvPr/>
        </p:nvSpPr>
        <p:spPr>
          <a:xfrm rot="16200000">
            <a:off x="8627637" y="3303909"/>
            <a:ext cx="6865200" cy="263527"/>
          </a:xfrm>
          <a:prstGeom prst="rect">
            <a:avLst/>
          </a:prstGeom>
          <a:solidFill>
            <a:schemeClr val="bg2"/>
          </a:solidFill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endParaRPr lang="de-DE" sz="800" kern="1200" spc="-30" baseline="0" dirty="0">
              <a:solidFill>
                <a:schemeClr val="tx2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Textfeld 8"/>
          <p:cNvSpPr txBox="1"/>
          <p:nvPr/>
        </p:nvSpPr>
        <p:spPr>
          <a:xfrm rot="16200000">
            <a:off x="11605877" y="322597"/>
            <a:ext cx="908719" cy="263527"/>
          </a:xfrm>
          <a:prstGeom prst="rect">
            <a:avLst/>
          </a:prstGeom>
          <a:noFill/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r>
              <a:rPr lang="de-DE" sz="800" kern="1200" spc="-3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© Rödl &amp; Partner </a:t>
            </a:r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263525" y="260648"/>
            <a:ext cx="11447923" cy="396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de-DE" noProof="0" dirty="0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263525" y="1052512"/>
            <a:ext cx="11448000" cy="54006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 dirty="0"/>
              <a:t>Formatvorlagen des Textmasters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928648" y="6453187"/>
            <a:ext cx="263350" cy="404813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lvl1pPr algn="ctr">
              <a:defRPr sz="1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4CFEB0D3-1EB3-4F08-8062-95FFB9749870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33" name="Textfeld 32"/>
          <p:cNvSpPr txBox="1"/>
          <p:nvPr/>
        </p:nvSpPr>
        <p:spPr>
          <a:xfrm>
            <a:off x="-974191" y="960180"/>
            <a:ext cx="696839" cy="184666"/>
          </a:xfrm>
          <a:prstGeom prst="rect">
            <a:avLst/>
          </a:prstGeom>
          <a:noFill/>
        </p:spPr>
        <p:txBody>
          <a:bodyPr wrap="none" lIns="72000" tIns="0" rIns="72000" bIns="0" rtlCol="0" anchor="ctr">
            <a:spAutoFit/>
          </a:bodyPr>
          <a:lstStyle/>
          <a:p>
            <a:pPr algn="r"/>
            <a:r>
              <a:rPr lang="de-DE" sz="1200" noProof="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extbox</a:t>
            </a:r>
          </a:p>
        </p:txBody>
      </p:sp>
      <p:sp>
        <p:nvSpPr>
          <p:cNvPr id="100" name="Textfeld 99"/>
          <p:cNvSpPr txBox="1"/>
          <p:nvPr/>
        </p:nvSpPr>
        <p:spPr>
          <a:xfrm>
            <a:off x="-1014869" y="-381635"/>
            <a:ext cx="990189" cy="184666"/>
          </a:xfrm>
          <a:prstGeom prst="rect">
            <a:avLst/>
          </a:prstGeom>
          <a:noFill/>
        </p:spPr>
        <p:txBody>
          <a:bodyPr wrap="none" lIns="72000" tIns="0" rIns="72000" bIns="0" rtlCol="0" anchor="ctr">
            <a:spAutoFit/>
          </a:bodyPr>
          <a:lstStyle/>
          <a:p>
            <a:pPr algn="r"/>
            <a:r>
              <a:rPr lang="de-DE" sz="1200" noProof="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Vier</a:t>
            </a:r>
            <a:r>
              <a:rPr lang="de-DE" sz="1200" baseline="0" noProof="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  <a:r>
              <a:rPr lang="de-DE" sz="1200" noProof="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Spalten</a:t>
            </a:r>
          </a:p>
        </p:txBody>
      </p:sp>
      <p:sp>
        <p:nvSpPr>
          <p:cNvPr id="101" name="Textfeld 100"/>
          <p:cNvSpPr txBox="1"/>
          <p:nvPr/>
        </p:nvSpPr>
        <p:spPr>
          <a:xfrm>
            <a:off x="-1032502" y="-618555"/>
            <a:ext cx="1007822" cy="184666"/>
          </a:xfrm>
          <a:prstGeom prst="rect">
            <a:avLst/>
          </a:prstGeom>
          <a:noFill/>
        </p:spPr>
        <p:txBody>
          <a:bodyPr wrap="none" lIns="72000" tIns="0" rIns="72000" bIns="0" rtlCol="0" anchor="ctr">
            <a:spAutoFit/>
          </a:bodyPr>
          <a:lstStyle/>
          <a:p>
            <a:pPr algn="r"/>
            <a:r>
              <a:rPr lang="de-DE" sz="1200" noProof="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Drei</a:t>
            </a:r>
            <a:r>
              <a:rPr lang="de-DE" sz="1200" baseline="0" noProof="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  <a:r>
              <a:rPr lang="de-DE" sz="1200" noProof="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Spalten</a:t>
            </a:r>
          </a:p>
        </p:txBody>
      </p:sp>
      <p:sp>
        <p:nvSpPr>
          <p:cNvPr id="105" name="Textfeld 104"/>
          <p:cNvSpPr txBox="1"/>
          <p:nvPr/>
        </p:nvSpPr>
        <p:spPr>
          <a:xfrm>
            <a:off x="-1067768" y="-855476"/>
            <a:ext cx="1043088" cy="184666"/>
          </a:xfrm>
          <a:prstGeom prst="rect">
            <a:avLst/>
          </a:prstGeom>
          <a:noFill/>
        </p:spPr>
        <p:txBody>
          <a:bodyPr wrap="none" lIns="72000" tIns="0" rIns="72000" bIns="0" rtlCol="0" anchor="ctr">
            <a:spAutoFit/>
          </a:bodyPr>
          <a:lstStyle/>
          <a:p>
            <a:pPr algn="r"/>
            <a:r>
              <a:rPr lang="de-DE" sz="1200" noProof="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Zwei Spalten</a:t>
            </a:r>
          </a:p>
        </p:txBody>
      </p:sp>
      <p:cxnSp>
        <p:nvCxnSpPr>
          <p:cNvPr id="38" name="Gerade Verbindung 37"/>
          <p:cNvCxnSpPr/>
          <p:nvPr/>
        </p:nvCxnSpPr>
        <p:spPr>
          <a:xfrm>
            <a:off x="11712624" y="6993412"/>
            <a:ext cx="0" cy="144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1" name="Gruppieren 40"/>
          <p:cNvGrpSpPr/>
          <p:nvPr/>
        </p:nvGrpSpPr>
        <p:grpSpPr>
          <a:xfrm>
            <a:off x="-276708" y="-835143"/>
            <a:ext cx="12205181" cy="7972555"/>
            <a:chOff x="-276708" y="-835143"/>
            <a:chExt cx="12205181" cy="7972555"/>
          </a:xfrm>
        </p:grpSpPr>
        <p:cxnSp>
          <p:nvCxnSpPr>
            <p:cNvPr id="42" name="Gerade Verbindung 41"/>
            <p:cNvCxnSpPr/>
            <p:nvPr userDrawn="1"/>
          </p:nvCxnSpPr>
          <p:spPr>
            <a:xfrm rot="5400000" flipV="1">
              <a:off x="-204708" y="980735"/>
              <a:ext cx="0" cy="1440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 Verbindung 42"/>
            <p:cNvCxnSpPr/>
            <p:nvPr userDrawn="1"/>
          </p:nvCxnSpPr>
          <p:spPr>
            <a:xfrm rot="5400000" flipV="1">
              <a:off x="-204708" y="6381336"/>
              <a:ext cx="0" cy="1440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Gerade Verbindung 43"/>
            <p:cNvCxnSpPr/>
            <p:nvPr userDrawn="1"/>
          </p:nvCxnSpPr>
          <p:spPr>
            <a:xfrm>
              <a:off x="259147" y="6993412"/>
              <a:ext cx="0" cy="1440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Gerade Verbindung mit Pfeil 44"/>
            <p:cNvCxnSpPr/>
            <p:nvPr userDrawn="1"/>
          </p:nvCxnSpPr>
          <p:spPr>
            <a:xfrm>
              <a:off x="263525" y="-526222"/>
              <a:ext cx="3492500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Gerade Verbindung mit Pfeil 45"/>
            <p:cNvCxnSpPr/>
            <p:nvPr userDrawn="1"/>
          </p:nvCxnSpPr>
          <p:spPr>
            <a:xfrm>
              <a:off x="4259684" y="-526222"/>
              <a:ext cx="3457154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Gerade Verbindung mit Pfeil 46"/>
            <p:cNvCxnSpPr/>
            <p:nvPr userDrawn="1"/>
          </p:nvCxnSpPr>
          <p:spPr>
            <a:xfrm>
              <a:off x="8220124" y="-526222"/>
              <a:ext cx="3492500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Gerade Verbindung mit Pfeil 47"/>
            <p:cNvCxnSpPr/>
            <p:nvPr userDrawn="1"/>
          </p:nvCxnSpPr>
          <p:spPr>
            <a:xfrm>
              <a:off x="263525" y="-289302"/>
              <a:ext cx="2484438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mit Pfeil 48"/>
            <p:cNvCxnSpPr/>
            <p:nvPr userDrawn="1"/>
          </p:nvCxnSpPr>
          <p:spPr>
            <a:xfrm>
              <a:off x="3251200" y="-289302"/>
              <a:ext cx="2484438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mit Pfeil 49"/>
            <p:cNvCxnSpPr/>
            <p:nvPr userDrawn="1"/>
          </p:nvCxnSpPr>
          <p:spPr>
            <a:xfrm>
              <a:off x="6240462" y="-289302"/>
              <a:ext cx="2484438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mit Pfeil 50"/>
            <p:cNvCxnSpPr/>
            <p:nvPr userDrawn="1"/>
          </p:nvCxnSpPr>
          <p:spPr>
            <a:xfrm>
              <a:off x="9228186" y="-289302"/>
              <a:ext cx="2484438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 Verbindung mit Pfeil 51"/>
            <p:cNvCxnSpPr/>
            <p:nvPr userDrawn="1"/>
          </p:nvCxnSpPr>
          <p:spPr>
            <a:xfrm>
              <a:off x="263525" y="-763143"/>
              <a:ext cx="5472113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 Verbindung mit Pfeil 52"/>
            <p:cNvCxnSpPr/>
            <p:nvPr userDrawn="1"/>
          </p:nvCxnSpPr>
          <p:spPr>
            <a:xfrm>
              <a:off x="6240463" y="-763143"/>
              <a:ext cx="5472161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Gerade Verbindung 53"/>
            <p:cNvCxnSpPr/>
            <p:nvPr userDrawn="1"/>
          </p:nvCxnSpPr>
          <p:spPr>
            <a:xfrm>
              <a:off x="2999272" y="-361302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54"/>
            <p:cNvCxnSpPr/>
            <p:nvPr userDrawn="1"/>
          </p:nvCxnSpPr>
          <p:spPr>
            <a:xfrm>
              <a:off x="5987988" y="-361302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 Verbindung 55"/>
            <p:cNvCxnSpPr/>
            <p:nvPr userDrawn="1"/>
          </p:nvCxnSpPr>
          <p:spPr>
            <a:xfrm>
              <a:off x="8976320" y="-361302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 Verbindung 56"/>
            <p:cNvCxnSpPr/>
            <p:nvPr userDrawn="1"/>
          </p:nvCxnSpPr>
          <p:spPr>
            <a:xfrm>
              <a:off x="7968208" y="-598222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 Verbindung 57"/>
            <p:cNvCxnSpPr/>
            <p:nvPr userDrawn="1"/>
          </p:nvCxnSpPr>
          <p:spPr>
            <a:xfrm>
              <a:off x="4007768" y="-598222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 Verbindung 58"/>
            <p:cNvCxnSpPr/>
            <p:nvPr userDrawn="1"/>
          </p:nvCxnSpPr>
          <p:spPr>
            <a:xfrm>
              <a:off x="5987988" y="-835143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 Verbindung 59"/>
            <p:cNvCxnSpPr/>
            <p:nvPr userDrawn="1"/>
          </p:nvCxnSpPr>
          <p:spPr>
            <a:xfrm rot="5400000" flipV="1">
              <a:off x="-204708" y="826746"/>
              <a:ext cx="0" cy="144000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Gerade Verbindung 60"/>
            <p:cNvCxnSpPr/>
            <p:nvPr userDrawn="1"/>
          </p:nvCxnSpPr>
          <p:spPr>
            <a:xfrm rot="5400000" flipV="1">
              <a:off x="-204708" y="6785999"/>
              <a:ext cx="0" cy="144000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Gerade Verbindung 61"/>
            <p:cNvCxnSpPr/>
            <p:nvPr userDrawn="1"/>
          </p:nvCxnSpPr>
          <p:spPr>
            <a:xfrm rot="10800000" flipV="1">
              <a:off x="11928473" y="-361302"/>
              <a:ext cx="0" cy="144000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Gerade Verbindung 62"/>
            <p:cNvCxnSpPr/>
            <p:nvPr userDrawn="1"/>
          </p:nvCxnSpPr>
          <p:spPr>
            <a:xfrm rot="10800000" flipV="1">
              <a:off x="0" y="-361302"/>
              <a:ext cx="0" cy="144000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4" name="Textfeld 63"/>
          <p:cNvSpPr txBox="1"/>
          <p:nvPr/>
        </p:nvSpPr>
        <p:spPr>
          <a:xfrm>
            <a:off x="-1791723" y="799523"/>
            <a:ext cx="1514371" cy="184666"/>
          </a:xfrm>
          <a:prstGeom prst="rect">
            <a:avLst/>
          </a:prstGeom>
          <a:noFill/>
        </p:spPr>
        <p:txBody>
          <a:bodyPr wrap="none" lIns="72000" tIns="0" rIns="72000" bIns="0" rtlCol="0" anchor="ctr">
            <a:spAutoFit/>
          </a:bodyPr>
          <a:lstStyle/>
          <a:p>
            <a:pPr algn="r"/>
            <a:r>
              <a:rPr lang="de-DE" sz="1200" noProof="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abelle</a:t>
            </a:r>
            <a:r>
              <a:rPr lang="de-DE" sz="1200" baseline="0" noProof="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  <a:r>
              <a:rPr lang="de-DE" sz="1200" noProof="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(Vollflächig)</a:t>
            </a:r>
          </a:p>
        </p:txBody>
      </p:sp>
    </p:spTree>
    <p:extLst>
      <p:ext uri="{BB962C8B-B14F-4D97-AF65-F5344CB8AC3E}">
        <p14:creationId xmlns:p14="http://schemas.microsoft.com/office/powerpoint/2010/main" val="12260724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43" r:id="rId1"/>
    <p:sldLayoutId id="2147483944" r:id="rId2"/>
    <p:sldLayoutId id="2147483945" r:id="rId3"/>
    <p:sldLayoutId id="2147483949" r:id="rId4"/>
    <p:sldLayoutId id="2147483946" r:id="rId5"/>
    <p:sldLayoutId id="2147483954" r:id="rId6"/>
    <p:sldLayoutId id="2147483947" r:id="rId7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cap="all" spc="-70" baseline="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216000" indent="-216000" algn="l" defTabSz="914400" rtl="0" eaLnBrk="1" latinLnBrk="0" hangingPunct="1">
        <a:lnSpc>
          <a:spcPct val="100000"/>
        </a:lnSpc>
        <a:spcBef>
          <a:spcPts val="500"/>
        </a:spcBef>
        <a:buFontTx/>
        <a:buChar char="–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2pPr>
      <a:lvl3pPr marL="432000" indent="-216000" algn="l" defTabSz="914400" rtl="0" eaLnBrk="1" latinLnBrk="0" hangingPunct="1">
        <a:lnSpc>
          <a:spcPct val="100000"/>
        </a:lnSpc>
        <a:spcBef>
          <a:spcPts val="500"/>
        </a:spcBef>
        <a:buFontTx/>
        <a:buChar char="–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3pPr>
      <a:lvl4pPr marL="648000" indent="-216000" algn="l" defTabSz="914400" rtl="0" eaLnBrk="1" latinLnBrk="0" hangingPunct="1">
        <a:lnSpc>
          <a:spcPct val="100000"/>
        </a:lnSpc>
        <a:spcBef>
          <a:spcPts val="500"/>
        </a:spcBef>
        <a:buFontTx/>
        <a:buChar char="–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4pPr>
      <a:lvl5pPr marL="864000" indent="-216000" algn="l" defTabSz="914400" rtl="0" eaLnBrk="1" latinLnBrk="0" hangingPunct="1">
        <a:lnSpc>
          <a:spcPct val="100000"/>
        </a:lnSpc>
        <a:spcBef>
          <a:spcPts val="500"/>
        </a:spcBef>
        <a:buFontTx/>
        <a:buChar char="–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41065419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8" imgW="344" imgH="345" progId="TCLayout.ActiveDocument.1">
                  <p:embed/>
                </p:oleObj>
              </mc:Choice>
              <mc:Fallback>
                <p:oleObj name="think-cell Folie" r:id="rId8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/>
          <p:cNvSpPr/>
          <p:nvPr>
            <p:custDataLst>
              <p:tags r:id="rId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de-DE" sz="2800" b="0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Textfeld 3"/>
          <p:cNvSpPr txBox="1"/>
          <p:nvPr/>
        </p:nvSpPr>
        <p:spPr>
          <a:xfrm rot="16200000">
            <a:off x="8627636" y="3293636"/>
            <a:ext cx="6865200" cy="263527"/>
          </a:xfrm>
          <a:prstGeom prst="rect">
            <a:avLst/>
          </a:prstGeom>
          <a:solidFill>
            <a:schemeClr val="bg2"/>
          </a:solidFill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endParaRPr lang="de-DE" sz="800" kern="1200" spc="-30" baseline="0" dirty="0">
              <a:solidFill>
                <a:schemeClr val="accent5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263525" y="1052512"/>
            <a:ext cx="11448000" cy="54006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 dirty="0"/>
              <a:t>Formatvorlagen des Textmasters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33" name="Textfeld 32"/>
          <p:cNvSpPr txBox="1"/>
          <p:nvPr/>
        </p:nvSpPr>
        <p:spPr>
          <a:xfrm>
            <a:off x="-974192" y="960180"/>
            <a:ext cx="696840" cy="184666"/>
          </a:xfrm>
          <a:prstGeom prst="rect">
            <a:avLst/>
          </a:prstGeom>
          <a:noFill/>
        </p:spPr>
        <p:txBody>
          <a:bodyPr wrap="none" lIns="72000" tIns="0" rIns="72000" bIns="0" rtlCol="0" anchor="ctr">
            <a:spAutoFit/>
          </a:bodyPr>
          <a:lstStyle/>
          <a:p>
            <a:pPr algn="r"/>
            <a:r>
              <a:rPr lang="de-DE" sz="1200" noProof="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extbox</a:t>
            </a:r>
          </a:p>
        </p:txBody>
      </p:sp>
      <p:sp>
        <p:nvSpPr>
          <p:cNvPr id="100" name="Textfeld 99"/>
          <p:cNvSpPr txBox="1"/>
          <p:nvPr/>
        </p:nvSpPr>
        <p:spPr>
          <a:xfrm>
            <a:off x="-1014869" y="-381635"/>
            <a:ext cx="990189" cy="184666"/>
          </a:xfrm>
          <a:prstGeom prst="rect">
            <a:avLst/>
          </a:prstGeom>
          <a:noFill/>
        </p:spPr>
        <p:txBody>
          <a:bodyPr wrap="none" lIns="72000" tIns="0" rIns="72000" bIns="0" rtlCol="0" anchor="ctr">
            <a:spAutoFit/>
          </a:bodyPr>
          <a:lstStyle/>
          <a:p>
            <a:pPr algn="r"/>
            <a:r>
              <a:rPr lang="de-DE" sz="1200" noProof="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Vier</a:t>
            </a:r>
            <a:r>
              <a:rPr lang="de-DE" sz="1200" baseline="0" noProof="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  <a:r>
              <a:rPr lang="de-DE" sz="1200" noProof="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Spalten</a:t>
            </a:r>
          </a:p>
        </p:txBody>
      </p:sp>
      <p:sp>
        <p:nvSpPr>
          <p:cNvPr id="101" name="Textfeld 100"/>
          <p:cNvSpPr txBox="1"/>
          <p:nvPr/>
        </p:nvSpPr>
        <p:spPr>
          <a:xfrm>
            <a:off x="-1032502" y="-618555"/>
            <a:ext cx="1007822" cy="184666"/>
          </a:xfrm>
          <a:prstGeom prst="rect">
            <a:avLst/>
          </a:prstGeom>
          <a:noFill/>
        </p:spPr>
        <p:txBody>
          <a:bodyPr wrap="none" lIns="72000" tIns="0" rIns="72000" bIns="0" rtlCol="0" anchor="ctr">
            <a:spAutoFit/>
          </a:bodyPr>
          <a:lstStyle/>
          <a:p>
            <a:pPr algn="r"/>
            <a:r>
              <a:rPr lang="de-DE" sz="1200" noProof="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Drei</a:t>
            </a:r>
            <a:r>
              <a:rPr lang="de-DE" sz="1200" baseline="0" noProof="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  <a:r>
              <a:rPr lang="de-DE" sz="1200" noProof="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Spalten</a:t>
            </a:r>
          </a:p>
        </p:txBody>
      </p:sp>
      <p:sp>
        <p:nvSpPr>
          <p:cNvPr id="105" name="Textfeld 104"/>
          <p:cNvSpPr txBox="1"/>
          <p:nvPr/>
        </p:nvSpPr>
        <p:spPr>
          <a:xfrm>
            <a:off x="-1067768" y="-855476"/>
            <a:ext cx="1043088" cy="184666"/>
          </a:xfrm>
          <a:prstGeom prst="rect">
            <a:avLst/>
          </a:prstGeom>
          <a:noFill/>
        </p:spPr>
        <p:txBody>
          <a:bodyPr wrap="none" lIns="72000" tIns="0" rIns="72000" bIns="0" rtlCol="0" anchor="ctr">
            <a:spAutoFit/>
          </a:bodyPr>
          <a:lstStyle/>
          <a:p>
            <a:pPr algn="r"/>
            <a:r>
              <a:rPr lang="de-DE" sz="1200" noProof="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Zwei Spalten</a:t>
            </a:r>
          </a:p>
        </p:txBody>
      </p:sp>
      <p:sp>
        <p:nvSpPr>
          <p:cNvPr id="36" name="Textfeld 35"/>
          <p:cNvSpPr txBox="1"/>
          <p:nvPr/>
        </p:nvSpPr>
        <p:spPr>
          <a:xfrm rot="16200000">
            <a:off x="11605877" y="322597"/>
            <a:ext cx="908719" cy="263527"/>
          </a:xfrm>
          <a:prstGeom prst="rect">
            <a:avLst/>
          </a:prstGeom>
          <a:noFill/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r>
              <a:rPr lang="de-DE" sz="800" kern="1200" spc="-3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© Rödl &amp; Partner </a:t>
            </a:r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263352" y="260350"/>
            <a:ext cx="11448000" cy="39528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lvl="0"/>
            <a:r>
              <a:rPr lang="de-DE" dirty="0"/>
              <a:t>Titelmasterformat durch Klicken bearbeiten</a:t>
            </a:r>
          </a:p>
        </p:txBody>
      </p:sp>
      <p:sp>
        <p:nvSpPr>
          <p:cNvPr id="37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928648" y="6453187"/>
            <a:ext cx="263350" cy="404813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lvl1pPr algn="ctr">
              <a:defRPr sz="1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4CFEB0D3-1EB3-4F08-8062-95FFB9749870}" type="slidenum">
              <a:rPr lang="de-DE" smtClean="0"/>
              <a:pPr/>
              <a:t>‹Nr.›</a:t>
            </a:fld>
            <a:endParaRPr lang="de-DE" dirty="0"/>
          </a:p>
        </p:txBody>
      </p:sp>
      <p:grpSp>
        <p:nvGrpSpPr>
          <p:cNvPr id="61" name="Gruppieren 60"/>
          <p:cNvGrpSpPr/>
          <p:nvPr/>
        </p:nvGrpSpPr>
        <p:grpSpPr>
          <a:xfrm>
            <a:off x="-276708" y="-835143"/>
            <a:ext cx="12205181" cy="7972555"/>
            <a:chOff x="-276708" y="-835143"/>
            <a:chExt cx="12205181" cy="7972555"/>
          </a:xfrm>
        </p:grpSpPr>
        <p:cxnSp>
          <p:nvCxnSpPr>
            <p:cNvPr id="62" name="Gerade Verbindung 61"/>
            <p:cNvCxnSpPr/>
            <p:nvPr userDrawn="1"/>
          </p:nvCxnSpPr>
          <p:spPr>
            <a:xfrm rot="5400000" flipV="1">
              <a:off x="-204708" y="980735"/>
              <a:ext cx="0" cy="1440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Gerade Verbindung 62"/>
            <p:cNvCxnSpPr/>
            <p:nvPr userDrawn="1"/>
          </p:nvCxnSpPr>
          <p:spPr>
            <a:xfrm rot="5400000" flipV="1">
              <a:off x="-204708" y="6381336"/>
              <a:ext cx="0" cy="1440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Gerade Verbindung 63"/>
            <p:cNvCxnSpPr/>
            <p:nvPr userDrawn="1"/>
          </p:nvCxnSpPr>
          <p:spPr>
            <a:xfrm>
              <a:off x="259147" y="6993412"/>
              <a:ext cx="0" cy="1440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Gerade Verbindung mit Pfeil 64"/>
            <p:cNvCxnSpPr/>
            <p:nvPr userDrawn="1"/>
          </p:nvCxnSpPr>
          <p:spPr>
            <a:xfrm>
              <a:off x="263525" y="-526222"/>
              <a:ext cx="3492500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Gerade Verbindung mit Pfeil 65"/>
            <p:cNvCxnSpPr/>
            <p:nvPr userDrawn="1"/>
          </p:nvCxnSpPr>
          <p:spPr>
            <a:xfrm>
              <a:off x="4259684" y="-526222"/>
              <a:ext cx="3457154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Gerade Verbindung mit Pfeil 66"/>
            <p:cNvCxnSpPr/>
            <p:nvPr userDrawn="1"/>
          </p:nvCxnSpPr>
          <p:spPr>
            <a:xfrm>
              <a:off x="8220124" y="-526222"/>
              <a:ext cx="3492500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Gerade Verbindung mit Pfeil 67"/>
            <p:cNvCxnSpPr/>
            <p:nvPr userDrawn="1"/>
          </p:nvCxnSpPr>
          <p:spPr>
            <a:xfrm>
              <a:off x="263525" y="-289302"/>
              <a:ext cx="2484438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Gerade Verbindung mit Pfeil 68"/>
            <p:cNvCxnSpPr/>
            <p:nvPr userDrawn="1"/>
          </p:nvCxnSpPr>
          <p:spPr>
            <a:xfrm>
              <a:off x="3251200" y="-289302"/>
              <a:ext cx="2484438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Gerade Verbindung mit Pfeil 69"/>
            <p:cNvCxnSpPr/>
            <p:nvPr userDrawn="1"/>
          </p:nvCxnSpPr>
          <p:spPr>
            <a:xfrm>
              <a:off x="6240462" y="-289302"/>
              <a:ext cx="2484438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Gerade Verbindung mit Pfeil 70"/>
            <p:cNvCxnSpPr/>
            <p:nvPr userDrawn="1"/>
          </p:nvCxnSpPr>
          <p:spPr>
            <a:xfrm>
              <a:off x="9228186" y="-289302"/>
              <a:ext cx="2484438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Gerade Verbindung mit Pfeil 71"/>
            <p:cNvCxnSpPr/>
            <p:nvPr userDrawn="1"/>
          </p:nvCxnSpPr>
          <p:spPr>
            <a:xfrm>
              <a:off x="263525" y="-763143"/>
              <a:ext cx="5472113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Gerade Verbindung mit Pfeil 72"/>
            <p:cNvCxnSpPr/>
            <p:nvPr userDrawn="1"/>
          </p:nvCxnSpPr>
          <p:spPr>
            <a:xfrm>
              <a:off x="6240463" y="-763143"/>
              <a:ext cx="5472161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Gerade Verbindung 73"/>
            <p:cNvCxnSpPr/>
            <p:nvPr userDrawn="1"/>
          </p:nvCxnSpPr>
          <p:spPr>
            <a:xfrm>
              <a:off x="2999272" y="-361302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Gerade Verbindung 74"/>
            <p:cNvCxnSpPr/>
            <p:nvPr userDrawn="1"/>
          </p:nvCxnSpPr>
          <p:spPr>
            <a:xfrm>
              <a:off x="5987988" y="-361302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Gerade Verbindung 75"/>
            <p:cNvCxnSpPr/>
            <p:nvPr userDrawn="1"/>
          </p:nvCxnSpPr>
          <p:spPr>
            <a:xfrm>
              <a:off x="8976320" y="-361302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Gerade Verbindung 76"/>
            <p:cNvCxnSpPr/>
            <p:nvPr userDrawn="1"/>
          </p:nvCxnSpPr>
          <p:spPr>
            <a:xfrm>
              <a:off x="7968208" y="-598222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Gerade Verbindung 77"/>
            <p:cNvCxnSpPr/>
            <p:nvPr userDrawn="1"/>
          </p:nvCxnSpPr>
          <p:spPr>
            <a:xfrm>
              <a:off x="4007768" y="-598222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Gerade Verbindung 78"/>
            <p:cNvCxnSpPr/>
            <p:nvPr userDrawn="1"/>
          </p:nvCxnSpPr>
          <p:spPr>
            <a:xfrm>
              <a:off x="5987988" y="-835143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Gerade Verbindung 79"/>
            <p:cNvCxnSpPr/>
            <p:nvPr userDrawn="1"/>
          </p:nvCxnSpPr>
          <p:spPr>
            <a:xfrm rot="5400000" flipV="1">
              <a:off x="-204708" y="826746"/>
              <a:ext cx="0" cy="144000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Gerade Verbindung 80"/>
            <p:cNvCxnSpPr/>
            <p:nvPr userDrawn="1"/>
          </p:nvCxnSpPr>
          <p:spPr>
            <a:xfrm rot="5400000" flipV="1">
              <a:off x="-204708" y="6785999"/>
              <a:ext cx="0" cy="144000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Gerade Verbindung 81"/>
            <p:cNvCxnSpPr/>
            <p:nvPr userDrawn="1"/>
          </p:nvCxnSpPr>
          <p:spPr>
            <a:xfrm rot="10800000" flipV="1">
              <a:off x="11928473" y="-361302"/>
              <a:ext cx="0" cy="144000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Gerade Verbindung 82"/>
            <p:cNvCxnSpPr/>
            <p:nvPr userDrawn="1"/>
          </p:nvCxnSpPr>
          <p:spPr>
            <a:xfrm rot="10800000" flipV="1">
              <a:off x="0" y="-361302"/>
              <a:ext cx="0" cy="144000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4" name="Textfeld 83"/>
          <p:cNvSpPr txBox="1"/>
          <p:nvPr/>
        </p:nvSpPr>
        <p:spPr>
          <a:xfrm>
            <a:off x="-1791723" y="799523"/>
            <a:ext cx="1514371" cy="184666"/>
          </a:xfrm>
          <a:prstGeom prst="rect">
            <a:avLst/>
          </a:prstGeom>
          <a:noFill/>
        </p:spPr>
        <p:txBody>
          <a:bodyPr wrap="none" lIns="72000" tIns="0" rIns="72000" bIns="0" rtlCol="0" anchor="ctr">
            <a:spAutoFit/>
          </a:bodyPr>
          <a:lstStyle/>
          <a:p>
            <a:pPr algn="r"/>
            <a:r>
              <a:rPr lang="de-DE" sz="1200" noProof="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abelle</a:t>
            </a:r>
            <a:r>
              <a:rPr lang="de-DE" sz="1200" baseline="0" noProof="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  <a:r>
              <a:rPr lang="de-DE" sz="1200" noProof="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(Vollflächig)</a:t>
            </a:r>
          </a:p>
        </p:txBody>
      </p:sp>
      <p:cxnSp>
        <p:nvCxnSpPr>
          <p:cNvPr id="85" name="Gerade Verbindung 37"/>
          <p:cNvCxnSpPr/>
          <p:nvPr/>
        </p:nvCxnSpPr>
        <p:spPr>
          <a:xfrm>
            <a:off x="11712624" y="6993412"/>
            <a:ext cx="0" cy="144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494315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7" r:id="rId1"/>
    <p:sldLayoutId id="2147483740" r:id="rId2"/>
    <p:sldLayoutId id="2147483765" r:id="rId3"/>
    <p:sldLayoutId id="2147483730" r:id="rId4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lang="de-DE" sz="2800" kern="1200" cap="all" spc="-70" baseline="0" dirty="0" smtClean="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216000" indent="-216000" algn="l" defTabSz="914400" rtl="0" eaLnBrk="1" latinLnBrk="0" hangingPunct="1">
        <a:lnSpc>
          <a:spcPct val="100000"/>
        </a:lnSpc>
        <a:spcBef>
          <a:spcPts val="500"/>
        </a:spcBef>
        <a:buFont typeface="Arial"/>
        <a:buChar char="–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2pPr>
      <a:lvl3pPr marL="432000" indent="-216000" algn="l" defTabSz="914400" rtl="0" eaLnBrk="1" latinLnBrk="0" hangingPunct="1">
        <a:lnSpc>
          <a:spcPct val="100000"/>
        </a:lnSpc>
        <a:spcBef>
          <a:spcPts val="500"/>
        </a:spcBef>
        <a:buFont typeface="Arial"/>
        <a:buChar char="–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3pPr>
      <a:lvl4pPr marL="648000" indent="-216000" algn="l" defTabSz="914400" rtl="0" eaLnBrk="1" latinLnBrk="0" hangingPunct="1">
        <a:lnSpc>
          <a:spcPct val="100000"/>
        </a:lnSpc>
        <a:spcBef>
          <a:spcPts val="500"/>
        </a:spcBef>
        <a:buFont typeface="Arial"/>
        <a:buChar char="–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4pPr>
      <a:lvl5pPr marL="864000" indent="-216000" algn="l" defTabSz="914400" rtl="0" eaLnBrk="1" latinLnBrk="0" hangingPunct="1">
        <a:lnSpc>
          <a:spcPct val="100000"/>
        </a:lnSpc>
        <a:spcBef>
          <a:spcPts val="500"/>
        </a:spcBef>
        <a:buFont typeface="Arial"/>
        <a:buChar char="–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539948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9" imgW="344" imgH="345" progId="TCLayout.ActiveDocument.1">
                  <p:embed/>
                </p:oleObj>
              </mc:Choice>
              <mc:Fallback>
                <p:oleObj name="think-cell Folie" r:id="rId9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>
            <p:custDataLst>
              <p:tags r:id="rId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de-DE" sz="2800" b="0" i="0" baseline="0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Textfeld 3"/>
          <p:cNvSpPr txBox="1"/>
          <p:nvPr/>
        </p:nvSpPr>
        <p:spPr>
          <a:xfrm rot="16200000">
            <a:off x="8627637" y="3303909"/>
            <a:ext cx="6865200" cy="263527"/>
          </a:xfrm>
          <a:prstGeom prst="rect">
            <a:avLst/>
          </a:prstGeom>
          <a:solidFill>
            <a:schemeClr val="bg2"/>
          </a:solidFill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endParaRPr lang="de-DE" sz="800" kern="1200" spc="-30" baseline="0" dirty="0">
              <a:solidFill>
                <a:schemeClr val="tx2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Textfeld 8"/>
          <p:cNvSpPr txBox="1"/>
          <p:nvPr/>
        </p:nvSpPr>
        <p:spPr>
          <a:xfrm rot="16200000">
            <a:off x="11605877" y="322597"/>
            <a:ext cx="908719" cy="263527"/>
          </a:xfrm>
          <a:prstGeom prst="rect">
            <a:avLst/>
          </a:prstGeom>
          <a:noFill/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r>
              <a:rPr lang="de-DE" sz="800" kern="1200" spc="-3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© Rödl &amp; Partner </a:t>
            </a:r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263525" y="260648"/>
            <a:ext cx="11447923" cy="396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de-DE" noProof="0" dirty="0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263525" y="1052512"/>
            <a:ext cx="11448000" cy="54006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 dirty="0"/>
              <a:t>Formatvorlagen des Textmasters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928648" y="6453187"/>
            <a:ext cx="263350" cy="404813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lvl1pPr algn="ctr">
              <a:defRPr sz="1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4CFEB0D3-1EB3-4F08-8062-95FFB9749870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33" name="Textfeld 32"/>
          <p:cNvSpPr txBox="1"/>
          <p:nvPr/>
        </p:nvSpPr>
        <p:spPr>
          <a:xfrm>
            <a:off x="-974191" y="960180"/>
            <a:ext cx="696839" cy="184666"/>
          </a:xfrm>
          <a:prstGeom prst="rect">
            <a:avLst/>
          </a:prstGeom>
          <a:noFill/>
        </p:spPr>
        <p:txBody>
          <a:bodyPr wrap="none" lIns="72000" tIns="0" rIns="72000" bIns="0" rtlCol="0" anchor="ctr">
            <a:spAutoFit/>
          </a:bodyPr>
          <a:lstStyle/>
          <a:p>
            <a:pPr algn="r"/>
            <a:r>
              <a:rPr lang="de-DE" sz="1200" noProof="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extbox</a:t>
            </a:r>
          </a:p>
        </p:txBody>
      </p:sp>
      <p:sp>
        <p:nvSpPr>
          <p:cNvPr id="100" name="Textfeld 99"/>
          <p:cNvSpPr txBox="1"/>
          <p:nvPr/>
        </p:nvSpPr>
        <p:spPr>
          <a:xfrm>
            <a:off x="-1014869" y="-381635"/>
            <a:ext cx="990189" cy="184666"/>
          </a:xfrm>
          <a:prstGeom prst="rect">
            <a:avLst/>
          </a:prstGeom>
          <a:noFill/>
        </p:spPr>
        <p:txBody>
          <a:bodyPr wrap="none" lIns="72000" tIns="0" rIns="72000" bIns="0" rtlCol="0" anchor="ctr">
            <a:spAutoFit/>
          </a:bodyPr>
          <a:lstStyle/>
          <a:p>
            <a:pPr algn="r"/>
            <a:r>
              <a:rPr lang="de-DE" sz="1200" noProof="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Vier</a:t>
            </a:r>
            <a:r>
              <a:rPr lang="de-DE" sz="1200" baseline="0" noProof="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  <a:r>
              <a:rPr lang="de-DE" sz="1200" noProof="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Spalten</a:t>
            </a:r>
          </a:p>
        </p:txBody>
      </p:sp>
      <p:sp>
        <p:nvSpPr>
          <p:cNvPr id="101" name="Textfeld 100"/>
          <p:cNvSpPr txBox="1"/>
          <p:nvPr/>
        </p:nvSpPr>
        <p:spPr>
          <a:xfrm>
            <a:off x="-1032502" y="-618555"/>
            <a:ext cx="1007822" cy="184666"/>
          </a:xfrm>
          <a:prstGeom prst="rect">
            <a:avLst/>
          </a:prstGeom>
          <a:noFill/>
        </p:spPr>
        <p:txBody>
          <a:bodyPr wrap="none" lIns="72000" tIns="0" rIns="72000" bIns="0" rtlCol="0" anchor="ctr">
            <a:spAutoFit/>
          </a:bodyPr>
          <a:lstStyle/>
          <a:p>
            <a:pPr algn="r"/>
            <a:r>
              <a:rPr lang="de-DE" sz="1200" noProof="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Drei</a:t>
            </a:r>
            <a:r>
              <a:rPr lang="de-DE" sz="1200" baseline="0" noProof="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  <a:r>
              <a:rPr lang="de-DE" sz="1200" noProof="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Spalten</a:t>
            </a:r>
          </a:p>
        </p:txBody>
      </p:sp>
      <p:sp>
        <p:nvSpPr>
          <p:cNvPr id="105" name="Textfeld 104"/>
          <p:cNvSpPr txBox="1"/>
          <p:nvPr/>
        </p:nvSpPr>
        <p:spPr>
          <a:xfrm>
            <a:off x="-1067768" y="-855476"/>
            <a:ext cx="1043088" cy="184666"/>
          </a:xfrm>
          <a:prstGeom prst="rect">
            <a:avLst/>
          </a:prstGeom>
          <a:noFill/>
        </p:spPr>
        <p:txBody>
          <a:bodyPr wrap="none" lIns="72000" tIns="0" rIns="72000" bIns="0" rtlCol="0" anchor="ctr">
            <a:spAutoFit/>
          </a:bodyPr>
          <a:lstStyle/>
          <a:p>
            <a:pPr algn="r"/>
            <a:r>
              <a:rPr lang="de-DE" sz="1200" noProof="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Zwei Spalten</a:t>
            </a:r>
          </a:p>
        </p:txBody>
      </p:sp>
      <p:cxnSp>
        <p:nvCxnSpPr>
          <p:cNvPr id="38" name="Gerade Verbindung 37"/>
          <p:cNvCxnSpPr/>
          <p:nvPr/>
        </p:nvCxnSpPr>
        <p:spPr>
          <a:xfrm>
            <a:off x="11712624" y="6993412"/>
            <a:ext cx="0" cy="144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1" name="Gruppieren 40"/>
          <p:cNvGrpSpPr/>
          <p:nvPr/>
        </p:nvGrpSpPr>
        <p:grpSpPr>
          <a:xfrm>
            <a:off x="-276708" y="-835143"/>
            <a:ext cx="12205181" cy="7972555"/>
            <a:chOff x="-276708" y="-835143"/>
            <a:chExt cx="12205181" cy="7972555"/>
          </a:xfrm>
        </p:grpSpPr>
        <p:cxnSp>
          <p:nvCxnSpPr>
            <p:cNvPr id="42" name="Gerade Verbindung 41"/>
            <p:cNvCxnSpPr/>
            <p:nvPr userDrawn="1"/>
          </p:nvCxnSpPr>
          <p:spPr>
            <a:xfrm rot="5400000" flipV="1">
              <a:off x="-204708" y="980735"/>
              <a:ext cx="0" cy="1440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 Verbindung 42"/>
            <p:cNvCxnSpPr/>
            <p:nvPr userDrawn="1"/>
          </p:nvCxnSpPr>
          <p:spPr>
            <a:xfrm rot="5400000" flipV="1">
              <a:off x="-204708" y="6381336"/>
              <a:ext cx="0" cy="1440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Gerade Verbindung 43"/>
            <p:cNvCxnSpPr/>
            <p:nvPr userDrawn="1"/>
          </p:nvCxnSpPr>
          <p:spPr>
            <a:xfrm>
              <a:off x="259147" y="6993412"/>
              <a:ext cx="0" cy="1440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Gerade Verbindung mit Pfeil 44"/>
            <p:cNvCxnSpPr/>
            <p:nvPr userDrawn="1"/>
          </p:nvCxnSpPr>
          <p:spPr>
            <a:xfrm>
              <a:off x="263525" y="-526222"/>
              <a:ext cx="3492500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Gerade Verbindung mit Pfeil 45"/>
            <p:cNvCxnSpPr/>
            <p:nvPr userDrawn="1"/>
          </p:nvCxnSpPr>
          <p:spPr>
            <a:xfrm>
              <a:off x="4259684" y="-526222"/>
              <a:ext cx="3457154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Gerade Verbindung mit Pfeil 46"/>
            <p:cNvCxnSpPr/>
            <p:nvPr userDrawn="1"/>
          </p:nvCxnSpPr>
          <p:spPr>
            <a:xfrm>
              <a:off x="8220124" y="-526222"/>
              <a:ext cx="3492500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Gerade Verbindung mit Pfeil 47"/>
            <p:cNvCxnSpPr/>
            <p:nvPr userDrawn="1"/>
          </p:nvCxnSpPr>
          <p:spPr>
            <a:xfrm>
              <a:off x="263525" y="-289302"/>
              <a:ext cx="2484438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mit Pfeil 48"/>
            <p:cNvCxnSpPr/>
            <p:nvPr userDrawn="1"/>
          </p:nvCxnSpPr>
          <p:spPr>
            <a:xfrm>
              <a:off x="3251200" y="-289302"/>
              <a:ext cx="2484438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mit Pfeil 49"/>
            <p:cNvCxnSpPr/>
            <p:nvPr userDrawn="1"/>
          </p:nvCxnSpPr>
          <p:spPr>
            <a:xfrm>
              <a:off x="6240462" y="-289302"/>
              <a:ext cx="2484438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mit Pfeil 50"/>
            <p:cNvCxnSpPr/>
            <p:nvPr userDrawn="1"/>
          </p:nvCxnSpPr>
          <p:spPr>
            <a:xfrm>
              <a:off x="9228186" y="-289302"/>
              <a:ext cx="2484438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 Verbindung mit Pfeil 51"/>
            <p:cNvCxnSpPr/>
            <p:nvPr userDrawn="1"/>
          </p:nvCxnSpPr>
          <p:spPr>
            <a:xfrm>
              <a:off x="263525" y="-763143"/>
              <a:ext cx="5472113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 Verbindung mit Pfeil 52"/>
            <p:cNvCxnSpPr/>
            <p:nvPr userDrawn="1"/>
          </p:nvCxnSpPr>
          <p:spPr>
            <a:xfrm>
              <a:off x="6240463" y="-763143"/>
              <a:ext cx="5472161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Gerade Verbindung 53"/>
            <p:cNvCxnSpPr/>
            <p:nvPr userDrawn="1"/>
          </p:nvCxnSpPr>
          <p:spPr>
            <a:xfrm>
              <a:off x="2999272" y="-361302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54"/>
            <p:cNvCxnSpPr/>
            <p:nvPr userDrawn="1"/>
          </p:nvCxnSpPr>
          <p:spPr>
            <a:xfrm>
              <a:off x="5987988" y="-361302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 Verbindung 55"/>
            <p:cNvCxnSpPr/>
            <p:nvPr userDrawn="1"/>
          </p:nvCxnSpPr>
          <p:spPr>
            <a:xfrm>
              <a:off x="8976320" y="-361302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 Verbindung 56"/>
            <p:cNvCxnSpPr/>
            <p:nvPr userDrawn="1"/>
          </p:nvCxnSpPr>
          <p:spPr>
            <a:xfrm>
              <a:off x="7968208" y="-598222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 Verbindung 57"/>
            <p:cNvCxnSpPr/>
            <p:nvPr userDrawn="1"/>
          </p:nvCxnSpPr>
          <p:spPr>
            <a:xfrm>
              <a:off x="4007768" y="-598222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 Verbindung 58"/>
            <p:cNvCxnSpPr/>
            <p:nvPr userDrawn="1"/>
          </p:nvCxnSpPr>
          <p:spPr>
            <a:xfrm>
              <a:off x="5987988" y="-835143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 Verbindung 59"/>
            <p:cNvCxnSpPr/>
            <p:nvPr userDrawn="1"/>
          </p:nvCxnSpPr>
          <p:spPr>
            <a:xfrm rot="5400000" flipV="1">
              <a:off x="-204708" y="826746"/>
              <a:ext cx="0" cy="144000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Gerade Verbindung 60"/>
            <p:cNvCxnSpPr/>
            <p:nvPr userDrawn="1"/>
          </p:nvCxnSpPr>
          <p:spPr>
            <a:xfrm rot="5400000" flipV="1">
              <a:off x="-204708" y="6785999"/>
              <a:ext cx="0" cy="144000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Gerade Verbindung 61"/>
            <p:cNvCxnSpPr/>
            <p:nvPr userDrawn="1"/>
          </p:nvCxnSpPr>
          <p:spPr>
            <a:xfrm rot="10800000" flipV="1">
              <a:off x="11928473" y="-361302"/>
              <a:ext cx="0" cy="144000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Gerade Verbindung 62"/>
            <p:cNvCxnSpPr/>
            <p:nvPr userDrawn="1"/>
          </p:nvCxnSpPr>
          <p:spPr>
            <a:xfrm rot="10800000" flipV="1">
              <a:off x="0" y="-361302"/>
              <a:ext cx="0" cy="144000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4" name="Textfeld 63"/>
          <p:cNvSpPr txBox="1"/>
          <p:nvPr/>
        </p:nvSpPr>
        <p:spPr>
          <a:xfrm>
            <a:off x="-1791723" y="799523"/>
            <a:ext cx="1514371" cy="184666"/>
          </a:xfrm>
          <a:prstGeom prst="rect">
            <a:avLst/>
          </a:prstGeom>
          <a:noFill/>
        </p:spPr>
        <p:txBody>
          <a:bodyPr wrap="none" lIns="72000" tIns="0" rIns="72000" bIns="0" rtlCol="0" anchor="ctr">
            <a:spAutoFit/>
          </a:bodyPr>
          <a:lstStyle/>
          <a:p>
            <a:pPr algn="r"/>
            <a:r>
              <a:rPr lang="de-DE" sz="1200" noProof="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abelle</a:t>
            </a:r>
            <a:r>
              <a:rPr lang="de-DE" sz="1200" baseline="0" noProof="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  <a:r>
              <a:rPr lang="de-DE" sz="1200" noProof="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(Vollflächig)</a:t>
            </a:r>
          </a:p>
        </p:txBody>
      </p:sp>
    </p:spTree>
    <p:extLst>
      <p:ext uri="{BB962C8B-B14F-4D97-AF65-F5344CB8AC3E}">
        <p14:creationId xmlns:p14="http://schemas.microsoft.com/office/powerpoint/2010/main" val="40303430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1" r:id="rId1"/>
    <p:sldLayoutId id="2147483812" r:id="rId2"/>
    <p:sldLayoutId id="2147483862" r:id="rId3"/>
    <p:sldLayoutId id="2147483953" r:id="rId4"/>
    <p:sldLayoutId id="2147483900" r:id="rId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cap="all" spc="-70" baseline="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216000" indent="-216000" algn="l" defTabSz="914400" rtl="0" eaLnBrk="1" latinLnBrk="0" hangingPunct="1">
        <a:lnSpc>
          <a:spcPct val="100000"/>
        </a:lnSpc>
        <a:spcBef>
          <a:spcPts val="500"/>
        </a:spcBef>
        <a:buFontTx/>
        <a:buChar char="–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2pPr>
      <a:lvl3pPr marL="432000" indent="-216000" algn="l" defTabSz="914400" rtl="0" eaLnBrk="1" latinLnBrk="0" hangingPunct="1">
        <a:lnSpc>
          <a:spcPct val="100000"/>
        </a:lnSpc>
        <a:spcBef>
          <a:spcPts val="500"/>
        </a:spcBef>
        <a:buFontTx/>
        <a:buChar char="–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3pPr>
      <a:lvl4pPr marL="648000" indent="-216000" algn="l" defTabSz="914400" rtl="0" eaLnBrk="1" latinLnBrk="0" hangingPunct="1">
        <a:lnSpc>
          <a:spcPct val="100000"/>
        </a:lnSpc>
        <a:spcBef>
          <a:spcPts val="500"/>
        </a:spcBef>
        <a:buFontTx/>
        <a:buChar char="–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4pPr>
      <a:lvl5pPr marL="864000" indent="-216000" algn="l" defTabSz="914400" rtl="0" eaLnBrk="1" latinLnBrk="0" hangingPunct="1">
        <a:lnSpc>
          <a:spcPct val="100000"/>
        </a:lnSpc>
        <a:spcBef>
          <a:spcPts val="500"/>
        </a:spcBef>
        <a:buFontTx/>
        <a:buChar char="–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9455314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8" imgW="344" imgH="345" progId="TCLayout.ActiveDocument.1">
                  <p:embed/>
                </p:oleObj>
              </mc:Choice>
              <mc:Fallback>
                <p:oleObj name="think-cell Folie" r:id="rId8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>
            <p:custDataLst>
              <p:tags r:id="rId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de-DE" sz="2800" b="0" i="0" baseline="0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Textfeld 3"/>
          <p:cNvSpPr txBox="1"/>
          <p:nvPr/>
        </p:nvSpPr>
        <p:spPr>
          <a:xfrm rot="16200000">
            <a:off x="8627637" y="3303909"/>
            <a:ext cx="6865200" cy="263527"/>
          </a:xfrm>
          <a:prstGeom prst="rect">
            <a:avLst/>
          </a:prstGeom>
          <a:solidFill>
            <a:schemeClr val="bg2"/>
          </a:solidFill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endParaRPr lang="de-DE" sz="800" kern="1200" spc="-30" baseline="0" dirty="0">
              <a:solidFill>
                <a:schemeClr val="tx2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Textfeld 8"/>
          <p:cNvSpPr txBox="1"/>
          <p:nvPr/>
        </p:nvSpPr>
        <p:spPr>
          <a:xfrm rot="16200000">
            <a:off x="11605877" y="322597"/>
            <a:ext cx="908719" cy="263527"/>
          </a:xfrm>
          <a:prstGeom prst="rect">
            <a:avLst/>
          </a:prstGeom>
          <a:noFill/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r>
              <a:rPr lang="de-DE" sz="800" kern="1200" spc="-3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© Rödl &amp; Partner </a:t>
            </a:r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263525" y="260648"/>
            <a:ext cx="11447923" cy="396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de-DE" noProof="0" dirty="0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263525" y="1052512"/>
            <a:ext cx="11448000" cy="54006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 dirty="0"/>
              <a:t>Formatvorlagen des Textmasters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928648" y="6453187"/>
            <a:ext cx="263350" cy="404813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lvl1pPr algn="ctr">
              <a:defRPr sz="1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4CFEB0D3-1EB3-4F08-8062-95FFB9749870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33" name="Textfeld 32"/>
          <p:cNvSpPr txBox="1"/>
          <p:nvPr/>
        </p:nvSpPr>
        <p:spPr>
          <a:xfrm>
            <a:off x="-974191" y="960180"/>
            <a:ext cx="696839" cy="184666"/>
          </a:xfrm>
          <a:prstGeom prst="rect">
            <a:avLst/>
          </a:prstGeom>
          <a:noFill/>
        </p:spPr>
        <p:txBody>
          <a:bodyPr wrap="none" lIns="72000" tIns="0" rIns="72000" bIns="0" rtlCol="0" anchor="ctr">
            <a:spAutoFit/>
          </a:bodyPr>
          <a:lstStyle/>
          <a:p>
            <a:pPr algn="r"/>
            <a:r>
              <a:rPr lang="de-DE" sz="1200" noProof="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extbox</a:t>
            </a:r>
          </a:p>
        </p:txBody>
      </p:sp>
      <p:sp>
        <p:nvSpPr>
          <p:cNvPr id="100" name="Textfeld 99"/>
          <p:cNvSpPr txBox="1"/>
          <p:nvPr/>
        </p:nvSpPr>
        <p:spPr>
          <a:xfrm>
            <a:off x="-1014869" y="-381635"/>
            <a:ext cx="990189" cy="184666"/>
          </a:xfrm>
          <a:prstGeom prst="rect">
            <a:avLst/>
          </a:prstGeom>
          <a:noFill/>
        </p:spPr>
        <p:txBody>
          <a:bodyPr wrap="none" lIns="72000" tIns="0" rIns="72000" bIns="0" rtlCol="0" anchor="ctr">
            <a:spAutoFit/>
          </a:bodyPr>
          <a:lstStyle/>
          <a:p>
            <a:pPr algn="r"/>
            <a:r>
              <a:rPr lang="de-DE" sz="1200" noProof="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Vier</a:t>
            </a:r>
            <a:r>
              <a:rPr lang="de-DE" sz="1200" baseline="0" noProof="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  <a:r>
              <a:rPr lang="de-DE" sz="1200" noProof="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Spalten</a:t>
            </a:r>
          </a:p>
        </p:txBody>
      </p:sp>
      <p:sp>
        <p:nvSpPr>
          <p:cNvPr id="101" name="Textfeld 100"/>
          <p:cNvSpPr txBox="1"/>
          <p:nvPr/>
        </p:nvSpPr>
        <p:spPr>
          <a:xfrm>
            <a:off x="-1032502" y="-618555"/>
            <a:ext cx="1007822" cy="184666"/>
          </a:xfrm>
          <a:prstGeom prst="rect">
            <a:avLst/>
          </a:prstGeom>
          <a:noFill/>
        </p:spPr>
        <p:txBody>
          <a:bodyPr wrap="none" lIns="72000" tIns="0" rIns="72000" bIns="0" rtlCol="0" anchor="ctr">
            <a:spAutoFit/>
          </a:bodyPr>
          <a:lstStyle/>
          <a:p>
            <a:pPr algn="r"/>
            <a:r>
              <a:rPr lang="de-DE" sz="1200" noProof="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Drei</a:t>
            </a:r>
            <a:r>
              <a:rPr lang="de-DE" sz="1200" baseline="0" noProof="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  <a:r>
              <a:rPr lang="de-DE" sz="1200" noProof="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Spalten</a:t>
            </a:r>
          </a:p>
        </p:txBody>
      </p:sp>
      <p:sp>
        <p:nvSpPr>
          <p:cNvPr id="105" name="Textfeld 104"/>
          <p:cNvSpPr txBox="1"/>
          <p:nvPr/>
        </p:nvSpPr>
        <p:spPr>
          <a:xfrm>
            <a:off x="-1067768" y="-855476"/>
            <a:ext cx="1043088" cy="184666"/>
          </a:xfrm>
          <a:prstGeom prst="rect">
            <a:avLst/>
          </a:prstGeom>
          <a:noFill/>
        </p:spPr>
        <p:txBody>
          <a:bodyPr wrap="none" lIns="72000" tIns="0" rIns="72000" bIns="0" rtlCol="0" anchor="ctr">
            <a:spAutoFit/>
          </a:bodyPr>
          <a:lstStyle/>
          <a:p>
            <a:pPr algn="r"/>
            <a:r>
              <a:rPr lang="de-DE" sz="1200" noProof="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Zwei Spalten</a:t>
            </a:r>
          </a:p>
        </p:txBody>
      </p:sp>
      <p:cxnSp>
        <p:nvCxnSpPr>
          <p:cNvPr id="38" name="Gerade Verbindung 37"/>
          <p:cNvCxnSpPr/>
          <p:nvPr/>
        </p:nvCxnSpPr>
        <p:spPr>
          <a:xfrm>
            <a:off x="11712624" y="6993412"/>
            <a:ext cx="0" cy="144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1" name="Gruppieren 40"/>
          <p:cNvGrpSpPr/>
          <p:nvPr/>
        </p:nvGrpSpPr>
        <p:grpSpPr>
          <a:xfrm>
            <a:off x="-276708" y="-835143"/>
            <a:ext cx="12205181" cy="7972555"/>
            <a:chOff x="-276708" y="-835143"/>
            <a:chExt cx="12205181" cy="7972555"/>
          </a:xfrm>
        </p:grpSpPr>
        <p:cxnSp>
          <p:nvCxnSpPr>
            <p:cNvPr id="42" name="Gerade Verbindung 41"/>
            <p:cNvCxnSpPr/>
            <p:nvPr userDrawn="1"/>
          </p:nvCxnSpPr>
          <p:spPr>
            <a:xfrm rot="5400000" flipV="1">
              <a:off x="-204708" y="980735"/>
              <a:ext cx="0" cy="1440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 Verbindung 42"/>
            <p:cNvCxnSpPr/>
            <p:nvPr userDrawn="1"/>
          </p:nvCxnSpPr>
          <p:spPr>
            <a:xfrm rot="5400000" flipV="1">
              <a:off x="-204708" y="6381336"/>
              <a:ext cx="0" cy="1440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Gerade Verbindung 43"/>
            <p:cNvCxnSpPr/>
            <p:nvPr userDrawn="1"/>
          </p:nvCxnSpPr>
          <p:spPr>
            <a:xfrm>
              <a:off x="259147" y="6993412"/>
              <a:ext cx="0" cy="1440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Gerade Verbindung mit Pfeil 44"/>
            <p:cNvCxnSpPr/>
            <p:nvPr userDrawn="1"/>
          </p:nvCxnSpPr>
          <p:spPr>
            <a:xfrm>
              <a:off x="263525" y="-526222"/>
              <a:ext cx="3492500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Gerade Verbindung mit Pfeil 45"/>
            <p:cNvCxnSpPr/>
            <p:nvPr userDrawn="1"/>
          </p:nvCxnSpPr>
          <p:spPr>
            <a:xfrm>
              <a:off x="4259684" y="-526222"/>
              <a:ext cx="3457154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Gerade Verbindung mit Pfeil 46"/>
            <p:cNvCxnSpPr/>
            <p:nvPr userDrawn="1"/>
          </p:nvCxnSpPr>
          <p:spPr>
            <a:xfrm>
              <a:off x="8220124" y="-526222"/>
              <a:ext cx="3492500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Gerade Verbindung mit Pfeil 47"/>
            <p:cNvCxnSpPr/>
            <p:nvPr userDrawn="1"/>
          </p:nvCxnSpPr>
          <p:spPr>
            <a:xfrm>
              <a:off x="263525" y="-289302"/>
              <a:ext cx="2484438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mit Pfeil 48"/>
            <p:cNvCxnSpPr/>
            <p:nvPr userDrawn="1"/>
          </p:nvCxnSpPr>
          <p:spPr>
            <a:xfrm>
              <a:off x="3251200" y="-289302"/>
              <a:ext cx="2484438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mit Pfeil 49"/>
            <p:cNvCxnSpPr/>
            <p:nvPr userDrawn="1"/>
          </p:nvCxnSpPr>
          <p:spPr>
            <a:xfrm>
              <a:off x="6240462" y="-289302"/>
              <a:ext cx="2484438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mit Pfeil 50"/>
            <p:cNvCxnSpPr/>
            <p:nvPr userDrawn="1"/>
          </p:nvCxnSpPr>
          <p:spPr>
            <a:xfrm>
              <a:off x="9228186" y="-289302"/>
              <a:ext cx="2484438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 Verbindung mit Pfeil 51"/>
            <p:cNvCxnSpPr/>
            <p:nvPr userDrawn="1"/>
          </p:nvCxnSpPr>
          <p:spPr>
            <a:xfrm>
              <a:off x="263525" y="-763143"/>
              <a:ext cx="5472113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 Verbindung mit Pfeil 52"/>
            <p:cNvCxnSpPr/>
            <p:nvPr userDrawn="1"/>
          </p:nvCxnSpPr>
          <p:spPr>
            <a:xfrm>
              <a:off x="6240463" y="-763143"/>
              <a:ext cx="5472161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Gerade Verbindung 53"/>
            <p:cNvCxnSpPr/>
            <p:nvPr userDrawn="1"/>
          </p:nvCxnSpPr>
          <p:spPr>
            <a:xfrm>
              <a:off x="2999272" y="-361302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54"/>
            <p:cNvCxnSpPr/>
            <p:nvPr userDrawn="1"/>
          </p:nvCxnSpPr>
          <p:spPr>
            <a:xfrm>
              <a:off x="5987988" y="-361302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 Verbindung 55"/>
            <p:cNvCxnSpPr/>
            <p:nvPr userDrawn="1"/>
          </p:nvCxnSpPr>
          <p:spPr>
            <a:xfrm>
              <a:off x="8976320" y="-361302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 Verbindung 56"/>
            <p:cNvCxnSpPr/>
            <p:nvPr userDrawn="1"/>
          </p:nvCxnSpPr>
          <p:spPr>
            <a:xfrm>
              <a:off x="7968208" y="-598222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 Verbindung 57"/>
            <p:cNvCxnSpPr/>
            <p:nvPr userDrawn="1"/>
          </p:nvCxnSpPr>
          <p:spPr>
            <a:xfrm>
              <a:off x="4007768" y="-598222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 Verbindung 58"/>
            <p:cNvCxnSpPr/>
            <p:nvPr userDrawn="1"/>
          </p:nvCxnSpPr>
          <p:spPr>
            <a:xfrm>
              <a:off x="5987988" y="-835143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 Verbindung 59"/>
            <p:cNvCxnSpPr/>
            <p:nvPr userDrawn="1"/>
          </p:nvCxnSpPr>
          <p:spPr>
            <a:xfrm rot="5400000" flipV="1">
              <a:off x="-204708" y="826746"/>
              <a:ext cx="0" cy="144000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Gerade Verbindung 60"/>
            <p:cNvCxnSpPr/>
            <p:nvPr userDrawn="1"/>
          </p:nvCxnSpPr>
          <p:spPr>
            <a:xfrm rot="5400000" flipV="1">
              <a:off x="-204708" y="6785999"/>
              <a:ext cx="0" cy="144000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Gerade Verbindung 61"/>
            <p:cNvCxnSpPr/>
            <p:nvPr userDrawn="1"/>
          </p:nvCxnSpPr>
          <p:spPr>
            <a:xfrm rot="10800000" flipV="1">
              <a:off x="11928473" y="-361302"/>
              <a:ext cx="0" cy="144000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Gerade Verbindung 62"/>
            <p:cNvCxnSpPr/>
            <p:nvPr userDrawn="1"/>
          </p:nvCxnSpPr>
          <p:spPr>
            <a:xfrm rot="10800000" flipV="1">
              <a:off x="0" y="-361302"/>
              <a:ext cx="0" cy="144000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4" name="Textfeld 63"/>
          <p:cNvSpPr txBox="1"/>
          <p:nvPr/>
        </p:nvSpPr>
        <p:spPr>
          <a:xfrm>
            <a:off x="-1791723" y="799523"/>
            <a:ext cx="1514371" cy="184666"/>
          </a:xfrm>
          <a:prstGeom prst="rect">
            <a:avLst/>
          </a:prstGeom>
          <a:noFill/>
        </p:spPr>
        <p:txBody>
          <a:bodyPr wrap="none" lIns="72000" tIns="0" rIns="72000" bIns="0" rtlCol="0" anchor="ctr">
            <a:spAutoFit/>
          </a:bodyPr>
          <a:lstStyle/>
          <a:p>
            <a:pPr algn="r"/>
            <a:r>
              <a:rPr lang="de-DE" sz="1200" noProof="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abelle</a:t>
            </a:r>
            <a:r>
              <a:rPr lang="de-DE" sz="1200" baseline="0" noProof="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  <a:r>
              <a:rPr lang="de-DE" sz="1200" noProof="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(Vollflächig)</a:t>
            </a:r>
          </a:p>
        </p:txBody>
      </p:sp>
    </p:spTree>
    <p:extLst>
      <p:ext uri="{BB962C8B-B14F-4D97-AF65-F5344CB8AC3E}">
        <p14:creationId xmlns:p14="http://schemas.microsoft.com/office/powerpoint/2010/main" val="1391502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7" r:id="rId1"/>
    <p:sldLayoutId id="2147483818" r:id="rId2"/>
    <p:sldLayoutId id="2147483868" r:id="rId3"/>
    <p:sldLayoutId id="2147483957" r:id="rId4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cap="all" spc="-70" baseline="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216000" indent="-216000" algn="l" defTabSz="914400" rtl="0" eaLnBrk="1" latinLnBrk="0" hangingPunct="1">
        <a:lnSpc>
          <a:spcPct val="100000"/>
        </a:lnSpc>
        <a:spcBef>
          <a:spcPts val="500"/>
        </a:spcBef>
        <a:buFontTx/>
        <a:buChar char="–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2pPr>
      <a:lvl3pPr marL="432000" indent="-216000" algn="l" defTabSz="914400" rtl="0" eaLnBrk="1" latinLnBrk="0" hangingPunct="1">
        <a:lnSpc>
          <a:spcPct val="100000"/>
        </a:lnSpc>
        <a:spcBef>
          <a:spcPts val="500"/>
        </a:spcBef>
        <a:buFontTx/>
        <a:buChar char="–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3pPr>
      <a:lvl4pPr marL="648000" indent="-216000" algn="l" defTabSz="914400" rtl="0" eaLnBrk="1" latinLnBrk="0" hangingPunct="1">
        <a:lnSpc>
          <a:spcPct val="100000"/>
        </a:lnSpc>
        <a:spcBef>
          <a:spcPts val="500"/>
        </a:spcBef>
        <a:buFontTx/>
        <a:buChar char="–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4pPr>
      <a:lvl5pPr marL="864000" indent="-216000" algn="l" defTabSz="914400" rtl="0" eaLnBrk="1" latinLnBrk="0" hangingPunct="1">
        <a:lnSpc>
          <a:spcPct val="100000"/>
        </a:lnSpc>
        <a:spcBef>
          <a:spcPts val="500"/>
        </a:spcBef>
        <a:buFontTx/>
        <a:buChar char="–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41221574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9" imgW="344" imgH="345" progId="TCLayout.ActiveDocument.1">
                  <p:embed/>
                </p:oleObj>
              </mc:Choice>
              <mc:Fallback>
                <p:oleObj name="think-cell Folie" r:id="rId9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>
            <p:custDataLst>
              <p:tags r:id="rId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de-DE" sz="2800" b="0" i="0" baseline="0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Textfeld 3"/>
          <p:cNvSpPr txBox="1"/>
          <p:nvPr/>
        </p:nvSpPr>
        <p:spPr>
          <a:xfrm rot="16200000">
            <a:off x="8627637" y="3303909"/>
            <a:ext cx="6865200" cy="263527"/>
          </a:xfrm>
          <a:prstGeom prst="rect">
            <a:avLst/>
          </a:prstGeom>
          <a:solidFill>
            <a:schemeClr val="bg2"/>
          </a:solidFill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endParaRPr lang="de-DE" sz="800" kern="1200" spc="-30" baseline="0" dirty="0">
              <a:solidFill>
                <a:schemeClr val="tx2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Textfeld 8"/>
          <p:cNvSpPr txBox="1"/>
          <p:nvPr/>
        </p:nvSpPr>
        <p:spPr>
          <a:xfrm rot="16200000">
            <a:off x="11605877" y="322597"/>
            <a:ext cx="908719" cy="263527"/>
          </a:xfrm>
          <a:prstGeom prst="rect">
            <a:avLst/>
          </a:prstGeom>
          <a:noFill/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r>
              <a:rPr lang="de-DE" sz="800" kern="1200" spc="-3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© Rödl &amp; Partner </a:t>
            </a:r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263525" y="260648"/>
            <a:ext cx="11447923" cy="396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de-DE" noProof="0" dirty="0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263525" y="1052512"/>
            <a:ext cx="11448000" cy="54006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 dirty="0"/>
              <a:t>Formatvorlagen des Textmasters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928648" y="6453187"/>
            <a:ext cx="263350" cy="404813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lvl1pPr algn="ctr">
              <a:defRPr sz="1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4CFEB0D3-1EB3-4F08-8062-95FFB9749870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33" name="Textfeld 32"/>
          <p:cNvSpPr txBox="1"/>
          <p:nvPr/>
        </p:nvSpPr>
        <p:spPr>
          <a:xfrm>
            <a:off x="-974191" y="960180"/>
            <a:ext cx="696839" cy="184666"/>
          </a:xfrm>
          <a:prstGeom prst="rect">
            <a:avLst/>
          </a:prstGeom>
          <a:noFill/>
        </p:spPr>
        <p:txBody>
          <a:bodyPr wrap="none" lIns="72000" tIns="0" rIns="72000" bIns="0" rtlCol="0" anchor="ctr">
            <a:spAutoFit/>
          </a:bodyPr>
          <a:lstStyle/>
          <a:p>
            <a:pPr algn="r"/>
            <a:r>
              <a:rPr lang="de-DE" sz="1200" noProof="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extbox</a:t>
            </a:r>
          </a:p>
        </p:txBody>
      </p:sp>
      <p:sp>
        <p:nvSpPr>
          <p:cNvPr id="100" name="Textfeld 99"/>
          <p:cNvSpPr txBox="1"/>
          <p:nvPr/>
        </p:nvSpPr>
        <p:spPr>
          <a:xfrm>
            <a:off x="-1014869" y="-381635"/>
            <a:ext cx="990189" cy="184666"/>
          </a:xfrm>
          <a:prstGeom prst="rect">
            <a:avLst/>
          </a:prstGeom>
          <a:noFill/>
        </p:spPr>
        <p:txBody>
          <a:bodyPr wrap="none" lIns="72000" tIns="0" rIns="72000" bIns="0" rtlCol="0" anchor="ctr">
            <a:spAutoFit/>
          </a:bodyPr>
          <a:lstStyle/>
          <a:p>
            <a:pPr algn="r"/>
            <a:r>
              <a:rPr lang="de-DE" sz="1200" noProof="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Vier</a:t>
            </a:r>
            <a:r>
              <a:rPr lang="de-DE" sz="1200" baseline="0" noProof="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  <a:r>
              <a:rPr lang="de-DE" sz="1200" noProof="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Spalten</a:t>
            </a:r>
          </a:p>
        </p:txBody>
      </p:sp>
      <p:sp>
        <p:nvSpPr>
          <p:cNvPr id="101" name="Textfeld 100"/>
          <p:cNvSpPr txBox="1"/>
          <p:nvPr/>
        </p:nvSpPr>
        <p:spPr>
          <a:xfrm>
            <a:off x="-1032502" y="-618555"/>
            <a:ext cx="1007822" cy="184666"/>
          </a:xfrm>
          <a:prstGeom prst="rect">
            <a:avLst/>
          </a:prstGeom>
          <a:noFill/>
        </p:spPr>
        <p:txBody>
          <a:bodyPr wrap="none" lIns="72000" tIns="0" rIns="72000" bIns="0" rtlCol="0" anchor="ctr">
            <a:spAutoFit/>
          </a:bodyPr>
          <a:lstStyle/>
          <a:p>
            <a:pPr algn="r"/>
            <a:r>
              <a:rPr lang="de-DE" sz="1200" noProof="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Drei</a:t>
            </a:r>
            <a:r>
              <a:rPr lang="de-DE" sz="1200" baseline="0" noProof="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  <a:r>
              <a:rPr lang="de-DE" sz="1200" noProof="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Spalten</a:t>
            </a:r>
          </a:p>
        </p:txBody>
      </p:sp>
      <p:sp>
        <p:nvSpPr>
          <p:cNvPr id="105" name="Textfeld 104"/>
          <p:cNvSpPr txBox="1"/>
          <p:nvPr/>
        </p:nvSpPr>
        <p:spPr>
          <a:xfrm>
            <a:off x="-1067768" y="-855476"/>
            <a:ext cx="1043088" cy="184666"/>
          </a:xfrm>
          <a:prstGeom prst="rect">
            <a:avLst/>
          </a:prstGeom>
          <a:noFill/>
        </p:spPr>
        <p:txBody>
          <a:bodyPr wrap="none" lIns="72000" tIns="0" rIns="72000" bIns="0" rtlCol="0" anchor="ctr">
            <a:spAutoFit/>
          </a:bodyPr>
          <a:lstStyle/>
          <a:p>
            <a:pPr algn="r"/>
            <a:r>
              <a:rPr lang="de-DE" sz="1200" noProof="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Zwei Spalten</a:t>
            </a:r>
          </a:p>
        </p:txBody>
      </p:sp>
      <p:cxnSp>
        <p:nvCxnSpPr>
          <p:cNvPr id="38" name="Gerade Verbindung 37"/>
          <p:cNvCxnSpPr/>
          <p:nvPr/>
        </p:nvCxnSpPr>
        <p:spPr>
          <a:xfrm>
            <a:off x="11712624" y="6993412"/>
            <a:ext cx="0" cy="144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1" name="Gruppieren 40"/>
          <p:cNvGrpSpPr/>
          <p:nvPr/>
        </p:nvGrpSpPr>
        <p:grpSpPr>
          <a:xfrm>
            <a:off x="-276708" y="-835143"/>
            <a:ext cx="12205181" cy="7972555"/>
            <a:chOff x="-276708" y="-835143"/>
            <a:chExt cx="12205181" cy="7972555"/>
          </a:xfrm>
        </p:grpSpPr>
        <p:cxnSp>
          <p:nvCxnSpPr>
            <p:cNvPr id="42" name="Gerade Verbindung 41"/>
            <p:cNvCxnSpPr/>
            <p:nvPr userDrawn="1"/>
          </p:nvCxnSpPr>
          <p:spPr>
            <a:xfrm rot="5400000" flipV="1">
              <a:off x="-204708" y="980735"/>
              <a:ext cx="0" cy="1440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 Verbindung 42"/>
            <p:cNvCxnSpPr/>
            <p:nvPr userDrawn="1"/>
          </p:nvCxnSpPr>
          <p:spPr>
            <a:xfrm rot="5400000" flipV="1">
              <a:off x="-204708" y="6381336"/>
              <a:ext cx="0" cy="1440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Gerade Verbindung 43"/>
            <p:cNvCxnSpPr/>
            <p:nvPr userDrawn="1"/>
          </p:nvCxnSpPr>
          <p:spPr>
            <a:xfrm>
              <a:off x="259147" y="6993412"/>
              <a:ext cx="0" cy="1440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Gerade Verbindung mit Pfeil 44"/>
            <p:cNvCxnSpPr/>
            <p:nvPr userDrawn="1"/>
          </p:nvCxnSpPr>
          <p:spPr>
            <a:xfrm>
              <a:off x="263525" y="-526222"/>
              <a:ext cx="3492500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Gerade Verbindung mit Pfeil 45"/>
            <p:cNvCxnSpPr/>
            <p:nvPr userDrawn="1"/>
          </p:nvCxnSpPr>
          <p:spPr>
            <a:xfrm>
              <a:off x="4259684" y="-526222"/>
              <a:ext cx="3457154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Gerade Verbindung mit Pfeil 46"/>
            <p:cNvCxnSpPr/>
            <p:nvPr userDrawn="1"/>
          </p:nvCxnSpPr>
          <p:spPr>
            <a:xfrm>
              <a:off x="8220124" y="-526222"/>
              <a:ext cx="3492500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Gerade Verbindung mit Pfeil 47"/>
            <p:cNvCxnSpPr/>
            <p:nvPr userDrawn="1"/>
          </p:nvCxnSpPr>
          <p:spPr>
            <a:xfrm>
              <a:off x="263525" y="-289302"/>
              <a:ext cx="2484438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mit Pfeil 48"/>
            <p:cNvCxnSpPr/>
            <p:nvPr userDrawn="1"/>
          </p:nvCxnSpPr>
          <p:spPr>
            <a:xfrm>
              <a:off x="3251200" y="-289302"/>
              <a:ext cx="2484438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mit Pfeil 49"/>
            <p:cNvCxnSpPr/>
            <p:nvPr userDrawn="1"/>
          </p:nvCxnSpPr>
          <p:spPr>
            <a:xfrm>
              <a:off x="6240462" y="-289302"/>
              <a:ext cx="2484438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mit Pfeil 50"/>
            <p:cNvCxnSpPr/>
            <p:nvPr userDrawn="1"/>
          </p:nvCxnSpPr>
          <p:spPr>
            <a:xfrm>
              <a:off x="9228186" y="-289302"/>
              <a:ext cx="2484438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 Verbindung mit Pfeil 51"/>
            <p:cNvCxnSpPr/>
            <p:nvPr userDrawn="1"/>
          </p:nvCxnSpPr>
          <p:spPr>
            <a:xfrm>
              <a:off x="263525" y="-763143"/>
              <a:ext cx="5472113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 Verbindung mit Pfeil 52"/>
            <p:cNvCxnSpPr/>
            <p:nvPr userDrawn="1"/>
          </p:nvCxnSpPr>
          <p:spPr>
            <a:xfrm>
              <a:off x="6240463" y="-763143"/>
              <a:ext cx="5472161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Gerade Verbindung 53"/>
            <p:cNvCxnSpPr/>
            <p:nvPr userDrawn="1"/>
          </p:nvCxnSpPr>
          <p:spPr>
            <a:xfrm>
              <a:off x="2999272" y="-361302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54"/>
            <p:cNvCxnSpPr/>
            <p:nvPr userDrawn="1"/>
          </p:nvCxnSpPr>
          <p:spPr>
            <a:xfrm>
              <a:off x="5987988" y="-361302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 Verbindung 55"/>
            <p:cNvCxnSpPr/>
            <p:nvPr userDrawn="1"/>
          </p:nvCxnSpPr>
          <p:spPr>
            <a:xfrm>
              <a:off x="8976320" y="-361302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 Verbindung 56"/>
            <p:cNvCxnSpPr/>
            <p:nvPr userDrawn="1"/>
          </p:nvCxnSpPr>
          <p:spPr>
            <a:xfrm>
              <a:off x="7968208" y="-598222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 Verbindung 57"/>
            <p:cNvCxnSpPr/>
            <p:nvPr userDrawn="1"/>
          </p:nvCxnSpPr>
          <p:spPr>
            <a:xfrm>
              <a:off x="4007768" y="-598222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 Verbindung 58"/>
            <p:cNvCxnSpPr/>
            <p:nvPr userDrawn="1"/>
          </p:nvCxnSpPr>
          <p:spPr>
            <a:xfrm>
              <a:off x="5987988" y="-835143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 Verbindung 59"/>
            <p:cNvCxnSpPr/>
            <p:nvPr userDrawn="1"/>
          </p:nvCxnSpPr>
          <p:spPr>
            <a:xfrm rot="5400000" flipV="1">
              <a:off x="-204708" y="826746"/>
              <a:ext cx="0" cy="144000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Gerade Verbindung 60"/>
            <p:cNvCxnSpPr/>
            <p:nvPr userDrawn="1"/>
          </p:nvCxnSpPr>
          <p:spPr>
            <a:xfrm rot="5400000" flipV="1">
              <a:off x="-204708" y="6785999"/>
              <a:ext cx="0" cy="144000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Gerade Verbindung 61"/>
            <p:cNvCxnSpPr/>
            <p:nvPr userDrawn="1"/>
          </p:nvCxnSpPr>
          <p:spPr>
            <a:xfrm rot="10800000" flipV="1">
              <a:off x="11928473" y="-361302"/>
              <a:ext cx="0" cy="144000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Gerade Verbindung 62"/>
            <p:cNvCxnSpPr/>
            <p:nvPr userDrawn="1"/>
          </p:nvCxnSpPr>
          <p:spPr>
            <a:xfrm rot="10800000" flipV="1">
              <a:off x="0" y="-361302"/>
              <a:ext cx="0" cy="144000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4" name="Textfeld 63"/>
          <p:cNvSpPr txBox="1"/>
          <p:nvPr/>
        </p:nvSpPr>
        <p:spPr>
          <a:xfrm>
            <a:off x="-1791723" y="799523"/>
            <a:ext cx="1514371" cy="184666"/>
          </a:xfrm>
          <a:prstGeom prst="rect">
            <a:avLst/>
          </a:prstGeom>
          <a:noFill/>
        </p:spPr>
        <p:txBody>
          <a:bodyPr wrap="none" lIns="72000" tIns="0" rIns="72000" bIns="0" rtlCol="0" anchor="ctr">
            <a:spAutoFit/>
          </a:bodyPr>
          <a:lstStyle/>
          <a:p>
            <a:pPr algn="r"/>
            <a:r>
              <a:rPr lang="de-DE" sz="1200" noProof="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abelle</a:t>
            </a:r>
            <a:r>
              <a:rPr lang="de-DE" sz="1200" baseline="0" noProof="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  <a:r>
              <a:rPr lang="de-DE" sz="1200" noProof="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(Vollflächig)</a:t>
            </a:r>
          </a:p>
        </p:txBody>
      </p:sp>
    </p:spTree>
    <p:extLst>
      <p:ext uri="{BB962C8B-B14F-4D97-AF65-F5344CB8AC3E}">
        <p14:creationId xmlns:p14="http://schemas.microsoft.com/office/powerpoint/2010/main" val="9975393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3" r:id="rId1"/>
    <p:sldLayoutId id="2147483824" r:id="rId2"/>
    <p:sldLayoutId id="2147483874" r:id="rId3"/>
    <p:sldLayoutId id="2147483958" r:id="rId4"/>
    <p:sldLayoutId id="2147483902" r:id="rId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cap="all" spc="-70" baseline="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216000" indent="-216000" algn="l" defTabSz="914400" rtl="0" eaLnBrk="1" latinLnBrk="0" hangingPunct="1">
        <a:lnSpc>
          <a:spcPct val="100000"/>
        </a:lnSpc>
        <a:spcBef>
          <a:spcPts val="500"/>
        </a:spcBef>
        <a:buFontTx/>
        <a:buChar char="–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2pPr>
      <a:lvl3pPr marL="432000" indent="-216000" algn="l" defTabSz="914400" rtl="0" eaLnBrk="1" latinLnBrk="0" hangingPunct="1">
        <a:lnSpc>
          <a:spcPct val="100000"/>
        </a:lnSpc>
        <a:spcBef>
          <a:spcPts val="500"/>
        </a:spcBef>
        <a:buFontTx/>
        <a:buChar char="–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3pPr>
      <a:lvl4pPr marL="648000" indent="-216000" algn="l" defTabSz="914400" rtl="0" eaLnBrk="1" latinLnBrk="0" hangingPunct="1">
        <a:lnSpc>
          <a:spcPct val="100000"/>
        </a:lnSpc>
        <a:spcBef>
          <a:spcPts val="500"/>
        </a:spcBef>
        <a:buFontTx/>
        <a:buChar char="–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4pPr>
      <a:lvl5pPr marL="864000" indent="-216000" algn="l" defTabSz="914400" rtl="0" eaLnBrk="1" latinLnBrk="0" hangingPunct="1">
        <a:lnSpc>
          <a:spcPct val="100000"/>
        </a:lnSpc>
        <a:spcBef>
          <a:spcPts val="500"/>
        </a:spcBef>
        <a:buFontTx/>
        <a:buChar char="–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6389092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9" imgW="344" imgH="345" progId="TCLayout.ActiveDocument.1">
                  <p:embed/>
                </p:oleObj>
              </mc:Choice>
              <mc:Fallback>
                <p:oleObj name="think-cell Folie" r:id="rId9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>
            <p:custDataLst>
              <p:tags r:id="rId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de-DE" sz="2800" b="0" i="0" baseline="0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Textfeld 3"/>
          <p:cNvSpPr txBox="1"/>
          <p:nvPr/>
        </p:nvSpPr>
        <p:spPr>
          <a:xfrm rot="16200000">
            <a:off x="8627637" y="3303909"/>
            <a:ext cx="6865200" cy="263527"/>
          </a:xfrm>
          <a:prstGeom prst="rect">
            <a:avLst/>
          </a:prstGeom>
          <a:solidFill>
            <a:schemeClr val="bg2"/>
          </a:solidFill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endParaRPr lang="de-DE" sz="800" kern="1200" spc="-30" baseline="0" dirty="0">
              <a:solidFill>
                <a:schemeClr val="tx2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Textfeld 8"/>
          <p:cNvSpPr txBox="1"/>
          <p:nvPr/>
        </p:nvSpPr>
        <p:spPr>
          <a:xfrm rot="16200000">
            <a:off x="11605877" y="322597"/>
            <a:ext cx="908719" cy="263527"/>
          </a:xfrm>
          <a:prstGeom prst="rect">
            <a:avLst/>
          </a:prstGeom>
          <a:noFill/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r>
              <a:rPr lang="de-DE" sz="800" kern="1200" spc="-3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© Rödl &amp; Partner </a:t>
            </a:r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263525" y="260648"/>
            <a:ext cx="11447923" cy="396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de-DE" noProof="0" dirty="0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263525" y="1052512"/>
            <a:ext cx="11448000" cy="54006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 dirty="0"/>
              <a:t>Formatvorlagen des Textmasters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928648" y="6453187"/>
            <a:ext cx="263350" cy="404813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lvl1pPr algn="ctr">
              <a:defRPr sz="1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4CFEB0D3-1EB3-4F08-8062-95FFB9749870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33" name="Textfeld 32"/>
          <p:cNvSpPr txBox="1"/>
          <p:nvPr/>
        </p:nvSpPr>
        <p:spPr>
          <a:xfrm>
            <a:off x="-974191" y="960180"/>
            <a:ext cx="696839" cy="184666"/>
          </a:xfrm>
          <a:prstGeom prst="rect">
            <a:avLst/>
          </a:prstGeom>
          <a:noFill/>
        </p:spPr>
        <p:txBody>
          <a:bodyPr wrap="none" lIns="72000" tIns="0" rIns="72000" bIns="0" rtlCol="0" anchor="ctr">
            <a:spAutoFit/>
          </a:bodyPr>
          <a:lstStyle/>
          <a:p>
            <a:pPr algn="r"/>
            <a:r>
              <a:rPr lang="de-DE" sz="1200" noProof="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extbox</a:t>
            </a:r>
          </a:p>
        </p:txBody>
      </p:sp>
      <p:sp>
        <p:nvSpPr>
          <p:cNvPr id="100" name="Textfeld 99"/>
          <p:cNvSpPr txBox="1"/>
          <p:nvPr/>
        </p:nvSpPr>
        <p:spPr>
          <a:xfrm>
            <a:off x="-1014869" y="-381635"/>
            <a:ext cx="990189" cy="184666"/>
          </a:xfrm>
          <a:prstGeom prst="rect">
            <a:avLst/>
          </a:prstGeom>
          <a:noFill/>
        </p:spPr>
        <p:txBody>
          <a:bodyPr wrap="none" lIns="72000" tIns="0" rIns="72000" bIns="0" rtlCol="0" anchor="ctr">
            <a:spAutoFit/>
          </a:bodyPr>
          <a:lstStyle/>
          <a:p>
            <a:pPr algn="r"/>
            <a:r>
              <a:rPr lang="de-DE" sz="1200" noProof="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Vier</a:t>
            </a:r>
            <a:r>
              <a:rPr lang="de-DE" sz="1200" baseline="0" noProof="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  <a:r>
              <a:rPr lang="de-DE" sz="1200" noProof="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Spalten</a:t>
            </a:r>
          </a:p>
        </p:txBody>
      </p:sp>
      <p:sp>
        <p:nvSpPr>
          <p:cNvPr id="101" name="Textfeld 100"/>
          <p:cNvSpPr txBox="1"/>
          <p:nvPr/>
        </p:nvSpPr>
        <p:spPr>
          <a:xfrm>
            <a:off x="-1032502" y="-618555"/>
            <a:ext cx="1007822" cy="184666"/>
          </a:xfrm>
          <a:prstGeom prst="rect">
            <a:avLst/>
          </a:prstGeom>
          <a:noFill/>
        </p:spPr>
        <p:txBody>
          <a:bodyPr wrap="none" lIns="72000" tIns="0" rIns="72000" bIns="0" rtlCol="0" anchor="ctr">
            <a:spAutoFit/>
          </a:bodyPr>
          <a:lstStyle/>
          <a:p>
            <a:pPr algn="r"/>
            <a:r>
              <a:rPr lang="de-DE" sz="1200" noProof="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Drei</a:t>
            </a:r>
            <a:r>
              <a:rPr lang="de-DE" sz="1200" baseline="0" noProof="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  <a:r>
              <a:rPr lang="de-DE" sz="1200" noProof="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Spalten</a:t>
            </a:r>
          </a:p>
        </p:txBody>
      </p:sp>
      <p:sp>
        <p:nvSpPr>
          <p:cNvPr id="105" name="Textfeld 104"/>
          <p:cNvSpPr txBox="1"/>
          <p:nvPr/>
        </p:nvSpPr>
        <p:spPr>
          <a:xfrm>
            <a:off x="-1067768" y="-855476"/>
            <a:ext cx="1043088" cy="184666"/>
          </a:xfrm>
          <a:prstGeom prst="rect">
            <a:avLst/>
          </a:prstGeom>
          <a:noFill/>
        </p:spPr>
        <p:txBody>
          <a:bodyPr wrap="none" lIns="72000" tIns="0" rIns="72000" bIns="0" rtlCol="0" anchor="ctr">
            <a:spAutoFit/>
          </a:bodyPr>
          <a:lstStyle/>
          <a:p>
            <a:pPr algn="r"/>
            <a:r>
              <a:rPr lang="de-DE" sz="1200" noProof="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Zwei Spalten</a:t>
            </a:r>
          </a:p>
        </p:txBody>
      </p:sp>
      <p:cxnSp>
        <p:nvCxnSpPr>
          <p:cNvPr id="38" name="Gerade Verbindung 37"/>
          <p:cNvCxnSpPr/>
          <p:nvPr/>
        </p:nvCxnSpPr>
        <p:spPr>
          <a:xfrm>
            <a:off x="11712624" y="6993412"/>
            <a:ext cx="0" cy="144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1" name="Gruppieren 40"/>
          <p:cNvGrpSpPr/>
          <p:nvPr/>
        </p:nvGrpSpPr>
        <p:grpSpPr>
          <a:xfrm>
            <a:off x="-276708" y="-835143"/>
            <a:ext cx="12205181" cy="7972555"/>
            <a:chOff x="-276708" y="-835143"/>
            <a:chExt cx="12205181" cy="7972555"/>
          </a:xfrm>
        </p:grpSpPr>
        <p:cxnSp>
          <p:nvCxnSpPr>
            <p:cNvPr id="42" name="Gerade Verbindung 41"/>
            <p:cNvCxnSpPr/>
            <p:nvPr userDrawn="1"/>
          </p:nvCxnSpPr>
          <p:spPr>
            <a:xfrm rot="5400000" flipV="1">
              <a:off x="-204708" y="980735"/>
              <a:ext cx="0" cy="1440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 Verbindung 42"/>
            <p:cNvCxnSpPr/>
            <p:nvPr userDrawn="1"/>
          </p:nvCxnSpPr>
          <p:spPr>
            <a:xfrm rot="5400000" flipV="1">
              <a:off x="-204708" y="6381336"/>
              <a:ext cx="0" cy="1440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Gerade Verbindung 43"/>
            <p:cNvCxnSpPr/>
            <p:nvPr userDrawn="1"/>
          </p:nvCxnSpPr>
          <p:spPr>
            <a:xfrm>
              <a:off x="259147" y="6993412"/>
              <a:ext cx="0" cy="1440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Gerade Verbindung mit Pfeil 44"/>
            <p:cNvCxnSpPr/>
            <p:nvPr userDrawn="1"/>
          </p:nvCxnSpPr>
          <p:spPr>
            <a:xfrm>
              <a:off x="263525" y="-526222"/>
              <a:ext cx="3492500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Gerade Verbindung mit Pfeil 45"/>
            <p:cNvCxnSpPr/>
            <p:nvPr userDrawn="1"/>
          </p:nvCxnSpPr>
          <p:spPr>
            <a:xfrm>
              <a:off x="4259684" y="-526222"/>
              <a:ext cx="3457154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Gerade Verbindung mit Pfeil 46"/>
            <p:cNvCxnSpPr/>
            <p:nvPr userDrawn="1"/>
          </p:nvCxnSpPr>
          <p:spPr>
            <a:xfrm>
              <a:off x="8220124" y="-526222"/>
              <a:ext cx="3492500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Gerade Verbindung mit Pfeil 47"/>
            <p:cNvCxnSpPr/>
            <p:nvPr userDrawn="1"/>
          </p:nvCxnSpPr>
          <p:spPr>
            <a:xfrm>
              <a:off x="263525" y="-289302"/>
              <a:ext cx="2484438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mit Pfeil 48"/>
            <p:cNvCxnSpPr/>
            <p:nvPr userDrawn="1"/>
          </p:nvCxnSpPr>
          <p:spPr>
            <a:xfrm>
              <a:off x="3251200" y="-289302"/>
              <a:ext cx="2484438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mit Pfeil 49"/>
            <p:cNvCxnSpPr/>
            <p:nvPr userDrawn="1"/>
          </p:nvCxnSpPr>
          <p:spPr>
            <a:xfrm>
              <a:off x="6240462" y="-289302"/>
              <a:ext cx="2484438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mit Pfeil 50"/>
            <p:cNvCxnSpPr/>
            <p:nvPr userDrawn="1"/>
          </p:nvCxnSpPr>
          <p:spPr>
            <a:xfrm>
              <a:off x="9228186" y="-289302"/>
              <a:ext cx="2484438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 Verbindung mit Pfeil 51"/>
            <p:cNvCxnSpPr/>
            <p:nvPr userDrawn="1"/>
          </p:nvCxnSpPr>
          <p:spPr>
            <a:xfrm>
              <a:off x="263525" y="-763143"/>
              <a:ext cx="5472113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 Verbindung mit Pfeil 52"/>
            <p:cNvCxnSpPr/>
            <p:nvPr userDrawn="1"/>
          </p:nvCxnSpPr>
          <p:spPr>
            <a:xfrm>
              <a:off x="6240463" y="-763143"/>
              <a:ext cx="5472161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Gerade Verbindung 53"/>
            <p:cNvCxnSpPr/>
            <p:nvPr userDrawn="1"/>
          </p:nvCxnSpPr>
          <p:spPr>
            <a:xfrm>
              <a:off x="2999272" y="-361302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54"/>
            <p:cNvCxnSpPr/>
            <p:nvPr userDrawn="1"/>
          </p:nvCxnSpPr>
          <p:spPr>
            <a:xfrm>
              <a:off x="5987988" y="-361302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 Verbindung 55"/>
            <p:cNvCxnSpPr/>
            <p:nvPr userDrawn="1"/>
          </p:nvCxnSpPr>
          <p:spPr>
            <a:xfrm>
              <a:off x="8976320" y="-361302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 Verbindung 56"/>
            <p:cNvCxnSpPr/>
            <p:nvPr userDrawn="1"/>
          </p:nvCxnSpPr>
          <p:spPr>
            <a:xfrm>
              <a:off x="7968208" y="-598222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 Verbindung 57"/>
            <p:cNvCxnSpPr/>
            <p:nvPr userDrawn="1"/>
          </p:nvCxnSpPr>
          <p:spPr>
            <a:xfrm>
              <a:off x="4007768" y="-598222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 Verbindung 58"/>
            <p:cNvCxnSpPr/>
            <p:nvPr userDrawn="1"/>
          </p:nvCxnSpPr>
          <p:spPr>
            <a:xfrm>
              <a:off x="5987988" y="-835143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 Verbindung 59"/>
            <p:cNvCxnSpPr/>
            <p:nvPr userDrawn="1"/>
          </p:nvCxnSpPr>
          <p:spPr>
            <a:xfrm rot="5400000" flipV="1">
              <a:off x="-204708" y="826746"/>
              <a:ext cx="0" cy="144000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Gerade Verbindung 60"/>
            <p:cNvCxnSpPr/>
            <p:nvPr userDrawn="1"/>
          </p:nvCxnSpPr>
          <p:spPr>
            <a:xfrm rot="5400000" flipV="1">
              <a:off x="-204708" y="6785999"/>
              <a:ext cx="0" cy="144000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Gerade Verbindung 61"/>
            <p:cNvCxnSpPr/>
            <p:nvPr userDrawn="1"/>
          </p:nvCxnSpPr>
          <p:spPr>
            <a:xfrm rot="10800000" flipV="1">
              <a:off x="11928473" y="-361302"/>
              <a:ext cx="0" cy="144000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Gerade Verbindung 62"/>
            <p:cNvCxnSpPr/>
            <p:nvPr userDrawn="1"/>
          </p:nvCxnSpPr>
          <p:spPr>
            <a:xfrm rot="10800000" flipV="1">
              <a:off x="0" y="-361302"/>
              <a:ext cx="0" cy="144000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4" name="Textfeld 63"/>
          <p:cNvSpPr txBox="1"/>
          <p:nvPr/>
        </p:nvSpPr>
        <p:spPr>
          <a:xfrm>
            <a:off x="-1791723" y="799523"/>
            <a:ext cx="1514371" cy="184666"/>
          </a:xfrm>
          <a:prstGeom prst="rect">
            <a:avLst/>
          </a:prstGeom>
          <a:noFill/>
        </p:spPr>
        <p:txBody>
          <a:bodyPr wrap="none" lIns="72000" tIns="0" rIns="72000" bIns="0" rtlCol="0" anchor="ctr">
            <a:spAutoFit/>
          </a:bodyPr>
          <a:lstStyle/>
          <a:p>
            <a:pPr algn="r"/>
            <a:r>
              <a:rPr lang="de-DE" sz="1200" noProof="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abelle</a:t>
            </a:r>
            <a:r>
              <a:rPr lang="de-DE" sz="1200" baseline="0" noProof="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  <a:r>
              <a:rPr lang="de-DE" sz="1200" noProof="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(Vollflächig)</a:t>
            </a:r>
          </a:p>
        </p:txBody>
      </p:sp>
    </p:spTree>
    <p:extLst>
      <p:ext uri="{BB962C8B-B14F-4D97-AF65-F5344CB8AC3E}">
        <p14:creationId xmlns:p14="http://schemas.microsoft.com/office/powerpoint/2010/main" val="25046313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7" r:id="rId1"/>
    <p:sldLayoutId id="2147483848" r:id="rId2"/>
    <p:sldLayoutId id="2147483959" r:id="rId3"/>
    <p:sldLayoutId id="2147483898" r:id="rId4"/>
    <p:sldLayoutId id="2147483905" r:id="rId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cap="all" spc="-70" baseline="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216000" indent="-216000" algn="l" defTabSz="914400" rtl="0" eaLnBrk="1" latinLnBrk="0" hangingPunct="1">
        <a:lnSpc>
          <a:spcPct val="100000"/>
        </a:lnSpc>
        <a:spcBef>
          <a:spcPts val="500"/>
        </a:spcBef>
        <a:buFontTx/>
        <a:buChar char="–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2pPr>
      <a:lvl3pPr marL="432000" indent="-216000" algn="l" defTabSz="914400" rtl="0" eaLnBrk="1" latinLnBrk="0" hangingPunct="1">
        <a:lnSpc>
          <a:spcPct val="100000"/>
        </a:lnSpc>
        <a:spcBef>
          <a:spcPts val="500"/>
        </a:spcBef>
        <a:buFontTx/>
        <a:buChar char="–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3pPr>
      <a:lvl4pPr marL="648000" indent="-216000" algn="l" defTabSz="914400" rtl="0" eaLnBrk="1" latinLnBrk="0" hangingPunct="1">
        <a:lnSpc>
          <a:spcPct val="100000"/>
        </a:lnSpc>
        <a:spcBef>
          <a:spcPts val="500"/>
        </a:spcBef>
        <a:buFontTx/>
        <a:buChar char="–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4pPr>
      <a:lvl5pPr marL="864000" indent="-216000" algn="l" defTabSz="914400" rtl="0" eaLnBrk="1" latinLnBrk="0" hangingPunct="1">
        <a:lnSpc>
          <a:spcPct val="100000"/>
        </a:lnSpc>
        <a:spcBef>
          <a:spcPts val="500"/>
        </a:spcBef>
        <a:buFontTx/>
        <a:buChar char="–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6.xml"/><Relationship Id="rId7" Type="http://schemas.openxmlformats.org/officeDocument/2006/relationships/image" Target="../media/image3.jpg"/><Relationship Id="rId2" Type="http://schemas.openxmlformats.org/officeDocument/2006/relationships/tags" Target="../tags/tag170.xml"/><Relationship Id="rId1" Type="http://schemas.openxmlformats.org/officeDocument/2006/relationships/tags" Target="../tags/tag16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7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13" Type="http://schemas.openxmlformats.org/officeDocument/2006/relationships/image" Target="../media/image29.svg"/><Relationship Id="rId3" Type="http://schemas.openxmlformats.org/officeDocument/2006/relationships/image" Target="../media/image4.png"/><Relationship Id="rId7" Type="http://schemas.openxmlformats.org/officeDocument/2006/relationships/image" Target="../media/image23.svg"/><Relationship Id="rId12" Type="http://schemas.openxmlformats.org/officeDocument/2006/relationships/image" Target="../media/image28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00.xml"/><Relationship Id="rId6" Type="http://schemas.openxmlformats.org/officeDocument/2006/relationships/image" Target="../media/image22.png"/><Relationship Id="rId11" Type="http://schemas.openxmlformats.org/officeDocument/2006/relationships/image" Target="../media/image27.svg"/><Relationship Id="rId5" Type="http://schemas.openxmlformats.org/officeDocument/2006/relationships/image" Target="../media/image21.svg"/><Relationship Id="rId15" Type="http://schemas.openxmlformats.org/officeDocument/2006/relationships/image" Target="../media/image31.svg"/><Relationship Id="rId10" Type="http://schemas.openxmlformats.org/officeDocument/2006/relationships/image" Target="../media/image26.png"/><Relationship Id="rId4" Type="http://schemas.openxmlformats.org/officeDocument/2006/relationships/image" Target="../media/image20.png"/><Relationship Id="rId9" Type="http://schemas.openxmlformats.org/officeDocument/2006/relationships/image" Target="../media/image25.svg"/><Relationship Id="rId14" Type="http://schemas.openxmlformats.org/officeDocument/2006/relationships/image" Target="../media/image30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00.xml"/><Relationship Id="rId6" Type="http://schemas.openxmlformats.org/officeDocument/2006/relationships/image" Target="../media/image25.svg"/><Relationship Id="rId5" Type="http://schemas.openxmlformats.org/officeDocument/2006/relationships/image" Target="../media/image24.png"/><Relationship Id="rId4" Type="http://schemas.openxmlformats.org/officeDocument/2006/relationships/image" Target="../media/image21.sv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svg"/><Relationship Id="rId3" Type="http://schemas.openxmlformats.org/officeDocument/2006/relationships/image" Target="../media/image20.png"/><Relationship Id="rId7" Type="http://schemas.openxmlformats.org/officeDocument/2006/relationships/image" Target="../media/image22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00.xml"/><Relationship Id="rId6" Type="http://schemas.openxmlformats.org/officeDocument/2006/relationships/image" Target="../media/image25.svg"/><Relationship Id="rId5" Type="http://schemas.openxmlformats.org/officeDocument/2006/relationships/image" Target="../media/image24.png"/><Relationship Id="rId4" Type="http://schemas.openxmlformats.org/officeDocument/2006/relationships/image" Target="../media/image21.sv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svg"/><Relationship Id="rId3" Type="http://schemas.openxmlformats.org/officeDocument/2006/relationships/image" Target="../media/image22.png"/><Relationship Id="rId7" Type="http://schemas.openxmlformats.org/officeDocument/2006/relationships/image" Target="../media/image24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00.xml"/><Relationship Id="rId6" Type="http://schemas.openxmlformats.org/officeDocument/2006/relationships/image" Target="../media/image21.svg"/><Relationship Id="rId5" Type="http://schemas.openxmlformats.org/officeDocument/2006/relationships/image" Target="../media/image20.png"/><Relationship Id="rId4" Type="http://schemas.openxmlformats.org/officeDocument/2006/relationships/image" Target="../media/image23.sv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6.xml"/><Relationship Id="rId7" Type="http://schemas.microsoft.com/office/2007/relationships/diagramDrawing" Target="../diagrams/drawing6.xml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00.xml"/><Relationship Id="rId6" Type="http://schemas.openxmlformats.org/officeDocument/2006/relationships/diagramColors" Target="../diagrams/colors6.xml"/><Relationship Id="rId5" Type="http://schemas.openxmlformats.org/officeDocument/2006/relationships/diagramQuickStyle" Target="../diagrams/quickStyle6.xml"/><Relationship Id="rId4" Type="http://schemas.openxmlformats.org/officeDocument/2006/relationships/diagramLayout" Target="../diagrams/layout6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07.xml"/><Relationship Id="rId5" Type="http://schemas.openxmlformats.org/officeDocument/2006/relationships/image" Target="../media/image4.png"/><Relationship Id="rId4" Type="http://schemas.openxmlformats.org/officeDocument/2006/relationships/image" Target="../media/image32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7" Type="http://schemas.openxmlformats.org/officeDocument/2006/relationships/image" Target="../media/image4.png"/><Relationship Id="rId2" Type="http://schemas.openxmlformats.org/officeDocument/2006/relationships/slideLayout" Target="../slideLayouts/slideLayout100.xml"/><Relationship Id="rId1" Type="http://schemas.openxmlformats.org/officeDocument/2006/relationships/tags" Target="../tags/tag17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8.bin"/><Relationship Id="rId4" Type="http://schemas.openxmlformats.org/officeDocument/2006/relationships/image" Target="../media/image5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7" Type="http://schemas.openxmlformats.org/officeDocument/2006/relationships/image" Target="../media/image4.png"/><Relationship Id="rId2" Type="http://schemas.openxmlformats.org/officeDocument/2006/relationships/slideLayout" Target="../slideLayouts/slideLayout100.xml"/><Relationship Id="rId1" Type="http://schemas.openxmlformats.org/officeDocument/2006/relationships/tags" Target="../tags/tag172.x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9.bin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svg"/><Relationship Id="rId3" Type="http://schemas.openxmlformats.org/officeDocument/2006/relationships/image" Target="../media/image7.png"/><Relationship Id="rId7" Type="http://schemas.openxmlformats.org/officeDocument/2006/relationships/image" Target="../media/image1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00.xml"/><Relationship Id="rId6" Type="http://schemas.openxmlformats.org/officeDocument/2006/relationships/image" Target="../media/image10.svg"/><Relationship Id="rId11" Type="http://schemas.openxmlformats.org/officeDocument/2006/relationships/image" Target="../media/image4.png"/><Relationship Id="rId5" Type="http://schemas.openxmlformats.org/officeDocument/2006/relationships/image" Target="../media/image9.png"/><Relationship Id="rId10" Type="http://schemas.openxmlformats.org/officeDocument/2006/relationships/image" Target="../media/image13.png"/><Relationship Id="rId4" Type="http://schemas.openxmlformats.org/officeDocument/2006/relationships/image" Target="../media/image8.png"/><Relationship Id="rId9" Type="http://schemas.openxmlformats.org/officeDocument/2006/relationships/chart" Target="../charts/chart1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13" Type="http://schemas.openxmlformats.org/officeDocument/2006/relationships/image" Target="../media/image12.svg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12" Type="http://schemas.openxmlformats.org/officeDocument/2006/relationships/image" Target="../media/image11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00.xml"/><Relationship Id="rId6" Type="http://schemas.openxmlformats.org/officeDocument/2006/relationships/diagramColors" Target="../diagrams/colors1.xml"/><Relationship Id="rId11" Type="http://schemas.openxmlformats.org/officeDocument/2006/relationships/image" Target="../media/image18.svg"/><Relationship Id="rId5" Type="http://schemas.openxmlformats.org/officeDocument/2006/relationships/diagramQuickStyle" Target="../diagrams/quickStyle1.xml"/><Relationship Id="rId15" Type="http://schemas.openxmlformats.org/officeDocument/2006/relationships/image" Target="../media/image19.png"/><Relationship Id="rId10" Type="http://schemas.openxmlformats.org/officeDocument/2006/relationships/image" Target="../media/image17.png"/><Relationship Id="rId4" Type="http://schemas.openxmlformats.org/officeDocument/2006/relationships/diagramLayout" Target="../diagrams/layout1.xml"/><Relationship Id="rId9" Type="http://schemas.openxmlformats.org/officeDocument/2006/relationships/image" Target="../media/image16.svg"/><Relationship Id="rId14" Type="http://schemas.openxmlformats.org/officeDocument/2006/relationships/image" Target="../media/image4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00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3.xml"/><Relationship Id="rId13" Type="http://schemas.openxmlformats.org/officeDocument/2006/relationships/diagramData" Target="../diagrams/data4.xml"/><Relationship Id="rId3" Type="http://schemas.openxmlformats.org/officeDocument/2006/relationships/diagramLayout" Target="../diagrams/layout2.xml"/><Relationship Id="rId7" Type="http://schemas.openxmlformats.org/officeDocument/2006/relationships/image" Target="../media/image4.png"/><Relationship Id="rId12" Type="http://schemas.microsoft.com/office/2007/relationships/diagramDrawing" Target="../diagrams/drawing3.xml"/><Relationship Id="rId17" Type="http://schemas.microsoft.com/office/2007/relationships/diagramDrawing" Target="../diagrams/drawing4.xml"/><Relationship Id="rId2" Type="http://schemas.openxmlformats.org/officeDocument/2006/relationships/diagramData" Target="../diagrams/data2.xml"/><Relationship Id="rId16" Type="http://schemas.openxmlformats.org/officeDocument/2006/relationships/diagramColors" Target="../diagrams/colors4.xml"/><Relationship Id="rId1" Type="http://schemas.openxmlformats.org/officeDocument/2006/relationships/slideLayout" Target="../slideLayouts/slideLayout100.xml"/><Relationship Id="rId6" Type="http://schemas.microsoft.com/office/2007/relationships/diagramDrawing" Target="../diagrams/drawing2.xml"/><Relationship Id="rId11" Type="http://schemas.openxmlformats.org/officeDocument/2006/relationships/diagramColors" Target="../diagrams/colors3.xml"/><Relationship Id="rId5" Type="http://schemas.openxmlformats.org/officeDocument/2006/relationships/diagramColors" Target="../diagrams/colors2.xml"/><Relationship Id="rId15" Type="http://schemas.openxmlformats.org/officeDocument/2006/relationships/diagramQuickStyle" Target="../diagrams/quickStyle4.xml"/><Relationship Id="rId10" Type="http://schemas.openxmlformats.org/officeDocument/2006/relationships/diagramQuickStyle" Target="../diagrams/quickStyle3.xml"/><Relationship Id="rId4" Type="http://schemas.openxmlformats.org/officeDocument/2006/relationships/diagramQuickStyle" Target="../diagrams/quickStyle2.xml"/><Relationship Id="rId9" Type="http://schemas.openxmlformats.org/officeDocument/2006/relationships/diagramLayout" Target="../diagrams/layout3.xml"/><Relationship Id="rId14" Type="http://schemas.openxmlformats.org/officeDocument/2006/relationships/diagramLayout" Target="../diagrams/layout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5.xml"/><Relationship Id="rId7" Type="http://schemas.microsoft.com/office/2007/relationships/diagramDrawing" Target="../diagrams/drawing5.xml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00.xml"/><Relationship Id="rId6" Type="http://schemas.openxmlformats.org/officeDocument/2006/relationships/diagramColors" Target="../diagrams/colors5.xml"/><Relationship Id="rId5" Type="http://schemas.openxmlformats.org/officeDocument/2006/relationships/diagramQuickStyle" Target="../diagrams/quickStyle5.xml"/><Relationship Id="rId4" Type="http://schemas.openxmlformats.org/officeDocument/2006/relationships/diagramLayout" Target="../diagrams/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ts val="66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5000" b="0" i="0" u="none" strike="noStrike" kern="1200" cap="none" spc="0" normalizeH="0" baseline="0" noProof="0" dirty="0" err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A49A8860-65E5-4461-8AD2-6AE2BCF81A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3524" y="1080000"/>
            <a:ext cx="11664951" cy="892721"/>
          </a:xfrm>
        </p:spPr>
        <p:txBody>
          <a:bodyPr/>
          <a:lstStyle/>
          <a:p>
            <a:r>
              <a:rPr lang="de-DE" sz="2800" dirty="0"/>
              <a:t>Notwendigkeit der </a:t>
            </a:r>
            <a:r>
              <a:rPr lang="de-DE" sz="2800" dirty="0" err="1"/>
              <a:t>DrittnutzerFinanzierung</a:t>
            </a:r>
            <a:r>
              <a:rPr lang="de-DE" sz="2800" dirty="0"/>
              <a:t> für den ÖPNV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2"/>
          </p:nvPr>
        </p:nvSpPr>
        <p:spPr>
          <a:xfrm>
            <a:off x="264050" y="2599114"/>
            <a:ext cx="3744388" cy="286745"/>
          </a:xfrm>
        </p:spPr>
        <p:txBody>
          <a:bodyPr/>
          <a:lstStyle/>
          <a:p>
            <a:r>
              <a:rPr lang="de-DE" dirty="0"/>
              <a:t>Deutscher Nahverkehrstag</a:t>
            </a:r>
          </a:p>
        </p:txBody>
      </p:sp>
      <p:sp>
        <p:nvSpPr>
          <p:cNvPr id="15" name="Textplatzhalter 14"/>
          <p:cNvSpPr>
            <a:spLocks noGrp="1"/>
          </p:cNvSpPr>
          <p:nvPr>
            <p:ph type="body" sz="quarter" idx="16"/>
          </p:nvPr>
        </p:nvSpPr>
        <p:spPr>
          <a:xfrm>
            <a:off x="4281488" y="2644752"/>
            <a:ext cx="7453313" cy="246221"/>
          </a:xfrm>
        </p:spPr>
        <p:txBody>
          <a:bodyPr/>
          <a:lstStyle/>
          <a:p>
            <a:r>
              <a:rPr lang="de-DE" dirty="0"/>
              <a:t>Jörg Niemann, Leiter Kompetenz-Center Mobilität</a:t>
            </a:r>
          </a:p>
          <a:p>
            <a:r>
              <a:rPr lang="de-DE" dirty="0"/>
              <a:t>Ricarda Bans, Rechtsanwältin</a:t>
            </a:r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 rotWithShape="1">
          <a:blip r:embed="rId7"/>
          <a:srcRect t="23082" r="715" b="36470"/>
          <a:stretch/>
        </p:blipFill>
        <p:spPr>
          <a:xfrm>
            <a:off x="3176" y="3561806"/>
            <a:ext cx="12188824" cy="3323578"/>
          </a:xfrm>
          <a:prstGeom prst="rect">
            <a:avLst/>
          </a:prstGeom>
        </p:spPr>
      </p:pic>
      <p:sp>
        <p:nvSpPr>
          <p:cNvPr id="10" name="Textplatzhalter 20"/>
          <p:cNvSpPr>
            <a:spLocks noGrp="1"/>
          </p:cNvSpPr>
          <p:nvPr>
            <p:ph type="body" sz="quarter" idx="13" hasCustomPrompt="1"/>
          </p:nvPr>
        </p:nvSpPr>
        <p:spPr>
          <a:xfrm>
            <a:off x="4284804" y="2978476"/>
            <a:ext cx="7453312" cy="246221"/>
          </a:xfrm>
        </p:spPr>
        <p:txBody>
          <a:bodyPr wrap="square" anchor="b">
            <a:spAutoFit/>
          </a:bodyPr>
          <a:lstStyle>
            <a:lvl1pPr>
              <a:spcBef>
                <a:spcPts val="0"/>
              </a:spcBef>
              <a:defRPr sz="1600" cap="none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Koblenz, den 17. April 2024</a:t>
            </a:r>
          </a:p>
        </p:txBody>
      </p:sp>
    </p:spTree>
    <p:extLst>
      <p:ext uri="{BB962C8B-B14F-4D97-AF65-F5344CB8AC3E}">
        <p14:creationId xmlns:p14="http://schemas.microsoft.com/office/powerpoint/2010/main" val="214275230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4F5CFBF-8692-9BC4-5AAC-AFAEDC10C7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>
                <a:solidFill>
                  <a:schemeClr val="accent3"/>
                </a:solidFill>
              </a:rPr>
              <a:t>Auswahl Finanzierungsmodelle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0B276C45-4295-1522-9D3C-1B4FCE702BA0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4CFEB0D3-1EB3-4F08-8062-95FFB9749870}" type="slidenum">
              <a:rPr lang="de-DE" smtClean="0"/>
              <a:pPr/>
              <a:t>10</a:t>
            </a:fld>
            <a:endParaRPr lang="de-DE"/>
          </a:p>
        </p:txBody>
      </p:sp>
      <p:pic>
        <p:nvPicPr>
          <p:cNvPr id="43" name="Grafik 42" descr="Ein Bild, das Schwarz, Dunkelheit enthält.">
            <a:extLst>
              <a:ext uri="{FF2B5EF4-FFF2-40B4-BE49-F238E27FC236}">
                <a16:creationId xmlns:a16="http://schemas.microsoft.com/office/drawing/2014/main" id="{A3D3E46A-FE89-78B2-5953-BC9D906EFE6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309634" y="260648"/>
            <a:ext cx="1618841" cy="416686"/>
          </a:xfrm>
          <a:prstGeom prst="rect">
            <a:avLst/>
          </a:prstGeom>
        </p:spPr>
      </p:pic>
      <p:sp>
        <p:nvSpPr>
          <p:cNvPr id="45" name="Pfeil: Fünfeck 44">
            <a:extLst>
              <a:ext uri="{FF2B5EF4-FFF2-40B4-BE49-F238E27FC236}">
                <a16:creationId xmlns:a16="http://schemas.microsoft.com/office/drawing/2014/main" id="{22D3D7A5-B1DB-17DB-E0D7-79CB09B3D9AD}"/>
              </a:ext>
            </a:extLst>
          </p:cNvPr>
          <p:cNvSpPr/>
          <p:nvPr/>
        </p:nvSpPr>
        <p:spPr>
          <a:xfrm>
            <a:off x="248459" y="994943"/>
            <a:ext cx="1872208" cy="273817"/>
          </a:xfrm>
          <a:prstGeom prst="homePlat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000" b="1" dirty="0">
                <a:solidFill>
                  <a:schemeClr val="tx1"/>
                </a:solidFill>
              </a:rPr>
              <a:t>Finanzierungslücke</a:t>
            </a:r>
          </a:p>
        </p:txBody>
      </p:sp>
      <p:sp>
        <p:nvSpPr>
          <p:cNvPr id="46" name="Pfeil: Chevron 45">
            <a:extLst>
              <a:ext uri="{FF2B5EF4-FFF2-40B4-BE49-F238E27FC236}">
                <a16:creationId xmlns:a16="http://schemas.microsoft.com/office/drawing/2014/main" id="{33F03EC6-3D4E-C9EA-3D0C-E8EC10CF3E43}"/>
              </a:ext>
            </a:extLst>
          </p:cNvPr>
          <p:cNvSpPr/>
          <p:nvPr/>
        </p:nvSpPr>
        <p:spPr>
          <a:xfrm>
            <a:off x="4234898" y="994943"/>
            <a:ext cx="1872208" cy="273817"/>
          </a:xfrm>
          <a:prstGeom prst="chevron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000" b="1" dirty="0">
                <a:solidFill>
                  <a:schemeClr val="tx1"/>
                </a:solidFill>
              </a:rPr>
              <a:t>Ausblick</a:t>
            </a:r>
          </a:p>
        </p:txBody>
      </p:sp>
      <p:sp>
        <p:nvSpPr>
          <p:cNvPr id="47" name="Pfeil: Chevron 46">
            <a:extLst>
              <a:ext uri="{FF2B5EF4-FFF2-40B4-BE49-F238E27FC236}">
                <a16:creationId xmlns:a16="http://schemas.microsoft.com/office/drawing/2014/main" id="{2ECA01D6-1B43-EB5D-8579-A4F47884EBC0}"/>
              </a:ext>
            </a:extLst>
          </p:cNvPr>
          <p:cNvSpPr/>
          <p:nvPr/>
        </p:nvSpPr>
        <p:spPr>
          <a:xfrm>
            <a:off x="2241678" y="994943"/>
            <a:ext cx="1872208" cy="273817"/>
          </a:xfrm>
          <a:prstGeom prst="chevron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000" b="1" dirty="0">
                <a:solidFill>
                  <a:schemeClr val="tx1"/>
                </a:solidFill>
              </a:rPr>
              <a:t>Lösungsansätze</a:t>
            </a:r>
          </a:p>
        </p:txBody>
      </p:sp>
      <p:sp>
        <p:nvSpPr>
          <p:cNvPr id="44" name="Rechteck 43">
            <a:extLst>
              <a:ext uri="{FF2B5EF4-FFF2-40B4-BE49-F238E27FC236}">
                <a16:creationId xmlns:a16="http://schemas.microsoft.com/office/drawing/2014/main" id="{C7C76690-4BBA-4FFC-E248-569CE57E3084}"/>
              </a:ext>
            </a:extLst>
          </p:cNvPr>
          <p:cNvSpPr/>
          <p:nvPr/>
        </p:nvSpPr>
        <p:spPr>
          <a:xfrm>
            <a:off x="10069018" y="1778054"/>
            <a:ext cx="1579380" cy="4027210"/>
          </a:xfrm>
          <a:prstGeom prst="rect">
            <a:avLst/>
          </a:prstGeom>
          <a:solidFill>
            <a:srgbClr val="00838A">
              <a:alpha val="70000"/>
            </a:srgb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600" b="1" dirty="0">
                <a:solidFill>
                  <a:prstClr val="white"/>
                </a:solidFill>
                <a:latin typeface="Arial"/>
              </a:rPr>
              <a:t>City-Maut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25023396-0853-0926-593F-5DD8A4E844A4}"/>
              </a:ext>
            </a:extLst>
          </p:cNvPr>
          <p:cNvSpPr/>
          <p:nvPr/>
        </p:nvSpPr>
        <p:spPr>
          <a:xfrm>
            <a:off x="1331767" y="1772816"/>
            <a:ext cx="1579380" cy="4027206"/>
          </a:xfrm>
          <a:prstGeom prst="rect">
            <a:avLst/>
          </a:prstGeom>
          <a:solidFill>
            <a:srgbClr val="00838A">
              <a:alpha val="70000"/>
            </a:srgb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600" b="1" dirty="0">
                <a:solidFill>
                  <a:prstClr val="white"/>
                </a:solidFill>
                <a:latin typeface="Arial"/>
              </a:rPr>
              <a:t>ÖPNV-Grundbeitrag</a:t>
            </a:r>
          </a:p>
          <a:p>
            <a:pPr algn="ctr"/>
            <a:endParaRPr lang="de-DE" sz="1600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0E815583-E539-21F5-DC32-3EA7BCD028BE}"/>
              </a:ext>
            </a:extLst>
          </p:cNvPr>
          <p:cNvSpPr/>
          <p:nvPr/>
        </p:nvSpPr>
        <p:spPr>
          <a:xfrm>
            <a:off x="3079199" y="1772816"/>
            <a:ext cx="1579380" cy="4027208"/>
          </a:xfrm>
          <a:prstGeom prst="rect">
            <a:avLst/>
          </a:prstGeom>
          <a:solidFill>
            <a:srgbClr val="00838A">
              <a:alpha val="70000"/>
            </a:srgb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600" b="1" dirty="0">
                <a:solidFill>
                  <a:prstClr val="white"/>
                </a:solidFill>
                <a:latin typeface="Arial"/>
              </a:rPr>
              <a:t>Grundsteuer-reform</a:t>
            </a:r>
            <a:endParaRPr lang="de-DE" sz="1600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C00F7BE1-E7F2-5681-A904-ECD386A22645}"/>
              </a:ext>
            </a:extLst>
          </p:cNvPr>
          <p:cNvSpPr/>
          <p:nvPr/>
        </p:nvSpPr>
        <p:spPr>
          <a:xfrm>
            <a:off x="4826632" y="1772816"/>
            <a:ext cx="1579380" cy="4027210"/>
          </a:xfrm>
          <a:prstGeom prst="rect">
            <a:avLst/>
          </a:prstGeom>
          <a:solidFill>
            <a:srgbClr val="00838A">
              <a:alpha val="70000"/>
            </a:srgb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600" b="1" dirty="0">
                <a:solidFill>
                  <a:prstClr val="white"/>
                </a:solidFill>
              </a:rPr>
              <a:t>Bürger-Ticket</a:t>
            </a:r>
            <a:endParaRPr lang="de-DE" sz="1600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84F0E5EE-104D-200B-0E88-FF1D854F7D63}"/>
              </a:ext>
            </a:extLst>
          </p:cNvPr>
          <p:cNvSpPr/>
          <p:nvPr/>
        </p:nvSpPr>
        <p:spPr>
          <a:xfrm>
            <a:off x="6574064" y="1772819"/>
            <a:ext cx="1579380" cy="4027210"/>
          </a:xfrm>
          <a:prstGeom prst="rect">
            <a:avLst/>
          </a:prstGeom>
          <a:solidFill>
            <a:srgbClr val="00838A">
              <a:alpha val="70000"/>
            </a:srgb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600" b="1" dirty="0">
                <a:solidFill>
                  <a:prstClr val="white"/>
                </a:solidFill>
              </a:rPr>
              <a:t>Kfz-Abgabe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algn="ctr"/>
            <a:endParaRPr lang="de-DE" sz="1600" dirty="0" err="1">
              <a:solidFill>
                <a:prstClr val="black"/>
              </a:solidFill>
              <a:latin typeface="Arial"/>
            </a:endParaRP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5951C04C-3119-5993-DA47-B7BCA56B90D3}"/>
              </a:ext>
            </a:extLst>
          </p:cNvPr>
          <p:cNvSpPr/>
          <p:nvPr/>
        </p:nvSpPr>
        <p:spPr>
          <a:xfrm>
            <a:off x="8321495" y="1778054"/>
            <a:ext cx="1579380" cy="4027210"/>
          </a:xfrm>
          <a:prstGeom prst="rect">
            <a:avLst/>
          </a:prstGeom>
          <a:solidFill>
            <a:srgbClr val="00838A">
              <a:alpha val="70000"/>
            </a:srgb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600" b="1" dirty="0" err="1">
                <a:solidFill>
                  <a:prstClr val="white"/>
                </a:solidFill>
                <a:latin typeface="Arial"/>
              </a:rPr>
              <a:t>Parkraumbe-wirtschaftung</a:t>
            </a:r>
            <a:endParaRPr lang="de-DE" sz="1600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20" name="Rechteck: abgerundete Ecken 19">
            <a:extLst>
              <a:ext uri="{FF2B5EF4-FFF2-40B4-BE49-F238E27FC236}">
                <a16:creationId xmlns:a16="http://schemas.microsoft.com/office/drawing/2014/main" id="{5C54777F-215D-9458-C87A-66D88B65DB38}"/>
              </a:ext>
            </a:extLst>
          </p:cNvPr>
          <p:cNvSpPr/>
          <p:nvPr/>
        </p:nvSpPr>
        <p:spPr>
          <a:xfrm>
            <a:off x="234773" y="2479464"/>
            <a:ext cx="11477801" cy="982612"/>
          </a:xfrm>
          <a:prstGeom prst="roundRect">
            <a:avLst/>
          </a:prstGeom>
          <a:solidFill>
            <a:schemeClr val="accent1">
              <a:alpha val="7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>
              <a:buFontTx/>
              <a:buChar char="–"/>
            </a:pPr>
            <a:endParaRPr lang="de-DE" sz="1600" err="1">
              <a:solidFill>
                <a:prstClr val="black"/>
              </a:solidFill>
              <a:latin typeface="Arial"/>
            </a:endParaRPr>
          </a:p>
        </p:txBody>
      </p:sp>
      <p:sp>
        <p:nvSpPr>
          <p:cNvPr id="21" name="Rechteck: abgerundete Ecken 20">
            <a:extLst>
              <a:ext uri="{FF2B5EF4-FFF2-40B4-BE49-F238E27FC236}">
                <a16:creationId xmlns:a16="http://schemas.microsoft.com/office/drawing/2014/main" id="{4B79EE89-78FB-B455-73DB-D1E8C526BDF6}"/>
              </a:ext>
            </a:extLst>
          </p:cNvPr>
          <p:cNvSpPr/>
          <p:nvPr/>
        </p:nvSpPr>
        <p:spPr>
          <a:xfrm>
            <a:off x="234771" y="3577794"/>
            <a:ext cx="11477801" cy="982612"/>
          </a:xfrm>
          <a:prstGeom prst="roundRect">
            <a:avLst/>
          </a:prstGeom>
          <a:solidFill>
            <a:schemeClr val="accent3">
              <a:alpha val="7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>
              <a:buFontTx/>
              <a:buChar char="–"/>
            </a:pPr>
            <a:endParaRPr lang="de-DE" sz="1600" err="1">
              <a:solidFill>
                <a:prstClr val="black"/>
              </a:solidFill>
              <a:latin typeface="Arial"/>
            </a:endParaRPr>
          </a:p>
        </p:txBody>
      </p:sp>
      <p:sp>
        <p:nvSpPr>
          <p:cNvPr id="22" name="Rechteck: abgerundete Ecken 21">
            <a:extLst>
              <a:ext uri="{FF2B5EF4-FFF2-40B4-BE49-F238E27FC236}">
                <a16:creationId xmlns:a16="http://schemas.microsoft.com/office/drawing/2014/main" id="{3D86126E-9F26-777F-255B-10C8A065C860}"/>
              </a:ext>
            </a:extLst>
          </p:cNvPr>
          <p:cNvSpPr/>
          <p:nvPr/>
        </p:nvSpPr>
        <p:spPr>
          <a:xfrm>
            <a:off x="234774" y="4676123"/>
            <a:ext cx="11477799" cy="982612"/>
          </a:xfrm>
          <a:prstGeom prst="roundRect">
            <a:avLst/>
          </a:prstGeom>
          <a:solidFill>
            <a:schemeClr val="accent3">
              <a:lumMod val="75000"/>
              <a:alpha val="7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>
              <a:buFontTx/>
              <a:buChar char="–"/>
            </a:pPr>
            <a:endParaRPr lang="de-DE" sz="1600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23" name="Textfeld 22">
            <a:extLst>
              <a:ext uri="{FF2B5EF4-FFF2-40B4-BE49-F238E27FC236}">
                <a16:creationId xmlns:a16="http://schemas.microsoft.com/office/drawing/2014/main" id="{44F7324B-105C-84BF-B685-3708EC4D3298}"/>
              </a:ext>
            </a:extLst>
          </p:cNvPr>
          <p:cNvSpPr txBox="1"/>
          <p:nvPr/>
        </p:nvSpPr>
        <p:spPr>
          <a:xfrm>
            <a:off x="165090" y="4991273"/>
            <a:ext cx="1304231" cy="36003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b="1" dirty="0">
                <a:solidFill>
                  <a:prstClr val="white"/>
                </a:solidFill>
                <a:latin typeface="Arial"/>
              </a:rPr>
              <a:t>Kombinier-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b="1" dirty="0" err="1">
                <a:solidFill>
                  <a:prstClr val="white"/>
                </a:solidFill>
                <a:latin typeface="Arial"/>
              </a:rPr>
              <a:t>barkeit</a:t>
            </a:r>
            <a:endParaRPr kumimoji="0" lang="de-DE" sz="1200" b="0" i="0" u="none" strike="noStrike" kern="1200" spc="0" normalizeH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8" name="Textfeld 27">
            <a:extLst>
              <a:ext uri="{FF2B5EF4-FFF2-40B4-BE49-F238E27FC236}">
                <a16:creationId xmlns:a16="http://schemas.microsoft.com/office/drawing/2014/main" id="{9EF8C9E2-80FF-0B69-4B72-287FD7FAFA0B}"/>
              </a:ext>
            </a:extLst>
          </p:cNvPr>
          <p:cNvSpPr txBox="1"/>
          <p:nvPr/>
        </p:nvSpPr>
        <p:spPr>
          <a:xfrm>
            <a:off x="210482" y="2790756"/>
            <a:ext cx="1213449" cy="36003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b="1" dirty="0">
                <a:solidFill>
                  <a:prstClr val="white"/>
                </a:solidFill>
                <a:latin typeface="Arial"/>
              </a:rPr>
              <a:t>Finanzierungs-stärke</a:t>
            </a: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0" name="Textfeld 29">
            <a:extLst>
              <a:ext uri="{FF2B5EF4-FFF2-40B4-BE49-F238E27FC236}">
                <a16:creationId xmlns:a16="http://schemas.microsoft.com/office/drawing/2014/main" id="{66C08371-FF8F-41B7-82C3-6F2C584A35B4}"/>
              </a:ext>
            </a:extLst>
          </p:cNvPr>
          <p:cNvSpPr txBox="1"/>
          <p:nvPr/>
        </p:nvSpPr>
        <p:spPr>
          <a:xfrm>
            <a:off x="165090" y="3888826"/>
            <a:ext cx="1304231" cy="36003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b="1" dirty="0">
                <a:solidFill>
                  <a:prstClr val="white"/>
                </a:solidFill>
                <a:latin typeface="Arial"/>
              </a:rPr>
              <a:t>Rechtliche</a:t>
            </a:r>
            <a:r>
              <a:rPr lang="de-DE" sz="1200" b="1" cap="all" dirty="0">
                <a:solidFill>
                  <a:prstClr val="white"/>
                </a:solidFill>
                <a:latin typeface="Arial"/>
              </a:rPr>
              <a:t> </a:t>
            </a:r>
            <a:r>
              <a:rPr lang="de-DE" sz="1200" b="1" dirty="0">
                <a:solidFill>
                  <a:prstClr val="white"/>
                </a:solidFill>
                <a:latin typeface="Arial"/>
              </a:rPr>
              <a:t>Umsetzbarkeit</a:t>
            </a:r>
          </a:p>
        </p:txBody>
      </p:sp>
      <p:pic>
        <p:nvPicPr>
          <p:cNvPr id="50" name="Grafik 49" descr="Kreis mit Pfeil nach links mit einfarbiger Füllung">
            <a:extLst>
              <a:ext uri="{FF2B5EF4-FFF2-40B4-BE49-F238E27FC236}">
                <a16:creationId xmlns:a16="http://schemas.microsoft.com/office/drawing/2014/main" id="{BCA73603-282C-0760-EA9C-5F1495B71F1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rot="5400000">
            <a:off x="1783948" y="2635731"/>
            <a:ext cx="675018" cy="670078"/>
          </a:xfrm>
          <a:prstGeom prst="rect">
            <a:avLst/>
          </a:prstGeom>
        </p:spPr>
      </p:pic>
      <p:pic>
        <p:nvPicPr>
          <p:cNvPr id="51" name="Grafik 50" descr="Kreis mit Pfeil nach links mit einfarbiger Füllung">
            <a:extLst>
              <a:ext uri="{FF2B5EF4-FFF2-40B4-BE49-F238E27FC236}">
                <a16:creationId xmlns:a16="http://schemas.microsoft.com/office/drawing/2014/main" id="{88D80BEE-F7F7-68FB-72BB-F8CDA05F414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rot="7352848">
            <a:off x="7026244" y="2635731"/>
            <a:ext cx="675018" cy="670078"/>
          </a:xfrm>
          <a:prstGeom prst="rect">
            <a:avLst/>
          </a:prstGeom>
        </p:spPr>
      </p:pic>
      <p:pic>
        <p:nvPicPr>
          <p:cNvPr id="52" name="Grafik 51" descr="Kreis mit Pfeil nach links mit einfarbiger Füllung">
            <a:extLst>
              <a:ext uri="{FF2B5EF4-FFF2-40B4-BE49-F238E27FC236}">
                <a16:creationId xmlns:a16="http://schemas.microsoft.com/office/drawing/2014/main" id="{2586AB23-C5AC-51BB-4D00-CB875440009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rot="12310721">
            <a:off x="3533850" y="2633261"/>
            <a:ext cx="670078" cy="675018"/>
          </a:xfrm>
          <a:prstGeom prst="rect">
            <a:avLst/>
          </a:prstGeom>
        </p:spPr>
      </p:pic>
      <p:pic>
        <p:nvPicPr>
          <p:cNvPr id="53" name="Grafik 52" descr="Kreis mit Pfeil nach links mit einfarbiger Füllung">
            <a:extLst>
              <a:ext uri="{FF2B5EF4-FFF2-40B4-BE49-F238E27FC236}">
                <a16:creationId xmlns:a16="http://schemas.microsoft.com/office/drawing/2014/main" id="{F8A2F6A2-2849-675F-F039-207F3B82C32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rot="12310721">
            <a:off x="10558567" y="2633261"/>
            <a:ext cx="670078" cy="675018"/>
          </a:xfrm>
          <a:prstGeom prst="rect">
            <a:avLst/>
          </a:prstGeom>
        </p:spPr>
      </p:pic>
      <p:pic>
        <p:nvPicPr>
          <p:cNvPr id="54" name="Grafik 53" descr="Kreis mit Pfeil nach links mit einfarbiger Füllung">
            <a:extLst>
              <a:ext uri="{FF2B5EF4-FFF2-40B4-BE49-F238E27FC236}">
                <a16:creationId xmlns:a16="http://schemas.microsoft.com/office/drawing/2014/main" id="{D052037E-3883-C091-5591-D3109FE86F3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rot="12310721">
            <a:off x="8789507" y="2633261"/>
            <a:ext cx="670078" cy="675018"/>
          </a:xfrm>
          <a:prstGeom prst="rect">
            <a:avLst/>
          </a:prstGeom>
        </p:spPr>
      </p:pic>
      <p:pic>
        <p:nvPicPr>
          <p:cNvPr id="55" name="Grafik 54" descr="Kreis mit Pfeil nach links mit einfarbiger Füllung">
            <a:extLst>
              <a:ext uri="{FF2B5EF4-FFF2-40B4-BE49-F238E27FC236}">
                <a16:creationId xmlns:a16="http://schemas.microsoft.com/office/drawing/2014/main" id="{F3236509-7617-D1F7-3187-758D3271B80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rot="7352848">
            <a:off x="5278812" y="2635731"/>
            <a:ext cx="675018" cy="670078"/>
          </a:xfrm>
          <a:prstGeom prst="rect">
            <a:avLst/>
          </a:prstGeom>
        </p:spPr>
      </p:pic>
      <p:pic>
        <p:nvPicPr>
          <p:cNvPr id="57" name="Grafik 56" descr="Gericht Silhouette">
            <a:extLst>
              <a:ext uri="{FF2B5EF4-FFF2-40B4-BE49-F238E27FC236}">
                <a16:creationId xmlns:a16="http://schemas.microsoft.com/office/drawing/2014/main" id="{69B031B2-402E-4C44-9E12-C35A4CDB7AB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447861" y="3623156"/>
            <a:ext cx="884846" cy="891370"/>
          </a:xfrm>
          <a:prstGeom prst="rect">
            <a:avLst/>
          </a:prstGeom>
        </p:spPr>
      </p:pic>
      <p:pic>
        <p:nvPicPr>
          <p:cNvPr id="58" name="Grafik 57" descr="Gericht Silhouette">
            <a:extLst>
              <a:ext uri="{FF2B5EF4-FFF2-40B4-BE49-F238E27FC236}">
                <a16:creationId xmlns:a16="http://schemas.microsoft.com/office/drawing/2014/main" id="{98F88EE5-6C0F-4DEE-2942-D0A1C493072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901082" y="3623156"/>
            <a:ext cx="884846" cy="891370"/>
          </a:xfrm>
          <a:prstGeom prst="rect">
            <a:avLst/>
          </a:prstGeom>
        </p:spPr>
      </p:pic>
      <p:sp>
        <p:nvSpPr>
          <p:cNvPr id="59" name="Textfeld 58">
            <a:extLst>
              <a:ext uri="{FF2B5EF4-FFF2-40B4-BE49-F238E27FC236}">
                <a16:creationId xmlns:a16="http://schemas.microsoft.com/office/drawing/2014/main" id="{80CFA471-E718-341E-FED6-AB78AFA8BB90}"/>
              </a:ext>
            </a:extLst>
          </p:cNvPr>
          <p:cNvSpPr txBox="1"/>
          <p:nvPr/>
        </p:nvSpPr>
        <p:spPr>
          <a:xfrm>
            <a:off x="8480462" y="3699433"/>
            <a:ext cx="1272864" cy="720060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 defTabSz="914400" rtl="0" eaLnBrk="1" latinLnBrk="0" hangingPunct="1">
              <a:spcBef>
                <a:spcPts val="500"/>
              </a:spcBef>
            </a:pPr>
            <a:r>
              <a:rPr lang="de-DE" sz="480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§</a:t>
            </a:r>
          </a:p>
        </p:txBody>
      </p:sp>
      <p:pic>
        <p:nvPicPr>
          <p:cNvPr id="60" name="Grafik 59" descr="Gericht Silhouette">
            <a:extLst>
              <a:ext uri="{FF2B5EF4-FFF2-40B4-BE49-F238E27FC236}">
                <a16:creationId xmlns:a16="http://schemas.microsoft.com/office/drawing/2014/main" id="{042B70A8-E34D-6601-E2CA-30B77CDE47F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159154" y="3623156"/>
            <a:ext cx="884846" cy="891370"/>
          </a:xfrm>
          <a:prstGeom prst="rect">
            <a:avLst/>
          </a:prstGeom>
        </p:spPr>
      </p:pic>
      <p:pic>
        <p:nvPicPr>
          <p:cNvPr id="61" name="Grafik 60" descr="Gericht Silhouette">
            <a:extLst>
              <a:ext uri="{FF2B5EF4-FFF2-40B4-BE49-F238E27FC236}">
                <a16:creationId xmlns:a16="http://schemas.microsoft.com/office/drawing/2014/main" id="{BF7701A3-A243-AC19-12C6-F73612CC687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679034" y="3623156"/>
            <a:ext cx="884846" cy="891370"/>
          </a:xfrm>
          <a:prstGeom prst="rect">
            <a:avLst/>
          </a:prstGeom>
        </p:spPr>
      </p:pic>
      <p:pic>
        <p:nvPicPr>
          <p:cNvPr id="62" name="Grafik 61" descr="Gericht Silhouette">
            <a:extLst>
              <a:ext uri="{FF2B5EF4-FFF2-40B4-BE49-F238E27FC236}">
                <a16:creationId xmlns:a16="http://schemas.microsoft.com/office/drawing/2014/main" id="{1A6BAA0D-710C-E74E-7EBD-91754392106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450941" y="3623156"/>
            <a:ext cx="884846" cy="891370"/>
          </a:xfrm>
          <a:prstGeom prst="rect">
            <a:avLst/>
          </a:prstGeom>
        </p:spPr>
      </p:pic>
      <p:pic>
        <p:nvPicPr>
          <p:cNvPr id="66" name="Grafik 65" descr="Marke folgen Silhouette">
            <a:extLst>
              <a:ext uri="{FF2B5EF4-FFF2-40B4-BE49-F238E27FC236}">
                <a16:creationId xmlns:a16="http://schemas.microsoft.com/office/drawing/2014/main" id="{CFD0E004-B8C0-2201-38B2-BE5D4896687A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524298" y="4822543"/>
            <a:ext cx="715108" cy="720380"/>
          </a:xfrm>
          <a:prstGeom prst="rect">
            <a:avLst/>
          </a:prstGeom>
        </p:spPr>
      </p:pic>
      <p:pic>
        <p:nvPicPr>
          <p:cNvPr id="67" name="Grafik 66" descr="Marke folgen Silhouette">
            <a:extLst>
              <a:ext uri="{FF2B5EF4-FFF2-40B4-BE49-F238E27FC236}">
                <a16:creationId xmlns:a16="http://schemas.microsoft.com/office/drawing/2014/main" id="{DE9E1676-0879-B5F7-C108-0C37CBAD9BBC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8772976" y="4822543"/>
            <a:ext cx="715108" cy="720380"/>
          </a:xfrm>
          <a:prstGeom prst="rect">
            <a:avLst/>
          </a:prstGeom>
        </p:spPr>
      </p:pic>
      <p:pic>
        <p:nvPicPr>
          <p:cNvPr id="68" name="Grafik 67" descr="Markee nicht mehr folgen Silhouette">
            <a:extLst>
              <a:ext uri="{FF2B5EF4-FFF2-40B4-BE49-F238E27FC236}">
                <a16:creationId xmlns:a16="http://schemas.microsoft.com/office/drawing/2014/main" id="{C93B6D5D-56DF-FD8E-56EC-7B9357C72EB1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7018894" y="4833987"/>
            <a:ext cx="692385" cy="697490"/>
          </a:xfrm>
          <a:prstGeom prst="rect">
            <a:avLst/>
          </a:prstGeom>
        </p:spPr>
      </p:pic>
      <p:pic>
        <p:nvPicPr>
          <p:cNvPr id="69" name="Grafik 68" descr="Markee nicht mehr folgen Silhouette">
            <a:extLst>
              <a:ext uri="{FF2B5EF4-FFF2-40B4-BE49-F238E27FC236}">
                <a16:creationId xmlns:a16="http://schemas.microsoft.com/office/drawing/2014/main" id="{4A59C18D-B57B-1C76-7A1D-A0EB90D46E80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5267857" y="4845431"/>
            <a:ext cx="692385" cy="697490"/>
          </a:xfrm>
          <a:prstGeom prst="rect">
            <a:avLst/>
          </a:prstGeom>
        </p:spPr>
      </p:pic>
      <p:pic>
        <p:nvPicPr>
          <p:cNvPr id="70" name="Grafik 69" descr="Marke folgen Silhouette">
            <a:extLst>
              <a:ext uri="{FF2B5EF4-FFF2-40B4-BE49-F238E27FC236}">
                <a16:creationId xmlns:a16="http://schemas.microsoft.com/office/drawing/2014/main" id="{2196A7CD-4B9E-48C6-C88C-6F9D639CA4E8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3535809" y="4833986"/>
            <a:ext cx="715108" cy="720380"/>
          </a:xfrm>
          <a:prstGeom prst="rect">
            <a:avLst/>
          </a:prstGeom>
        </p:spPr>
      </p:pic>
      <p:pic>
        <p:nvPicPr>
          <p:cNvPr id="4" name="Grafik 3" descr="Kreis mit Pfeil nach links mit einfarbiger Füllung">
            <a:extLst>
              <a:ext uri="{FF2B5EF4-FFF2-40B4-BE49-F238E27FC236}">
                <a16:creationId xmlns:a16="http://schemas.microsoft.com/office/drawing/2014/main" id="{085A2E74-EC17-2479-D6D1-AF4FD36C75E2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 rot="5400000">
            <a:off x="1783948" y="6029777"/>
            <a:ext cx="675018" cy="670078"/>
          </a:xfrm>
          <a:prstGeom prst="rect">
            <a:avLst/>
          </a:prstGeom>
        </p:spPr>
      </p:pic>
      <p:pic>
        <p:nvPicPr>
          <p:cNvPr id="5" name="Grafik 4" descr="Kreis mit Pfeil nach links mit einfarbiger Füllung">
            <a:extLst>
              <a:ext uri="{FF2B5EF4-FFF2-40B4-BE49-F238E27FC236}">
                <a16:creationId xmlns:a16="http://schemas.microsoft.com/office/drawing/2014/main" id="{F268B55A-8DC0-02C3-6CE7-0B88A2D35E60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 rot="16200000">
            <a:off x="5278192" y="6029778"/>
            <a:ext cx="675018" cy="670078"/>
          </a:xfrm>
          <a:prstGeom prst="rect">
            <a:avLst/>
          </a:prstGeom>
        </p:spPr>
      </p:pic>
      <p:pic>
        <p:nvPicPr>
          <p:cNvPr id="6" name="Grafik 5" descr="Kreis mit Pfeil nach links mit einfarbiger Füllung">
            <a:extLst>
              <a:ext uri="{FF2B5EF4-FFF2-40B4-BE49-F238E27FC236}">
                <a16:creationId xmlns:a16="http://schemas.microsoft.com/office/drawing/2014/main" id="{89601EBF-BF03-00D4-7A1A-99DFC2554877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 rot="16200000">
            <a:off x="3555854" y="6029778"/>
            <a:ext cx="675018" cy="670078"/>
          </a:xfrm>
          <a:prstGeom prst="rect">
            <a:avLst/>
          </a:prstGeom>
        </p:spPr>
      </p:pic>
      <p:pic>
        <p:nvPicPr>
          <p:cNvPr id="7" name="Grafik 6" descr="Kreis mit Pfeil nach links mit einfarbiger Füllung">
            <a:extLst>
              <a:ext uri="{FF2B5EF4-FFF2-40B4-BE49-F238E27FC236}">
                <a16:creationId xmlns:a16="http://schemas.microsoft.com/office/drawing/2014/main" id="{2D10E779-CC79-FA3A-2B1F-C5E98665B7FF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 rot="16200000">
            <a:off x="7026244" y="6029778"/>
            <a:ext cx="675018" cy="670078"/>
          </a:xfrm>
          <a:prstGeom prst="rect">
            <a:avLst/>
          </a:prstGeom>
        </p:spPr>
      </p:pic>
      <p:pic>
        <p:nvPicPr>
          <p:cNvPr id="8" name="Grafik 7" descr="Kreis mit Pfeil nach links mit einfarbiger Füllung">
            <a:extLst>
              <a:ext uri="{FF2B5EF4-FFF2-40B4-BE49-F238E27FC236}">
                <a16:creationId xmlns:a16="http://schemas.microsoft.com/office/drawing/2014/main" id="{52A8AF05-84FE-F185-648C-8BDFD261B205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 rot="5400000">
            <a:off x="8795166" y="6029777"/>
            <a:ext cx="675018" cy="670078"/>
          </a:xfrm>
          <a:prstGeom prst="rect">
            <a:avLst/>
          </a:prstGeom>
        </p:spPr>
      </p:pic>
      <p:pic>
        <p:nvPicPr>
          <p:cNvPr id="9" name="Grafik 8" descr="Kreis mit Pfeil nach links mit einfarbiger Füllung">
            <a:extLst>
              <a:ext uri="{FF2B5EF4-FFF2-40B4-BE49-F238E27FC236}">
                <a16:creationId xmlns:a16="http://schemas.microsoft.com/office/drawing/2014/main" id="{BAC5D3A4-3D36-6F92-436B-353826435A07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 rot="5400000">
            <a:off x="10544343" y="6029777"/>
            <a:ext cx="675018" cy="670078"/>
          </a:xfrm>
          <a:prstGeom prst="rect">
            <a:avLst/>
          </a:prstGeom>
        </p:spPr>
      </p:pic>
      <p:pic>
        <p:nvPicPr>
          <p:cNvPr id="15" name="Grafik 14" descr="Marke folgen Silhouette">
            <a:extLst>
              <a:ext uri="{FF2B5EF4-FFF2-40B4-BE49-F238E27FC236}">
                <a16:creationId xmlns:a16="http://schemas.microsoft.com/office/drawing/2014/main" id="{08B12296-F226-860E-3248-ACE7A5054184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763903" y="4833986"/>
            <a:ext cx="715108" cy="7203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251245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Rechteck 35">
            <a:extLst>
              <a:ext uri="{FF2B5EF4-FFF2-40B4-BE49-F238E27FC236}">
                <a16:creationId xmlns:a16="http://schemas.microsoft.com/office/drawing/2014/main" id="{6E3C5D43-355B-B4CA-A570-4B239498BA10}"/>
              </a:ext>
            </a:extLst>
          </p:cNvPr>
          <p:cNvSpPr/>
          <p:nvPr/>
        </p:nvSpPr>
        <p:spPr>
          <a:xfrm>
            <a:off x="119684" y="4443278"/>
            <a:ext cx="11680189" cy="2300541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buFontTx/>
              <a:buChar char="–"/>
            </a:pPr>
            <a:endParaRPr lang="de-DE" sz="1600" dirty="0" err="1">
              <a:solidFill>
                <a:schemeClr val="tx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031ED95C-D46B-78B5-C484-934FB3FAA7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>
                <a:solidFill>
                  <a:schemeClr val="accent3"/>
                </a:solidFill>
              </a:rPr>
              <a:t>Parkraumbewirtschaftung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FD36F345-73CB-4631-A20D-870BDF673330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4CFEB0D3-1EB3-4F08-8062-95FFB9749870}" type="slidenum">
              <a:rPr lang="de-DE" smtClean="0"/>
              <a:pPr/>
              <a:t>11</a:t>
            </a:fld>
            <a:endParaRPr lang="de-DE"/>
          </a:p>
        </p:txBody>
      </p:sp>
      <p:sp>
        <p:nvSpPr>
          <p:cNvPr id="6" name="Pfeil: Fünfeck 5">
            <a:extLst>
              <a:ext uri="{FF2B5EF4-FFF2-40B4-BE49-F238E27FC236}">
                <a16:creationId xmlns:a16="http://schemas.microsoft.com/office/drawing/2014/main" id="{6AD65010-34E5-46C4-416F-8B544812F81E}"/>
              </a:ext>
            </a:extLst>
          </p:cNvPr>
          <p:cNvSpPr/>
          <p:nvPr/>
        </p:nvSpPr>
        <p:spPr>
          <a:xfrm>
            <a:off x="197652" y="1030522"/>
            <a:ext cx="1872208" cy="273817"/>
          </a:xfrm>
          <a:prstGeom prst="homePlat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000" b="1" dirty="0">
                <a:solidFill>
                  <a:schemeClr val="tx1"/>
                </a:solidFill>
              </a:rPr>
              <a:t>Finanzierungslücke</a:t>
            </a:r>
          </a:p>
        </p:txBody>
      </p:sp>
      <p:sp>
        <p:nvSpPr>
          <p:cNvPr id="7" name="Pfeil: Chevron 6">
            <a:extLst>
              <a:ext uri="{FF2B5EF4-FFF2-40B4-BE49-F238E27FC236}">
                <a16:creationId xmlns:a16="http://schemas.microsoft.com/office/drawing/2014/main" id="{7F485D27-24CB-7FBC-DDC9-3DB2F5ADA5C5}"/>
              </a:ext>
            </a:extLst>
          </p:cNvPr>
          <p:cNvSpPr/>
          <p:nvPr/>
        </p:nvSpPr>
        <p:spPr>
          <a:xfrm>
            <a:off x="4184091" y="1030522"/>
            <a:ext cx="1872208" cy="273817"/>
          </a:xfrm>
          <a:prstGeom prst="chevron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000" b="1" dirty="0">
                <a:solidFill>
                  <a:schemeClr val="tx1"/>
                </a:solidFill>
              </a:rPr>
              <a:t>Ausblick</a:t>
            </a:r>
          </a:p>
        </p:txBody>
      </p:sp>
      <p:sp>
        <p:nvSpPr>
          <p:cNvPr id="8" name="Pfeil: Chevron 7">
            <a:extLst>
              <a:ext uri="{FF2B5EF4-FFF2-40B4-BE49-F238E27FC236}">
                <a16:creationId xmlns:a16="http://schemas.microsoft.com/office/drawing/2014/main" id="{B8007AEC-BBBF-49B3-0C0F-CB066587DB82}"/>
              </a:ext>
            </a:extLst>
          </p:cNvPr>
          <p:cNvSpPr/>
          <p:nvPr/>
        </p:nvSpPr>
        <p:spPr>
          <a:xfrm>
            <a:off x="2190871" y="1030522"/>
            <a:ext cx="1872208" cy="273817"/>
          </a:xfrm>
          <a:prstGeom prst="chevron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000" b="1" dirty="0">
                <a:solidFill>
                  <a:schemeClr val="tx1"/>
                </a:solidFill>
              </a:rPr>
              <a:t>Lösungsansätze</a:t>
            </a:r>
          </a:p>
        </p:txBody>
      </p:sp>
      <p:pic>
        <p:nvPicPr>
          <p:cNvPr id="20" name="Grafik 19" descr="Ein Bild, das Schwarz, Dunkelheit enthält.">
            <a:extLst>
              <a:ext uri="{FF2B5EF4-FFF2-40B4-BE49-F238E27FC236}">
                <a16:creationId xmlns:a16="http://schemas.microsoft.com/office/drawing/2014/main" id="{2CD3B6AE-BD09-F31C-BA92-6F6ED28EBBF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272464" y="239962"/>
            <a:ext cx="1618841" cy="416686"/>
          </a:xfrm>
          <a:prstGeom prst="rect">
            <a:avLst/>
          </a:prstGeom>
        </p:spPr>
      </p:pic>
      <p:sp>
        <p:nvSpPr>
          <p:cNvPr id="12" name="Rechteck 11">
            <a:extLst>
              <a:ext uri="{FF2B5EF4-FFF2-40B4-BE49-F238E27FC236}">
                <a16:creationId xmlns:a16="http://schemas.microsoft.com/office/drawing/2014/main" id="{64BCD622-F3B4-219A-F85F-9D55ECEE469D}"/>
              </a:ext>
            </a:extLst>
          </p:cNvPr>
          <p:cNvSpPr/>
          <p:nvPr/>
        </p:nvSpPr>
        <p:spPr>
          <a:xfrm>
            <a:off x="1055439" y="1556792"/>
            <a:ext cx="10744433" cy="2520280"/>
          </a:xfrm>
          <a:prstGeom prst="rect">
            <a:avLst/>
          </a:prstGeom>
          <a:solidFill>
            <a:srgbClr val="00838A">
              <a:alpha val="70000"/>
            </a:srgb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1600" b="1" dirty="0">
                <a:solidFill>
                  <a:schemeClr val="bg1"/>
                </a:solidFill>
                <a:latin typeface="Arial"/>
              </a:rPr>
              <a:t>Parkraumbewirtschaftung</a:t>
            </a:r>
          </a:p>
          <a:p>
            <a:r>
              <a:rPr lang="de-DE" sz="1200" dirty="0">
                <a:solidFill>
                  <a:schemeClr val="bg1"/>
                </a:solidFill>
                <a:latin typeface="Arial"/>
              </a:rPr>
              <a:t>Einführung oder Anhebung der Parkgebühren auf öffentlichen Stellplätzen </a:t>
            </a:r>
          </a:p>
        </p:txBody>
      </p:sp>
      <p:sp>
        <p:nvSpPr>
          <p:cNvPr id="13" name="Rechteck: abgerundete Ecken 12">
            <a:extLst>
              <a:ext uri="{FF2B5EF4-FFF2-40B4-BE49-F238E27FC236}">
                <a16:creationId xmlns:a16="http://schemas.microsoft.com/office/drawing/2014/main" id="{B7361C2B-1910-E6EE-7576-58287789CF9D}"/>
              </a:ext>
            </a:extLst>
          </p:cNvPr>
          <p:cNvSpPr/>
          <p:nvPr/>
        </p:nvSpPr>
        <p:spPr>
          <a:xfrm>
            <a:off x="119684" y="2131834"/>
            <a:ext cx="1860667" cy="554787"/>
          </a:xfrm>
          <a:prstGeom prst="roundRect">
            <a:avLst/>
          </a:prstGeom>
          <a:solidFill>
            <a:schemeClr val="accent1">
              <a:alpha val="7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900" b="1" dirty="0">
                <a:solidFill>
                  <a:schemeClr val="bg1"/>
                </a:solidFill>
                <a:latin typeface="Arial"/>
              </a:rPr>
              <a:t>Finanzierungs-</a:t>
            </a:r>
          </a:p>
          <a:p>
            <a:r>
              <a:rPr lang="de-DE" sz="900" b="1" dirty="0">
                <a:solidFill>
                  <a:schemeClr val="bg1"/>
                </a:solidFill>
                <a:latin typeface="Arial"/>
              </a:rPr>
              <a:t>stärke</a:t>
            </a:r>
          </a:p>
        </p:txBody>
      </p:sp>
      <p:sp>
        <p:nvSpPr>
          <p:cNvPr id="14" name="Rechteck: abgerundete Ecken 13">
            <a:extLst>
              <a:ext uri="{FF2B5EF4-FFF2-40B4-BE49-F238E27FC236}">
                <a16:creationId xmlns:a16="http://schemas.microsoft.com/office/drawing/2014/main" id="{71FBFC2E-226F-36E8-04FB-4515BAFEF4B4}"/>
              </a:ext>
            </a:extLst>
          </p:cNvPr>
          <p:cNvSpPr/>
          <p:nvPr/>
        </p:nvSpPr>
        <p:spPr>
          <a:xfrm>
            <a:off x="119336" y="2738408"/>
            <a:ext cx="1864438" cy="665293"/>
          </a:xfrm>
          <a:prstGeom prst="roundRect">
            <a:avLst/>
          </a:prstGeom>
          <a:solidFill>
            <a:schemeClr val="accent3">
              <a:alpha val="7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900" b="1" dirty="0">
                <a:solidFill>
                  <a:schemeClr val="bg1"/>
                </a:solidFill>
                <a:latin typeface="Arial"/>
              </a:rPr>
              <a:t>Rechtliche</a:t>
            </a:r>
          </a:p>
          <a:p>
            <a:r>
              <a:rPr lang="de-DE" sz="900" b="1" dirty="0">
                <a:solidFill>
                  <a:schemeClr val="bg1"/>
                </a:solidFill>
                <a:latin typeface="Arial"/>
              </a:rPr>
              <a:t>Umsetzbarkeit</a:t>
            </a:r>
          </a:p>
        </p:txBody>
      </p:sp>
      <p:sp>
        <p:nvSpPr>
          <p:cNvPr id="15" name="Rechteck: abgerundete Ecken 14">
            <a:extLst>
              <a:ext uri="{FF2B5EF4-FFF2-40B4-BE49-F238E27FC236}">
                <a16:creationId xmlns:a16="http://schemas.microsoft.com/office/drawing/2014/main" id="{18584FF3-7C08-8594-E360-B1E12182ADF1}"/>
              </a:ext>
            </a:extLst>
          </p:cNvPr>
          <p:cNvSpPr/>
          <p:nvPr/>
        </p:nvSpPr>
        <p:spPr>
          <a:xfrm>
            <a:off x="119336" y="3473023"/>
            <a:ext cx="1878516" cy="554400"/>
          </a:xfrm>
          <a:prstGeom prst="roundRect">
            <a:avLst/>
          </a:prstGeom>
          <a:solidFill>
            <a:schemeClr val="accent3">
              <a:lumMod val="75000"/>
              <a:alpha val="7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900" b="1" dirty="0">
                <a:solidFill>
                  <a:schemeClr val="bg1"/>
                </a:solidFill>
                <a:latin typeface="Arial"/>
              </a:rPr>
              <a:t>Kombinier-</a:t>
            </a:r>
          </a:p>
          <a:p>
            <a:r>
              <a:rPr lang="de-DE" sz="900" b="1" dirty="0" err="1">
                <a:solidFill>
                  <a:schemeClr val="bg1"/>
                </a:solidFill>
                <a:latin typeface="Arial"/>
              </a:rPr>
              <a:t>barkeit</a:t>
            </a:r>
            <a:endParaRPr lang="de-DE" sz="900" b="1" dirty="0">
              <a:solidFill>
                <a:schemeClr val="bg1"/>
              </a:solidFill>
              <a:latin typeface="Arial"/>
            </a:endParaRPr>
          </a:p>
        </p:txBody>
      </p:sp>
      <p:pic>
        <p:nvPicPr>
          <p:cNvPr id="16" name="Grafik 15" descr="Kreis mit Pfeil nach links mit einfarbiger Füllung">
            <a:extLst>
              <a:ext uri="{FF2B5EF4-FFF2-40B4-BE49-F238E27FC236}">
                <a16:creationId xmlns:a16="http://schemas.microsoft.com/office/drawing/2014/main" id="{C1753486-1BBF-3CB6-EBC4-3174ED58121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rot="12310721">
            <a:off x="1218059" y="2169627"/>
            <a:ext cx="476246" cy="479200"/>
          </a:xfrm>
          <a:prstGeom prst="rect">
            <a:avLst/>
          </a:prstGeom>
        </p:spPr>
      </p:pic>
      <p:sp>
        <p:nvSpPr>
          <p:cNvPr id="17" name="Textfeld 16">
            <a:extLst>
              <a:ext uri="{FF2B5EF4-FFF2-40B4-BE49-F238E27FC236}">
                <a16:creationId xmlns:a16="http://schemas.microsoft.com/office/drawing/2014/main" id="{F35D2916-6ADB-F486-4A61-79807CCF2508}"/>
              </a:ext>
            </a:extLst>
          </p:cNvPr>
          <p:cNvSpPr txBox="1"/>
          <p:nvPr/>
        </p:nvSpPr>
        <p:spPr>
          <a:xfrm>
            <a:off x="798825" y="2855611"/>
            <a:ext cx="1307269" cy="43088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 defTabSz="914400" rtl="0" eaLnBrk="1" latinLnBrk="0" hangingPunct="1">
              <a:spcBef>
                <a:spcPts val="500"/>
              </a:spcBef>
            </a:pPr>
            <a:r>
              <a:rPr lang="de-DE" sz="280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§</a:t>
            </a:r>
          </a:p>
        </p:txBody>
      </p:sp>
      <p:pic>
        <p:nvPicPr>
          <p:cNvPr id="18" name="Grafik 17" descr="Marke folgen Silhouette">
            <a:extLst>
              <a:ext uri="{FF2B5EF4-FFF2-40B4-BE49-F238E27FC236}">
                <a16:creationId xmlns:a16="http://schemas.microsoft.com/office/drawing/2014/main" id="{B878EBFC-6E55-4DE7-07F8-7D300BC3AEB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92589" y="3488739"/>
            <a:ext cx="519745" cy="522969"/>
          </a:xfrm>
          <a:prstGeom prst="rect">
            <a:avLst/>
          </a:prstGeom>
        </p:spPr>
      </p:pic>
      <p:sp>
        <p:nvSpPr>
          <p:cNvPr id="41" name="Rechteck: abgerundete Ecken 40">
            <a:extLst>
              <a:ext uri="{FF2B5EF4-FFF2-40B4-BE49-F238E27FC236}">
                <a16:creationId xmlns:a16="http://schemas.microsoft.com/office/drawing/2014/main" id="{3B449DE7-44E4-4448-5D35-237F32228D32}"/>
              </a:ext>
            </a:extLst>
          </p:cNvPr>
          <p:cNvSpPr/>
          <p:nvPr/>
        </p:nvSpPr>
        <p:spPr>
          <a:xfrm>
            <a:off x="2077155" y="2131834"/>
            <a:ext cx="9650711" cy="554787"/>
          </a:xfrm>
          <a:prstGeom prst="roundRect">
            <a:avLst/>
          </a:prstGeom>
          <a:solidFill>
            <a:schemeClr val="accent1">
              <a:alpha val="7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360000" lvl="1" indent="-285750" algn="just">
              <a:spcBef>
                <a:spcPts val="500"/>
              </a:spcBef>
              <a:buFont typeface="Arial" panose="020B0604020202020204" pitchFamily="34" charset="0"/>
              <a:buChar char="•"/>
            </a:pPr>
            <a:r>
              <a:rPr lang="de-DE" sz="1200" kern="1200" dirty="0">
                <a:latin typeface="+mn-lt"/>
                <a:ea typeface="+mn-ea"/>
                <a:cs typeface="+mn-cs"/>
              </a:rPr>
              <a:t>Anhebung der Parkgebühren unter Beachtung des Äquivalenzprinzips möglich; dem steht jedoch ein Kontrollaufwand zur effektiven Durchsetzung entgegen </a:t>
            </a:r>
          </a:p>
        </p:txBody>
      </p:sp>
      <p:sp>
        <p:nvSpPr>
          <p:cNvPr id="42" name="Rechteck: abgerundete Ecken 41">
            <a:extLst>
              <a:ext uri="{FF2B5EF4-FFF2-40B4-BE49-F238E27FC236}">
                <a16:creationId xmlns:a16="http://schemas.microsoft.com/office/drawing/2014/main" id="{CC43373B-3058-0EEE-37E0-35581C70B485}"/>
              </a:ext>
            </a:extLst>
          </p:cNvPr>
          <p:cNvSpPr/>
          <p:nvPr/>
        </p:nvSpPr>
        <p:spPr>
          <a:xfrm>
            <a:off x="2077155" y="2738408"/>
            <a:ext cx="9650711" cy="665293"/>
          </a:xfrm>
          <a:prstGeom prst="roundRect">
            <a:avLst/>
          </a:prstGeom>
          <a:solidFill>
            <a:schemeClr val="accent3">
              <a:alpha val="7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360000" lvl="1" indent="-285750" algn="just">
              <a:spcBef>
                <a:spcPts val="500"/>
              </a:spcBef>
              <a:buFont typeface="Arial" panose="020B0604020202020204" pitchFamily="34" charset="0"/>
              <a:buChar char="•"/>
            </a:pPr>
            <a:r>
              <a:rPr lang="de-DE" sz="1200" dirty="0"/>
              <a:t>Ermächtigungsgrundlage </a:t>
            </a:r>
            <a:r>
              <a:rPr lang="de-DE" sz="1200" dirty="0" err="1"/>
              <a:t>grds</a:t>
            </a:r>
            <a:r>
              <a:rPr lang="de-DE" sz="1200" dirty="0"/>
              <a:t>. beim Land; in vielen Bundesländern Ermächtigungsgrundlage der Kommunen</a:t>
            </a:r>
          </a:p>
          <a:p>
            <a:pPr marL="360000" lvl="1" indent="-285750" algn="just">
              <a:spcBef>
                <a:spcPts val="500"/>
              </a:spcBef>
              <a:buFont typeface="Arial" panose="020B0604020202020204" pitchFamily="34" charset="0"/>
              <a:buChar char="•"/>
            </a:pPr>
            <a:r>
              <a:rPr lang="de-DE" sz="1200" dirty="0"/>
              <a:t>Weiterer kommunaler Ausgestaltungsspielraum hinsichtlich der zu bewirtschafteten Flächen zuletzt im Bundesrat gescheitert</a:t>
            </a:r>
          </a:p>
        </p:txBody>
      </p:sp>
      <p:sp>
        <p:nvSpPr>
          <p:cNvPr id="43" name="Rechteck: abgerundete Ecken 42">
            <a:extLst>
              <a:ext uri="{FF2B5EF4-FFF2-40B4-BE49-F238E27FC236}">
                <a16:creationId xmlns:a16="http://schemas.microsoft.com/office/drawing/2014/main" id="{CE2045C8-F8EC-E325-3242-CB32B4C445D2}"/>
              </a:ext>
            </a:extLst>
          </p:cNvPr>
          <p:cNvSpPr/>
          <p:nvPr/>
        </p:nvSpPr>
        <p:spPr>
          <a:xfrm>
            <a:off x="2077155" y="3473023"/>
            <a:ext cx="9650710" cy="554400"/>
          </a:xfrm>
          <a:prstGeom prst="roundRect">
            <a:avLst/>
          </a:prstGeom>
          <a:solidFill>
            <a:schemeClr val="accent3">
              <a:lumMod val="75000"/>
              <a:alpha val="7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360000" indent="-284400">
              <a:spcBef>
                <a:spcPts val="500"/>
              </a:spcBef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bg1"/>
                </a:solidFill>
                <a:latin typeface="Arial"/>
              </a:rPr>
              <a:t>Gute Kombinierbarkeit darf nicht zu einer zu starken Belastung von </a:t>
            </a:r>
            <a:r>
              <a:rPr lang="de-DE" sz="1200" dirty="0" err="1">
                <a:solidFill>
                  <a:schemeClr val="bg1"/>
                </a:solidFill>
                <a:latin typeface="Arial"/>
              </a:rPr>
              <a:t>Pkw-Nutzer:innen</a:t>
            </a:r>
            <a:r>
              <a:rPr lang="de-DE" sz="1200" dirty="0">
                <a:solidFill>
                  <a:schemeClr val="bg1"/>
                </a:solidFill>
                <a:latin typeface="Arial"/>
              </a:rPr>
              <a:t> führen (z.B. Kombination City-Maut mit innerstädtischer Parkraumbewirtschaftung)</a:t>
            </a:r>
          </a:p>
        </p:txBody>
      </p:sp>
      <p:cxnSp>
        <p:nvCxnSpPr>
          <p:cNvPr id="11" name="Gerade Verbindung 62">
            <a:extLst>
              <a:ext uri="{FF2B5EF4-FFF2-40B4-BE49-F238E27FC236}">
                <a16:creationId xmlns:a16="http://schemas.microsoft.com/office/drawing/2014/main" id="{9B6D3AC7-213D-1698-05E1-38860BBF1E6D}"/>
              </a:ext>
            </a:extLst>
          </p:cNvPr>
          <p:cNvCxnSpPr>
            <a:cxnSpLocks/>
          </p:cNvCxnSpPr>
          <p:nvPr/>
        </p:nvCxnSpPr>
        <p:spPr>
          <a:xfrm>
            <a:off x="5159896" y="4583579"/>
            <a:ext cx="0" cy="2085781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p:style>
      </p:cxnSp>
      <p:sp>
        <p:nvSpPr>
          <p:cNvPr id="22" name="Rechteck 21">
            <a:extLst>
              <a:ext uri="{FF2B5EF4-FFF2-40B4-BE49-F238E27FC236}">
                <a16:creationId xmlns:a16="http://schemas.microsoft.com/office/drawing/2014/main" id="{18F869CE-9FAE-F362-DE06-B553AFA36136}"/>
              </a:ext>
            </a:extLst>
          </p:cNvPr>
          <p:cNvSpPr/>
          <p:nvPr/>
        </p:nvSpPr>
        <p:spPr>
          <a:xfrm>
            <a:off x="407368" y="4584843"/>
            <a:ext cx="4521250" cy="230054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400" b="1" dirty="0">
                <a:solidFill>
                  <a:schemeClr val="bg1"/>
                </a:solidFill>
              </a:rPr>
              <a:t>Aktuelle Bestrebungen</a:t>
            </a:r>
          </a:p>
          <a:p>
            <a:pPr algn="ctr"/>
            <a:endParaRPr lang="de-DE" sz="1200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200" b="1" dirty="0">
                <a:solidFill>
                  <a:schemeClr val="bg1"/>
                </a:solidFill>
              </a:rPr>
              <a:t>Rechtsgrundlage</a:t>
            </a:r>
            <a:r>
              <a:rPr lang="de-DE" sz="1200" dirty="0">
                <a:solidFill>
                  <a:schemeClr val="bg1"/>
                </a:solidFill>
              </a:rPr>
              <a:t> des § 6a Abs. 5 a S. 5 StVG ermöglicht Anhebung Parkgebühren </a:t>
            </a:r>
            <a:r>
              <a:rPr lang="de-DE" sz="1200" dirty="0" err="1">
                <a:solidFill>
                  <a:schemeClr val="bg1"/>
                </a:solidFill>
              </a:rPr>
              <a:t>grds</a:t>
            </a:r>
            <a:r>
              <a:rPr lang="de-DE" sz="1200" dirty="0">
                <a:solidFill>
                  <a:schemeClr val="bg1"/>
                </a:solidFill>
              </a:rPr>
              <a:t>. durch die Länd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200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bg1"/>
                </a:solidFill>
              </a:rPr>
              <a:t>Viele Länder haben Verordnungsermächtigung an </a:t>
            </a:r>
            <a:r>
              <a:rPr lang="de-DE" sz="1200" b="1" dirty="0">
                <a:solidFill>
                  <a:schemeClr val="bg1"/>
                </a:solidFill>
              </a:rPr>
              <a:t>Kommune</a:t>
            </a:r>
            <a:r>
              <a:rPr lang="de-DE" sz="1200" dirty="0">
                <a:solidFill>
                  <a:schemeClr val="bg1"/>
                </a:solidFill>
              </a:rPr>
              <a:t> abgegeben</a:t>
            </a:r>
          </a:p>
          <a:p>
            <a:endParaRPr lang="de-DE" sz="1200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200" b="1" dirty="0">
                <a:solidFill>
                  <a:schemeClr val="bg1"/>
                </a:solidFill>
              </a:rPr>
              <a:t>Anhebung</a:t>
            </a:r>
            <a:r>
              <a:rPr lang="de-DE" sz="1200" dirty="0">
                <a:solidFill>
                  <a:schemeClr val="bg1"/>
                </a:solidFill>
              </a:rPr>
              <a:t> Parkgebühren </a:t>
            </a:r>
            <a:r>
              <a:rPr lang="de-DE" sz="1200" dirty="0" err="1">
                <a:solidFill>
                  <a:schemeClr val="bg1"/>
                </a:solidFill>
              </a:rPr>
              <a:t>grds</a:t>
            </a:r>
            <a:r>
              <a:rPr lang="de-DE" sz="1200" dirty="0">
                <a:solidFill>
                  <a:schemeClr val="bg1"/>
                </a:solidFill>
              </a:rPr>
              <a:t>. möglich </a:t>
            </a:r>
          </a:p>
          <a:p>
            <a:endParaRPr lang="de-DE" sz="1600" dirty="0">
              <a:solidFill>
                <a:schemeClr val="bg1"/>
              </a:solidFill>
            </a:endParaRPr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6B8A3873-C487-76F3-2F54-45C1D6C5D937}"/>
              </a:ext>
            </a:extLst>
          </p:cNvPr>
          <p:cNvSpPr/>
          <p:nvPr/>
        </p:nvSpPr>
        <p:spPr>
          <a:xfrm>
            <a:off x="5303912" y="4583579"/>
            <a:ext cx="6264683" cy="230054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400" b="1" dirty="0">
                <a:solidFill>
                  <a:schemeClr val="bg1"/>
                </a:solidFill>
              </a:rPr>
              <a:t>Rechtsentwicklung</a:t>
            </a:r>
          </a:p>
          <a:p>
            <a:pPr algn="ctr"/>
            <a:endParaRPr lang="de-DE" sz="1200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bg1"/>
                </a:solidFill>
              </a:rPr>
              <a:t>Rechtsgrundlage ermöglicht </a:t>
            </a:r>
            <a:r>
              <a:rPr lang="de-DE" sz="1200" b="1" dirty="0" err="1">
                <a:solidFill>
                  <a:schemeClr val="bg1"/>
                </a:solidFill>
              </a:rPr>
              <a:t>Einpreisung</a:t>
            </a:r>
            <a:r>
              <a:rPr lang="de-DE" sz="1200" b="1" dirty="0">
                <a:solidFill>
                  <a:schemeClr val="bg1"/>
                </a:solidFill>
              </a:rPr>
              <a:t> des wirtschaftlichen Werts </a:t>
            </a:r>
            <a:r>
              <a:rPr lang="de-DE" sz="1200" dirty="0">
                <a:solidFill>
                  <a:schemeClr val="bg1"/>
                </a:solidFill>
              </a:rPr>
              <a:t>eines Parkplatzes</a:t>
            </a:r>
          </a:p>
          <a:p>
            <a:endParaRPr lang="de-DE" sz="1200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200" b="1" dirty="0">
                <a:solidFill>
                  <a:schemeClr val="bg1"/>
                </a:solidFill>
              </a:rPr>
              <a:t>Ermittlung</a:t>
            </a:r>
            <a:r>
              <a:rPr lang="de-DE" sz="1200" dirty="0">
                <a:solidFill>
                  <a:schemeClr val="bg1"/>
                </a:solidFill>
              </a:rPr>
              <a:t> des wirtschaftlichen Werts anhand Vergleiches mit privat vermieteten Stellplätzen möglich</a:t>
            </a:r>
          </a:p>
          <a:p>
            <a:endParaRPr lang="de-DE" sz="1200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200" b="1" dirty="0">
                <a:solidFill>
                  <a:schemeClr val="bg1"/>
                </a:solidFill>
              </a:rPr>
              <a:t>Staffelung</a:t>
            </a:r>
            <a:r>
              <a:rPr lang="de-DE" sz="1200" dirty="0">
                <a:solidFill>
                  <a:schemeClr val="bg1"/>
                </a:solidFill>
              </a:rPr>
              <a:t> anhand Fahrzeuglänge kann </a:t>
            </a:r>
            <a:r>
              <a:rPr lang="de-DE" sz="1200" b="1" dirty="0">
                <a:solidFill>
                  <a:schemeClr val="bg1"/>
                </a:solidFill>
              </a:rPr>
              <a:t>unverhältnismäßig</a:t>
            </a:r>
            <a:r>
              <a:rPr lang="de-DE" sz="1200" dirty="0">
                <a:solidFill>
                  <a:schemeClr val="bg1"/>
                </a:solidFill>
              </a:rPr>
              <a:t> sein, wenn geringer Unterschied starken Gebührensprung verursacht</a:t>
            </a:r>
          </a:p>
          <a:p>
            <a:endParaRPr lang="de-DE" sz="16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0360451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31ED95C-D46B-78B5-C484-934FB3FAA7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>
                <a:solidFill>
                  <a:schemeClr val="accent3"/>
                </a:solidFill>
              </a:rPr>
              <a:t>City-maut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FD36F345-73CB-4631-A20D-870BDF673330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4CFEB0D3-1EB3-4F08-8062-95FFB9749870}" type="slidenum">
              <a:rPr lang="de-DE" smtClean="0"/>
              <a:pPr/>
              <a:t>12</a:t>
            </a:fld>
            <a:endParaRPr lang="de-DE"/>
          </a:p>
        </p:txBody>
      </p:sp>
      <p:sp>
        <p:nvSpPr>
          <p:cNvPr id="6" name="Pfeil: Fünfeck 5">
            <a:extLst>
              <a:ext uri="{FF2B5EF4-FFF2-40B4-BE49-F238E27FC236}">
                <a16:creationId xmlns:a16="http://schemas.microsoft.com/office/drawing/2014/main" id="{6AD65010-34E5-46C4-416F-8B544812F81E}"/>
              </a:ext>
            </a:extLst>
          </p:cNvPr>
          <p:cNvSpPr/>
          <p:nvPr/>
        </p:nvSpPr>
        <p:spPr>
          <a:xfrm>
            <a:off x="125644" y="994943"/>
            <a:ext cx="1872208" cy="273817"/>
          </a:xfrm>
          <a:prstGeom prst="homePlat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000" b="1" dirty="0">
                <a:solidFill>
                  <a:schemeClr val="tx1"/>
                </a:solidFill>
              </a:rPr>
              <a:t>Finanzierungslücke</a:t>
            </a:r>
          </a:p>
        </p:txBody>
      </p:sp>
      <p:sp>
        <p:nvSpPr>
          <p:cNvPr id="7" name="Pfeil: Chevron 6">
            <a:extLst>
              <a:ext uri="{FF2B5EF4-FFF2-40B4-BE49-F238E27FC236}">
                <a16:creationId xmlns:a16="http://schemas.microsoft.com/office/drawing/2014/main" id="{7F485D27-24CB-7FBC-DDC9-3DB2F5ADA5C5}"/>
              </a:ext>
            </a:extLst>
          </p:cNvPr>
          <p:cNvSpPr/>
          <p:nvPr/>
        </p:nvSpPr>
        <p:spPr>
          <a:xfrm>
            <a:off x="4112083" y="994943"/>
            <a:ext cx="1872208" cy="273817"/>
          </a:xfrm>
          <a:prstGeom prst="chevron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000" b="1" dirty="0">
                <a:solidFill>
                  <a:schemeClr val="tx1"/>
                </a:solidFill>
              </a:rPr>
              <a:t>Ausblick</a:t>
            </a:r>
          </a:p>
        </p:txBody>
      </p:sp>
      <p:sp>
        <p:nvSpPr>
          <p:cNvPr id="8" name="Pfeil: Chevron 7">
            <a:extLst>
              <a:ext uri="{FF2B5EF4-FFF2-40B4-BE49-F238E27FC236}">
                <a16:creationId xmlns:a16="http://schemas.microsoft.com/office/drawing/2014/main" id="{B8007AEC-BBBF-49B3-0C0F-CB066587DB82}"/>
              </a:ext>
            </a:extLst>
          </p:cNvPr>
          <p:cNvSpPr/>
          <p:nvPr/>
        </p:nvSpPr>
        <p:spPr>
          <a:xfrm>
            <a:off x="2118863" y="994943"/>
            <a:ext cx="1872208" cy="273817"/>
          </a:xfrm>
          <a:prstGeom prst="chevron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000" b="1" dirty="0">
                <a:solidFill>
                  <a:schemeClr val="tx1"/>
                </a:solidFill>
              </a:rPr>
              <a:t>Lösungsansätze</a:t>
            </a:r>
          </a:p>
        </p:txBody>
      </p:sp>
      <p:pic>
        <p:nvPicPr>
          <p:cNvPr id="20" name="Grafik 19" descr="Ein Bild, das Schwarz, Dunkelheit enthält.">
            <a:extLst>
              <a:ext uri="{FF2B5EF4-FFF2-40B4-BE49-F238E27FC236}">
                <a16:creationId xmlns:a16="http://schemas.microsoft.com/office/drawing/2014/main" id="{2CD3B6AE-BD09-F31C-BA92-6F6ED28EBBF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309807" y="239962"/>
            <a:ext cx="1618841" cy="416686"/>
          </a:xfrm>
          <a:prstGeom prst="rect">
            <a:avLst/>
          </a:prstGeom>
        </p:spPr>
      </p:pic>
      <p:sp>
        <p:nvSpPr>
          <p:cNvPr id="12" name="Rechteck 11">
            <a:extLst>
              <a:ext uri="{FF2B5EF4-FFF2-40B4-BE49-F238E27FC236}">
                <a16:creationId xmlns:a16="http://schemas.microsoft.com/office/drawing/2014/main" id="{64BCD622-F3B4-219A-F85F-9D55ECEE469D}"/>
              </a:ext>
            </a:extLst>
          </p:cNvPr>
          <p:cNvSpPr/>
          <p:nvPr/>
        </p:nvSpPr>
        <p:spPr>
          <a:xfrm>
            <a:off x="1058856" y="1525473"/>
            <a:ext cx="10725776" cy="2623607"/>
          </a:xfrm>
          <a:prstGeom prst="rect">
            <a:avLst/>
          </a:prstGeom>
          <a:solidFill>
            <a:srgbClr val="00838A">
              <a:alpha val="70000"/>
            </a:srgb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1600" b="1" dirty="0">
                <a:solidFill>
                  <a:schemeClr val="bg1"/>
                </a:solidFill>
                <a:latin typeface="Arial"/>
              </a:rPr>
              <a:t>City-Maut</a:t>
            </a:r>
          </a:p>
          <a:p>
            <a:r>
              <a:rPr lang="de-DE" sz="1200" dirty="0">
                <a:solidFill>
                  <a:schemeClr val="bg1"/>
                </a:solidFill>
                <a:latin typeface="Arial"/>
              </a:rPr>
              <a:t>Flächenbezogene Bemautung des innerstädtischen Bereichs, bei Einfahrt wird eine Gebühr erhoben</a:t>
            </a:r>
          </a:p>
        </p:txBody>
      </p:sp>
      <p:sp>
        <p:nvSpPr>
          <p:cNvPr id="13" name="Rechteck: abgerundete Ecken 12">
            <a:extLst>
              <a:ext uri="{FF2B5EF4-FFF2-40B4-BE49-F238E27FC236}">
                <a16:creationId xmlns:a16="http://schemas.microsoft.com/office/drawing/2014/main" id="{B7361C2B-1910-E6EE-7576-58287789CF9D}"/>
              </a:ext>
            </a:extLst>
          </p:cNvPr>
          <p:cNvSpPr/>
          <p:nvPr/>
        </p:nvSpPr>
        <p:spPr>
          <a:xfrm>
            <a:off x="119684" y="2056601"/>
            <a:ext cx="1860667" cy="568670"/>
          </a:xfrm>
          <a:prstGeom prst="roundRect">
            <a:avLst/>
          </a:prstGeom>
          <a:solidFill>
            <a:schemeClr val="accent1">
              <a:alpha val="7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900" b="1" dirty="0">
                <a:solidFill>
                  <a:schemeClr val="bg1"/>
                </a:solidFill>
                <a:latin typeface="Arial"/>
              </a:rPr>
              <a:t>Finanzierungs-</a:t>
            </a:r>
          </a:p>
          <a:p>
            <a:r>
              <a:rPr lang="de-DE" sz="900" b="1" dirty="0">
                <a:solidFill>
                  <a:schemeClr val="bg1"/>
                </a:solidFill>
                <a:latin typeface="Arial"/>
              </a:rPr>
              <a:t>stärke</a:t>
            </a:r>
          </a:p>
        </p:txBody>
      </p:sp>
      <p:sp>
        <p:nvSpPr>
          <p:cNvPr id="14" name="Rechteck: abgerundete Ecken 13">
            <a:extLst>
              <a:ext uri="{FF2B5EF4-FFF2-40B4-BE49-F238E27FC236}">
                <a16:creationId xmlns:a16="http://schemas.microsoft.com/office/drawing/2014/main" id="{71FBFC2E-226F-36E8-04FB-4515BAFEF4B4}"/>
              </a:ext>
            </a:extLst>
          </p:cNvPr>
          <p:cNvSpPr/>
          <p:nvPr/>
        </p:nvSpPr>
        <p:spPr>
          <a:xfrm>
            <a:off x="119336" y="2678355"/>
            <a:ext cx="1864438" cy="771450"/>
          </a:xfrm>
          <a:prstGeom prst="roundRect">
            <a:avLst/>
          </a:prstGeom>
          <a:solidFill>
            <a:schemeClr val="accent3">
              <a:alpha val="7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900" b="1" dirty="0">
                <a:solidFill>
                  <a:schemeClr val="bg1"/>
                </a:solidFill>
                <a:latin typeface="Arial"/>
              </a:rPr>
              <a:t>Rechtliche</a:t>
            </a:r>
          </a:p>
          <a:p>
            <a:r>
              <a:rPr lang="de-DE" sz="900" b="1" dirty="0">
                <a:solidFill>
                  <a:schemeClr val="bg1"/>
                </a:solidFill>
                <a:latin typeface="Arial"/>
              </a:rPr>
              <a:t>Umsetzbarkeit</a:t>
            </a:r>
          </a:p>
        </p:txBody>
      </p:sp>
      <p:sp>
        <p:nvSpPr>
          <p:cNvPr id="15" name="Rechteck: abgerundete Ecken 14">
            <a:extLst>
              <a:ext uri="{FF2B5EF4-FFF2-40B4-BE49-F238E27FC236}">
                <a16:creationId xmlns:a16="http://schemas.microsoft.com/office/drawing/2014/main" id="{18584FF3-7C08-8594-E360-B1E12182ADF1}"/>
              </a:ext>
            </a:extLst>
          </p:cNvPr>
          <p:cNvSpPr/>
          <p:nvPr/>
        </p:nvSpPr>
        <p:spPr>
          <a:xfrm>
            <a:off x="133415" y="3501107"/>
            <a:ext cx="1864437" cy="568273"/>
          </a:xfrm>
          <a:prstGeom prst="roundRect">
            <a:avLst/>
          </a:prstGeom>
          <a:solidFill>
            <a:schemeClr val="accent3">
              <a:lumMod val="75000"/>
              <a:alpha val="7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900" b="1" dirty="0">
                <a:solidFill>
                  <a:schemeClr val="bg1"/>
                </a:solidFill>
                <a:latin typeface="Arial"/>
              </a:rPr>
              <a:t>Kombinier-</a:t>
            </a:r>
          </a:p>
          <a:p>
            <a:r>
              <a:rPr lang="de-DE" sz="900" b="1" dirty="0" err="1">
                <a:solidFill>
                  <a:schemeClr val="bg1"/>
                </a:solidFill>
                <a:latin typeface="Arial"/>
              </a:rPr>
              <a:t>barkeit</a:t>
            </a:r>
            <a:endParaRPr lang="de-DE" sz="900" b="1" dirty="0">
              <a:solidFill>
                <a:schemeClr val="bg1"/>
              </a:solidFill>
              <a:latin typeface="Arial"/>
            </a:endParaRPr>
          </a:p>
        </p:txBody>
      </p:sp>
      <p:pic>
        <p:nvPicPr>
          <p:cNvPr id="16" name="Grafik 15" descr="Kreis mit Pfeil nach links mit einfarbiger Füllung">
            <a:extLst>
              <a:ext uri="{FF2B5EF4-FFF2-40B4-BE49-F238E27FC236}">
                <a16:creationId xmlns:a16="http://schemas.microsoft.com/office/drawing/2014/main" id="{C1753486-1BBF-3CB6-EBC4-3174ED58121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rot="12310721">
            <a:off x="1218059" y="2095341"/>
            <a:ext cx="476246" cy="491191"/>
          </a:xfrm>
          <a:prstGeom prst="rect">
            <a:avLst/>
          </a:prstGeom>
        </p:spPr>
      </p:pic>
      <p:pic>
        <p:nvPicPr>
          <p:cNvPr id="18" name="Grafik 17" descr="Marke folgen Silhouette">
            <a:extLst>
              <a:ext uri="{FF2B5EF4-FFF2-40B4-BE49-F238E27FC236}">
                <a16:creationId xmlns:a16="http://schemas.microsoft.com/office/drawing/2014/main" id="{B878EBFC-6E55-4DE7-07F8-7D300BC3AEB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96310" y="3517216"/>
            <a:ext cx="519745" cy="536055"/>
          </a:xfrm>
          <a:prstGeom prst="rect">
            <a:avLst/>
          </a:prstGeom>
        </p:spPr>
      </p:pic>
      <p:sp>
        <p:nvSpPr>
          <p:cNvPr id="41" name="Rechteck: abgerundete Ecken 40">
            <a:extLst>
              <a:ext uri="{FF2B5EF4-FFF2-40B4-BE49-F238E27FC236}">
                <a16:creationId xmlns:a16="http://schemas.microsoft.com/office/drawing/2014/main" id="{3B449DE7-44E4-4448-5D35-237F32228D32}"/>
              </a:ext>
            </a:extLst>
          </p:cNvPr>
          <p:cNvSpPr/>
          <p:nvPr/>
        </p:nvSpPr>
        <p:spPr>
          <a:xfrm>
            <a:off x="2077155" y="2056601"/>
            <a:ext cx="9650711" cy="568670"/>
          </a:xfrm>
          <a:prstGeom prst="roundRect">
            <a:avLst/>
          </a:prstGeom>
          <a:solidFill>
            <a:schemeClr val="accent1">
              <a:alpha val="7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360000" lvl="1" indent="-285750" algn="just">
              <a:spcBef>
                <a:spcPts val="500"/>
              </a:spcBef>
              <a:buFont typeface="Arial" panose="020B0604020202020204" pitchFamily="34" charset="0"/>
              <a:buChar char="•"/>
            </a:pPr>
            <a:r>
              <a:rPr lang="de-DE" sz="1200" kern="1200" dirty="0">
                <a:latin typeface="+mn-lt"/>
                <a:ea typeface="+mn-ea"/>
                <a:cs typeface="+mn-cs"/>
              </a:rPr>
              <a:t>Hohen Einnahmen steht ein anfänglich hoher Errichtungsaufwand und sich ggf. ergebende Verdrängungseffekte gegenüber </a:t>
            </a:r>
          </a:p>
        </p:txBody>
      </p:sp>
      <p:sp>
        <p:nvSpPr>
          <p:cNvPr id="42" name="Rechteck: abgerundete Ecken 41">
            <a:extLst>
              <a:ext uri="{FF2B5EF4-FFF2-40B4-BE49-F238E27FC236}">
                <a16:creationId xmlns:a16="http://schemas.microsoft.com/office/drawing/2014/main" id="{CC43373B-3058-0EEE-37E0-35581C70B485}"/>
              </a:ext>
            </a:extLst>
          </p:cNvPr>
          <p:cNvSpPr/>
          <p:nvPr/>
        </p:nvSpPr>
        <p:spPr>
          <a:xfrm>
            <a:off x="2077155" y="2678355"/>
            <a:ext cx="9650711" cy="771450"/>
          </a:xfrm>
          <a:prstGeom prst="roundRect">
            <a:avLst/>
          </a:prstGeom>
          <a:solidFill>
            <a:schemeClr val="accent3">
              <a:alpha val="7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360000" lvl="1" indent="-285750" algn="just">
              <a:spcBef>
                <a:spcPts val="500"/>
              </a:spcBef>
              <a:buFont typeface="Arial" panose="020B0604020202020204" pitchFamily="34" charset="0"/>
              <a:buChar char="•"/>
            </a:pPr>
            <a:r>
              <a:rPr lang="de-DE" sz="1200" dirty="0"/>
              <a:t>Keine hinreichende Rechtsgrundlage</a:t>
            </a:r>
          </a:p>
          <a:p>
            <a:pPr marL="360000" lvl="1" indent="-285750" algn="just">
              <a:spcBef>
                <a:spcPts val="500"/>
              </a:spcBef>
              <a:buFont typeface="Arial" panose="020B0604020202020204" pitchFamily="34" charset="0"/>
              <a:buChar char="•"/>
            </a:pPr>
            <a:r>
              <a:rPr lang="de-DE" sz="1200" dirty="0"/>
              <a:t>Die Länder können außerhalb von Bundesfernstraßen eine Rechtsgrundlage schaffen</a:t>
            </a:r>
          </a:p>
          <a:p>
            <a:pPr marL="360000" lvl="1" indent="-285750" algn="just">
              <a:spcBef>
                <a:spcPts val="500"/>
              </a:spcBef>
              <a:buFont typeface="Arial" panose="020B0604020202020204" pitchFamily="34" charset="0"/>
              <a:buChar char="•"/>
            </a:pPr>
            <a:r>
              <a:rPr lang="de-DE" sz="1200" dirty="0"/>
              <a:t>Bei Schaffung einer Rechtsgrundlage sind der Gleichheitsgrundsatz (Art. 3 GG) sowie Datenschutzaspekte zu berücksichtigen   </a:t>
            </a:r>
          </a:p>
        </p:txBody>
      </p:sp>
      <p:sp>
        <p:nvSpPr>
          <p:cNvPr id="43" name="Rechteck: abgerundete Ecken 42">
            <a:extLst>
              <a:ext uri="{FF2B5EF4-FFF2-40B4-BE49-F238E27FC236}">
                <a16:creationId xmlns:a16="http://schemas.microsoft.com/office/drawing/2014/main" id="{CE2045C8-F8EC-E325-3242-CB32B4C445D2}"/>
              </a:ext>
            </a:extLst>
          </p:cNvPr>
          <p:cNvSpPr/>
          <p:nvPr/>
        </p:nvSpPr>
        <p:spPr>
          <a:xfrm>
            <a:off x="2077155" y="3501107"/>
            <a:ext cx="9650710" cy="568273"/>
          </a:xfrm>
          <a:prstGeom prst="roundRect">
            <a:avLst/>
          </a:prstGeom>
          <a:solidFill>
            <a:schemeClr val="accent3">
              <a:lumMod val="75000"/>
              <a:alpha val="7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360000" indent="-284400">
              <a:spcBef>
                <a:spcPts val="500"/>
              </a:spcBef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bg1"/>
                </a:solidFill>
                <a:latin typeface="Arial"/>
              </a:rPr>
              <a:t>Kombinierbarkeit mit anderen Finanzierungsmaßnahmen zu Lasten von </a:t>
            </a:r>
            <a:r>
              <a:rPr lang="de-DE" sz="1200" dirty="0" err="1">
                <a:solidFill>
                  <a:schemeClr val="bg1"/>
                </a:solidFill>
                <a:latin typeface="Arial"/>
              </a:rPr>
              <a:t>Pkw-Nutzer:innen</a:t>
            </a:r>
            <a:r>
              <a:rPr lang="de-DE" sz="1200" dirty="0">
                <a:solidFill>
                  <a:schemeClr val="bg1"/>
                </a:solidFill>
                <a:latin typeface="Arial"/>
              </a:rPr>
              <a:t> schwer</a:t>
            </a:r>
          </a:p>
          <a:p>
            <a:pPr marL="360000" indent="-284400">
              <a:spcBef>
                <a:spcPts val="500"/>
              </a:spcBef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bg1"/>
                </a:solidFill>
                <a:latin typeface="Arial"/>
              </a:rPr>
              <a:t>Kombinierbarkeit zu Maßnahmen, die hochunabhängig von der individuellen Mobilitätsnutzung sind hoch</a:t>
            </a:r>
          </a:p>
        </p:txBody>
      </p:sp>
      <p:pic>
        <p:nvPicPr>
          <p:cNvPr id="4" name="Grafik 3" descr="Gericht Silhouette">
            <a:extLst>
              <a:ext uri="{FF2B5EF4-FFF2-40B4-BE49-F238E27FC236}">
                <a16:creationId xmlns:a16="http://schemas.microsoft.com/office/drawing/2014/main" id="{B5E098B6-0159-1882-9025-1047C9FC21EC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175406" y="2774492"/>
            <a:ext cx="561554" cy="579176"/>
          </a:xfrm>
          <a:prstGeom prst="rect">
            <a:avLst/>
          </a:prstGeom>
        </p:spPr>
      </p:pic>
      <p:sp>
        <p:nvSpPr>
          <p:cNvPr id="19" name="Rechteck 18">
            <a:extLst>
              <a:ext uri="{FF2B5EF4-FFF2-40B4-BE49-F238E27FC236}">
                <a16:creationId xmlns:a16="http://schemas.microsoft.com/office/drawing/2014/main" id="{2472AC23-F5DA-A4E7-10B2-E65501D8E1BC}"/>
              </a:ext>
            </a:extLst>
          </p:cNvPr>
          <p:cNvSpPr/>
          <p:nvPr/>
        </p:nvSpPr>
        <p:spPr>
          <a:xfrm>
            <a:off x="133415" y="4365104"/>
            <a:ext cx="11651217" cy="2376264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buFontTx/>
              <a:buChar char="–"/>
            </a:pPr>
            <a:endParaRPr lang="de-DE" sz="1600" dirty="0" err="1">
              <a:solidFill>
                <a:schemeClr val="tx1"/>
              </a:solidFill>
            </a:endParaRPr>
          </a:p>
        </p:txBody>
      </p:sp>
      <p:cxnSp>
        <p:nvCxnSpPr>
          <p:cNvPr id="21" name="Gerade Verbindung 62">
            <a:extLst>
              <a:ext uri="{FF2B5EF4-FFF2-40B4-BE49-F238E27FC236}">
                <a16:creationId xmlns:a16="http://schemas.microsoft.com/office/drawing/2014/main" id="{C376BD11-DCAF-ADF2-6182-47455B8E35FC}"/>
              </a:ext>
            </a:extLst>
          </p:cNvPr>
          <p:cNvCxnSpPr>
            <a:cxnSpLocks/>
          </p:cNvCxnSpPr>
          <p:nvPr/>
        </p:nvCxnSpPr>
        <p:spPr>
          <a:xfrm>
            <a:off x="5159896" y="4498741"/>
            <a:ext cx="0" cy="2098611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p:style>
      </p:cxnSp>
      <p:sp>
        <p:nvSpPr>
          <p:cNvPr id="22" name="Rechteck 21">
            <a:extLst>
              <a:ext uri="{FF2B5EF4-FFF2-40B4-BE49-F238E27FC236}">
                <a16:creationId xmlns:a16="http://schemas.microsoft.com/office/drawing/2014/main" id="{CD3D16C3-1F36-AED0-D9AF-D1917C4034BB}"/>
              </a:ext>
            </a:extLst>
          </p:cNvPr>
          <p:cNvSpPr/>
          <p:nvPr/>
        </p:nvSpPr>
        <p:spPr>
          <a:xfrm>
            <a:off x="407368" y="4498741"/>
            <a:ext cx="4521250" cy="216908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400" b="1" dirty="0">
                <a:solidFill>
                  <a:schemeClr val="bg1"/>
                </a:solidFill>
              </a:rPr>
              <a:t>Aktuelle Bestrebungen</a:t>
            </a:r>
          </a:p>
          <a:p>
            <a:pPr algn="ctr"/>
            <a:endParaRPr lang="de-DE" sz="1200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bg1"/>
                </a:solidFill>
              </a:rPr>
              <a:t>Trotz mangelnder Rechtsgrundlage gibt es Bestrebungen in der </a:t>
            </a:r>
            <a:r>
              <a:rPr lang="de-DE" sz="1200" b="1" dirty="0">
                <a:solidFill>
                  <a:schemeClr val="bg1"/>
                </a:solidFill>
              </a:rPr>
              <a:t>Politik</a:t>
            </a:r>
            <a:r>
              <a:rPr lang="de-DE" sz="1200" dirty="0">
                <a:solidFill>
                  <a:schemeClr val="bg1"/>
                </a:solidFill>
              </a:rPr>
              <a:t> Umsetzungsvarianten zur City-Maut zu prüfen</a:t>
            </a:r>
          </a:p>
          <a:p>
            <a:endParaRPr lang="de-DE" sz="1200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bg1"/>
                </a:solidFill>
              </a:rPr>
              <a:t>Diese begründen sich in neueren Ansätzen zur </a:t>
            </a:r>
            <a:r>
              <a:rPr lang="de-DE" sz="1200" b="1" dirty="0">
                <a:solidFill>
                  <a:schemeClr val="bg1"/>
                </a:solidFill>
              </a:rPr>
              <a:t>fairen Verteilung des öffentlichen Raums </a:t>
            </a:r>
            <a:r>
              <a:rPr lang="de-DE" sz="1200" dirty="0">
                <a:solidFill>
                  <a:schemeClr val="bg1"/>
                </a:solidFill>
              </a:rPr>
              <a:t>und dem Gedanken der sog. Nutznießer (von einem aufgebauten ÖPNV profitieren auch Autofahrer durch leerere Straßen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200" dirty="0">
              <a:solidFill>
                <a:schemeClr val="bg1"/>
              </a:solidFill>
            </a:endParaRPr>
          </a:p>
          <a:p>
            <a:endParaRPr lang="de-DE" sz="1600" dirty="0">
              <a:solidFill>
                <a:schemeClr val="bg1"/>
              </a:solidFill>
            </a:endParaRPr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930C1187-7527-F4B8-2208-31D6F13D69F6}"/>
              </a:ext>
            </a:extLst>
          </p:cNvPr>
          <p:cNvSpPr/>
          <p:nvPr/>
        </p:nvSpPr>
        <p:spPr>
          <a:xfrm>
            <a:off x="5303912" y="4497477"/>
            <a:ext cx="6264683" cy="216908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400" b="1" dirty="0">
                <a:solidFill>
                  <a:schemeClr val="bg1"/>
                </a:solidFill>
              </a:rPr>
              <a:t>Rechtsentwicklung</a:t>
            </a:r>
          </a:p>
          <a:p>
            <a:pPr algn="ctr"/>
            <a:endParaRPr lang="de-DE" sz="1200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bg1"/>
                </a:solidFill>
              </a:rPr>
              <a:t>EuGH-Urteil zur Maut auf Bundesautobahnen spielt im Bereich der City-Maut keine Rolle</a:t>
            </a:r>
          </a:p>
          <a:p>
            <a:endParaRPr lang="de-DE" sz="1200" dirty="0">
              <a:solidFill>
                <a:schemeClr val="bg1"/>
              </a:solidFill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bg1"/>
                </a:solidFill>
              </a:rPr>
              <a:t>EU-Rechtsverstoß beruht darauf, dass die Maut als diskriminierend eingestuft wurde, da sie de facto nur von Haltern und Fahrer in anderen Mitgliedsstaaten zugelassener Fahrzeuge erhoben werden sollte</a:t>
            </a:r>
          </a:p>
          <a:p>
            <a:pPr lvl="1"/>
            <a:endParaRPr lang="de-DE" sz="1200" dirty="0">
              <a:solidFill>
                <a:schemeClr val="bg1"/>
              </a:solidFill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bg1"/>
                </a:solidFill>
              </a:rPr>
              <a:t>Halter und Fahrer in Deutschland zugelassener Fahrzeuge sollten eine gezahlte Maut über eine Absenkung der Kfz-Steuer kompensieren können </a:t>
            </a:r>
          </a:p>
          <a:p>
            <a:endParaRPr lang="de-DE" sz="16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8538029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31ED95C-D46B-78B5-C484-934FB3FAA7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>
                <a:solidFill>
                  <a:schemeClr val="accent3"/>
                </a:solidFill>
              </a:rPr>
              <a:t>ÖPNV-Grundbeitrag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FD36F345-73CB-4631-A20D-870BDF673330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4CFEB0D3-1EB3-4F08-8062-95FFB9749870}" type="slidenum">
              <a:rPr lang="de-DE" smtClean="0"/>
              <a:pPr/>
              <a:t>13</a:t>
            </a:fld>
            <a:endParaRPr lang="de-DE"/>
          </a:p>
        </p:txBody>
      </p:sp>
      <p:sp>
        <p:nvSpPr>
          <p:cNvPr id="6" name="Pfeil: Fünfeck 5">
            <a:extLst>
              <a:ext uri="{FF2B5EF4-FFF2-40B4-BE49-F238E27FC236}">
                <a16:creationId xmlns:a16="http://schemas.microsoft.com/office/drawing/2014/main" id="{6AD65010-34E5-46C4-416F-8B544812F81E}"/>
              </a:ext>
            </a:extLst>
          </p:cNvPr>
          <p:cNvSpPr/>
          <p:nvPr/>
        </p:nvSpPr>
        <p:spPr>
          <a:xfrm>
            <a:off x="205335" y="1001043"/>
            <a:ext cx="1872208" cy="273817"/>
          </a:xfrm>
          <a:prstGeom prst="homePlat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000" b="1" dirty="0">
                <a:solidFill>
                  <a:schemeClr val="tx1"/>
                </a:solidFill>
              </a:rPr>
              <a:t>Finanzierungslücke</a:t>
            </a:r>
          </a:p>
        </p:txBody>
      </p:sp>
      <p:sp>
        <p:nvSpPr>
          <p:cNvPr id="7" name="Pfeil: Chevron 6">
            <a:extLst>
              <a:ext uri="{FF2B5EF4-FFF2-40B4-BE49-F238E27FC236}">
                <a16:creationId xmlns:a16="http://schemas.microsoft.com/office/drawing/2014/main" id="{7F485D27-24CB-7FBC-DDC9-3DB2F5ADA5C5}"/>
              </a:ext>
            </a:extLst>
          </p:cNvPr>
          <p:cNvSpPr/>
          <p:nvPr/>
        </p:nvSpPr>
        <p:spPr>
          <a:xfrm>
            <a:off x="4191774" y="1001043"/>
            <a:ext cx="1872208" cy="273817"/>
          </a:xfrm>
          <a:prstGeom prst="chevron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000" b="1" dirty="0">
                <a:solidFill>
                  <a:schemeClr val="tx1"/>
                </a:solidFill>
              </a:rPr>
              <a:t>Ausblick</a:t>
            </a:r>
          </a:p>
        </p:txBody>
      </p:sp>
      <p:sp>
        <p:nvSpPr>
          <p:cNvPr id="8" name="Pfeil: Chevron 7">
            <a:extLst>
              <a:ext uri="{FF2B5EF4-FFF2-40B4-BE49-F238E27FC236}">
                <a16:creationId xmlns:a16="http://schemas.microsoft.com/office/drawing/2014/main" id="{B8007AEC-BBBF-49B3-0C0F-CB066587DB82}"/>
              </a:ext>
            </a:extLst>
          </p:cNvPr>
          <p:cNvSpPr/>
          <p:nvPr/>
        </p:nvSpPr>
        <p:spPr>
          <a:xfrm>
            <a:off x="2198554" y="1001043"/>
            <a:ext cx="1872208" cy="273817"/>
          </a:xfrm>
          <a:prstGeom prst="chevron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000" b="1" dirty="0">
                <a:solidFill>
                  <a:schemeClr val="tx1"/>
                </a:solidFill>
              </a:rPr>
              <a:t>Lösungsansätze</a:t>
            </a:r>
          </a:p>
        </p:txBody>
      </p:sp>
      <p:pic>
        <p:nvPicPr>
          <p:cNvPr id="20" name="Grafik 19" descr="Ein Bild, das Schwarz, Dunkelheit enthält.">
            <a:extLst>
              <a:ext uri="{FF2B5EF4-FFF2-40B4-BE49-F238E27FC236}">
                <a16:creationId xmlns:a16="http://schemas.microsoft.com/office/drawing/2014/main" id="{2CD3B6AE-BD09-F31C-BA92-6F6ED28EBBF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309807" y="239962"/>
            <a:ext cx="1618841" cy="416686"/>
          </a:xfrm>
          <a:prstGeom prst="rect">
            <a:avLst/>
          </a:prstGeom>
        </p:spPr>
      </p:pic>
      <p:sp>
        <p:nvSpPr>
          <p:cNvPr id="12" name="Rechteck 11">
            <a:extLst>
              <a:ext uri="{FF2B5EF4-FFF2-40B4-BE49-F238E27FC236}">
                <a16:creationId xmlns:a16="http://schemas.microsoft.com/office/drawing/2014/main" id="{64BCD622-F3B4-219A-F85F-9D55ECEE469D}"/>
              </a:ext>
            </a:extLst>
          </p:cNvPr>
          <p:cNvSpPr/>
          <p:nvPr/>
        </p:nvSpPr>
        <p:spPr>
          <a:xfrm>
            <a:off x="1125037" y="1556792"/>
            <a:ext cx="10659595" cy="2736304"/>
          </a:xfrm>
          <a:prstGeom prst="rect">
            <a:avLst/>
          </a:prstGeom>
          <a:solidFill>
            <a:srgbClr val="00838A">
              <a:alpha val="70000"/>
            </a:srgb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1600" b="1" dirty="0">
                <a:solidFill>
                  <a:schemeClr val="bg1"/>
                </a:solidFill>
                <a:latin typeface="Arial"/>
              </a:rPr>
              <a:t>ÖPNV-Grundbeitrag</a:t>
            </a:r>
          </a:p>
          <a:p>
            <a:r>
              <a:rPr lang="de-DE" sz="1200" dirty="0">
                <a:solidFill>
                  <a:schemeClr val="bg1"/>
                </a:solidFill>
                <a:latin typeface="Arial"/>
              </a:rPr>
              <a:t>Regelmäßiger Solidarbeitrag aller Bürger zur Etablierung einer Basisfinanzierung zu Gunsten des ÖPNV; Fahrscheinerwerb notwendig</a:t>
            </a:r>
          </a:p>
        </p:txBody>
      </p:sp>
      <p:sp>
        <p:nvSpPr>
          <p:cNvPr id="13" name="Rechteck: abgerundete Ecken 12">
            <a:extLst>
              <a:ext uri="{FF2B5EF4-FFF2-40B4-BE49-F238E27FC236}">
                <a16:creationId xmlns:a16="http://schemas.microsoft.com/office/drawing/2014/main" id="{B7361C2B-1910-E6EE-7576-58287789CF9D}"/>
              </a:ext>
            </a:extLst>
          </p:cNvPr>
          <p:cNvSpPr/>
          <p:nvPr/>
        </p:nvSpPr>
        <p:spPr>
          <a:xfrm>
            <a:off x="191690" y="2110590"/>
            <a:ext cx="1849125" cy="567583"/>
          </a:xfrm>
          <a:prstGeom prst="roundRect">
            <a:avLst/>
          </a:prstGeom>
          <a:solidFill>
            <a:schemeClr val="accent1">
              <a:alpha val="7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900" b="1" dirty="0">
                <a:solidFill>
                  <a:schemeClr val="bg1"/>
                </a:solidFill>
                <a:latin typeface="Arial"/>
              </a:rPr>
              <a:t>Finanzierungs-</a:t>
            </a:r>
          </a:p>
          <a:p>
            <a:r>
              <a:rPr lang="de-DE" sz="900" b="1" dirty="0">
                <a:solidFill>
                  <a:schemeClr val="bg1"/>
                </a:solidFill>
                <a:latin typeface="Arial"/>
              </a:rPr>
              <a:t>stärke</a:t>
            </a:r>
          </a:p>
        </p:txBody>
      </p:sp>
      <p:sp>
        <p:nvSpPr>
          <p:cNvPr id="14" name="Rechteck: abgerundete Ecken 13">
            <a:extLst>
              <a:ext uri="{FF2B5EF4-FFF2-40B4-BE49-F238E27FC236}">
                <a16:creationId xmlns:a16="http://schemas.microsoft.com/office/drawing/2014/main" id="{71FBFC2E-226F-36E8-04FB-4515BAFEF4B4}"/>
              </a:ext>
            </a:extLst>
          </p:cNvPr>
          <p:cNvSpPr/>
          <p:nvPr/>
        </p:nvSpPr>
        <p:spPr>
          <a:xfrm>
            <a:off x="191344" y="2733665"/>
            <a:ext cx="1852873" cy="839351"/>
          </a:xfrm>
          <a:prstGeom prst="roundRect">
            <a:avLst/>
          </a:prstGeom>
          <a:solidFill>
            <a:schemeClr val="accent3">
              <a:alpha val="7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900" b="1" dirty="0">
                <a:solidFill>
                  <a:schemeClr val="bg1"/>
                </a:solidFill>
                <a:latin typeface="Arial"/>
              </a:rPr>
              <a:t>Rechtliche</a:t>
            </a:r>
          </a:p>
          <a:p>
            <a:r>
              <a:rPr lang="de-DE" sz="900" b="1" dirty="0">
                <a:solidFill>
                  <a:schemeClr val="bg1"/>
                </a:solidFill>
                <a:latin typeface="Arial"/>
              </a:rPr>
              <a:t>Umsetzbarkeit</a:t>
            </a:r>
          </a:p>
        </p:txBody>
      </p:sp>
      <p:sp>
        <p:nvSpPr>
          <p:cNvPr id="15" name="Rechteck: abgerundete Ecken 14">
            <a:extLst>
              <a:ext uri="{FF2B5EF4-FFF2-40B4-BE49-F238E27FC236}">
                <a16:creationId xmlns:a16="http://schemas.microsoft.com/office/drawing/2014/main" id="{18584FF3-7C08-8594-E360-B1E12182ADF1}"/>
              </a:ext>
            </a:extLst>
          </p:cNvPr>
          <p:cNvSpPr/>
          <p:nvPr/>
        </p:nvSpPr>
        <p:spPr>
          <a:xfrm>
            <a:off x="205336" y="3633307"/>
            <a:ext cx="1852872" cy="567187"/>
          </a:xfrm>
          <a:prstGeom prst="roundRect">
            <a:avLst/>
          </a:prstGeom>
          <a:solidFill>
            <a:schemeClr val="accent3">
              <a:lumMod val="75000"/>
              <a:alpha val="7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900" b="1" dirty="0">
                <a:solidFill>
                  <a:schemeClr val="bg1"/>
                </a:solidFill>
                <a:latin typeface="Arial"/>
              </a:rPr>
              <a:t>Kombinier-</a:t>
            </a:r>
          </a:p>
          <a:p>
            <a:r>
              <a:rPr lang="de-DE" sz="900" b="1" dirty="0" err="1">
                <a:solidFill>
                  <a:schemeClr val="bg1"/>
                </a:solidFill>
                <a:latin typeface="Arial"/>
              </a:rPr>
              <a:t>barkeit</a:t>
            </a:r>
            <a:endParaRPr lang="de-DE" sz="900" b="1" dirty="0">
              <a:solidFill>
                <a:schemeClr val="bg1"/>
              </a:solidFill>
              <a:latin typeface="Arial"/>
            </a:endParaRPr>
          </a:p>
        </p:txBody>
      </p:sp>
      <p:sp>
        <p:nvSpPr>
          <p:cNvPr id="41" name="Rechteck: abgerundete Ecken 40">
            <a:extLst>
              <a:ext uri="{FF2B5EF4-FFF2-40B4-BE49-F238E27FC236}">
                <a16:creationId xmlns:a16="http://schemas.microsoft.com/office/drawing/2014/main" id="{3B449DE7-44E4-4448-5D35-237F32228D32}"/>
              </a:ext>
            </a:extLst>
          </p:cNvPr>
          <p:cNvSpPr/>
          <p:nvPr/>
        </p:nvSpPr>
        <p:spPr>
          <a:xfrm>
            <a:off x="2137019" y="2110590"/>
            <a:ext cx="9590847" cy="567583"/>
          </a:xfrm>
          <a:prstGeom prst="roundRect">
            <a:avLst/>
          </a:prstGeom>
          <a:solidFill>
            <a:schemeClr val="accent1">
              <a:alpha val="7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360000" lvl="1" indent="-285750" algn="just">
              <a:spcBef>
                <a:spcPts val="500"/>
              </a:spcBef>
              <a:buFont typeface="Arial" panose="020B0604020202020204" pitchFamily="34" charset="0"/>
              <a:buChar char="•"/>
            </a:pPr>
            <a:r>
              <a:rPr lang="de-DE" sz="1200" kern="1200" dirty="0">
                <a:latin typeface="+mn-lt"/>
                <a:ea typeface="+mn-ea"/>
                <a:cs typeface="+mn-cs"/>
              </a:rPr>
              <a:t>Große Zielgruppe der Maßnahme ermöglicht hohe Finanzergiebigkeit</a:t>
            </a:r>
          </a:p>
          <a:p>
            <a:pPr marL="360000" lvl="1" indent="-285750" algn="just">
              <a:spcBef>
                <a:spcPts val="500"/>
              </a:spcBef>
              <a:buFont typeface="Arial" panose="020B0604020202020204" pitchFamily="34" charset="0"/>
              <a:buChar char="•"/>
            </a:pPr>
            <a:r>
              <a:rPr lang="de-DE" sz="1200" dirty="0"/>
              <a:t>Basisfinanzierung möglich</a:t>
            </a:r>
            <a:endParaRPr lang="de-DE" sz="1200" kern="1200" dirty="0">
              <a:latin typeface="+mn-lt"/>
              <a:ea typeface="+mn-ea"/>
              <a:cs typeface="+mn-cs"/>
            </a:endParaRPr>
          </a:p>
        </p:txBody>
      </p:sp>
      <p:sp>
        <p:nvSpPr>
          <p:cNvPr id="42" name="Rechteck: abgerundete Ecken 41">
            <a:extLst>
              <a:ext uri="{FF2B5EF4-FFF2-40B4-BE49-F238E27FC236}">
                <a16:creationId xmlns:a16="http://schemas.microsoft.com/office/drawing/2014/main" id="{CC43373B-3058-0EEE-37E0-35581C70B485}"/>
              </a:ext>
            </a:extLst>
          </p:cNvPr>
          <p:cNvSpPr/>
          <p:nvPr/>
        </p:nvSpPr>
        <p:spPr>
          <a:xfrm>
            <a:off x="2137019" y="2733665"/>
            <a:ext cx="9590847" cy="839350"/>
          </a:xfrm>
          <a:prstGeom prst="roundRect">
            <a:avLst/>
          </a:prstGeom>
          <a:solidFill>
            <a:schemeClr val="accent3">
              <a:alpha val="7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360000" lvl="1" indent="-285750" algn="just">
              <a:spcBef>
                <a:spcPts val="500"/>
              </a:spcBef>
              <a:buFont typeface="Arial" panose="020B0604020202020204" pitchFamily="34" charset="0"/>
              <a:buChar char="•"/>
            </a:pPr>
            <a:r>
              <a:rPr lang="de-DE" sz="1200" dirty="0"/>
              <a:t>Keine hinreichende Rechtsgrundlage</a:t>
            </a:r>
          </a:p>
          <a:p>
            <a:pPr marL="360000" lvl="1" indent="-285750" algn="just">
              <a:spcBef>
                <a:spcPts val="500"/>
              </a:spcBef>
              <a:buFont typeface="Arial" panose="020B0604020202020204" pitchFamily="34" charset="0"/>
              <a:buChar char="•"/>
            </a:pPr>
            <a:r>
              <a:rPr lang="de-DE" sz="1200" dirty="0"/>
              <a:t>Kommunale Abgabengesetze müssten um Beitragstatbestand erweitert werden</a:t>
            </a:r>
          </a:p>
          <a:p>
            <a:pPr marL="360000" lvl="1" indent="-285750" algn="just">
              <a:spcBef>
                <a:spcPts val="500"/>
              </a:spcBef>
              <a:buFont typeface="Arial" panose="020B0604020202020204" pitchFamily="34" charset="0"/>
              <a:buChar char="•"/>
            </a:pPr>
            <a:r>
              <a:rPr lang="de-DE" sz="1200" dirty="0"/>
              <a:t>Darstellung des mittelbareren Nutzens für </a:t>
            </a:r>
            <a:r>
              <a:rPr lang="de-DE" sz="1200" dirty="0" err="1"/>
              <a:t>Nicht-ÖPNV-Nutzer:innen</a:t>
            </a:r>
            <a:endParaRPr lang="de-DE" sz="1200" dirty="0"/>
          </a:p>
        </p:txBody>
      </p:sp>
      <p:sp>
        <p:nvSpPr>
          <p:cNvPr id="43" name="Rechteck: abgerundete Ecken 42">
            <a:extLst>
              <a:ext uri="{FF2B5EF4-FFF2-40B4-BE49-F238E27FC236}">
                <a16:creationId xmlns:a16="http://schemas.microsoft.com/office/drawing/2014/main" id="{CE2045C8-F8EC-E325-3242-CB32B4C445D2}"/>
              </a:ext>
            </a:extLst>
          </p:cNvPr>
          <p:cNvSpPr/>
          <p:nvPr/>
        </p:nvSpPr>
        <p:spPr>
          <a:xfrm>
            <a:off x="2137020" y="3633307"/>
            <a:ext cx="9590846" cy="567187"/>
          </a:xfrm>
          <a:prstGeom prst="roundRect">
            <a:avLst/>
          </a:prstGeom>
          <a:solidFill>
            <a:schemeClr val="accent3">
              <a:lumMod val="75000"/>
              <a:alpha val="7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360000" indent="-284400">
              <a:spcBef>
                <a:spcPts val="500"/>
              </a:spcBef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bg1"/>
                </a:solidFill>
                <a:latin typeface="Arial"/>
              </a:rPr>
              <a:t>Kombinierbarkeit mit anderen Finanzierungsmaßnahmen </a:t>
            </a:r>
            <a:r>
              <a:rPr lang="de-DE" sz="1200" dirty="0" err="1">
                <a:solidFill>
                  <a:schemeClr val="bg1"/>
                </a:solidFill>
                <a:latin typeface="Arial"/>
              </a:rPr>
              <a:t>grds</a:t>
            </a:r>
            <a:r>
              <a:rPr lang="de-DE" sz="1200" dirty="0">
                <a:solidFill>
                  <a:schemeClr val="bg1"/>
                </a:solidFill>
                <a:latin typeface="Arial"/>
              </a:rPr>
              <a:t>. hoch, da eine Belastung unabhängig zur Nutzung erfolgt</a:t>
            </a:r>
          </a:p>
        </p:txBody>
      </p:sp>
      <p:pic>
        <p:nvPicPr>
          <p:cNvPr id="4" name="Grafik 3" descr="Gericht Silhouette">
            <a:extLst>
              <a:ext uri="{FF2B5EF4-FFF2-40B4-BE49-F238E27FC236}">
                <a16:creationId xmlns:a16="http://schemas.microsoft.com/office/drawing/2014/main" id="{B5E098B6-0159-1882-9025-1047C9FC21E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218587" y="2864306"/>
            <a:ext cx="558071" cy="578069"/>
          </a:xfrm>
          <a:prstGeom prst="rect">
            <a:avLst/>
          </a:prstGeom>
        </p:spPr>
      </p:pic>
      <p:pic>
        <p:nvPicPr>
          <p:cNvPr id="5" name="Grafik 4" descr="Kreis mit Pfeil nach links mit einfarbiger Füllung">
            <a:extLst>
              <a:ext uri="{FF2B5EF4-FFF2-40B4-BE49-F238E27FC236}">
                <a16:creationId xmlns:a16="http://schemas.microsoft.com/office/drawing/2014/main" id="{2E470929-B891-6407-BBF4-AD88CA7C661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 rot="5400000">
            <a:off x="1230107" y="2135162"/>
            <a:ext cx="535031" cy="516521"/>
          </a:xfrm>
          <a:prstGeom prst="rect">
            <a:avLst/>
          </a:prstGeom>
        </p:spPr>
      </p:pic>
      <p:sp>
        <p:nvSpPr>
          <p:cNvPr id="21" name="Rechteck 20">
            <a:extLst>
              <a:ext uri="{FF2B5EF4-FFF2-40B4-BE49-F238E27FC236}">
                <a16:creationId xmlns:a16="http://schemas.microsoft.com/office/drawing/2014/main" id="{734E8571-17A1-877A-A86F-923B94F94F21}"/>
              </a:ext>
            </a:extLst>
          </p:cNvPr>
          <p:cNvSpPr/>
          <p:nvPr/>
        </p:nvSpPr>
        <p:spPr>
          <a:xfrm>
            <a:off x="205335" y="4623122"/>
            <a:ext cx="11579297" cy="2118246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buFontTx/>
              <a:buChar char="–"/>
            </a:pPr>
            <a:endParaRPr lang="de-DE" sz="1600" dirty="0" err="1">
              <a:solidFill>
                <a:schemeClr val="tx1"/>
              </a:solidFill>
            </a:endParaRPr>
          </a:p>
        </p:txBody>
      </p:sp>
      <p:cxnSp>
        <p:nvCxnSpPr>
          <p:cNvPr id="22" name="Gerade Verbindung 62">
            <a:extLst>
              <a:ext uri="{FF2B5EF4-FFF2-40B4-BE49-F238E27FC236}">
                <a16:creationId xmlns:a16="http://schemas.microsoft.com/office/drawing/2014/main" id="{0453D121-BCD4-D9C8-C2A2-A319EFA2D96A}"/>
              </a:ext>
            </a:extLst>
          </p:cNvPr>
          <p:cNvCxnSpPr>
            <a:cxnSpLocks/>
          </p:cNvCxnSpPr>
          <p:nvPr/>
        </p:nvCxnSpPr>
        <p:spPr>
          <a:xfrm>
            <a:off x="5159896" y="4725144"/>
            <a:ext cx="0" cy="194548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p:style>
      </p:cxnSp>
      <p:sp>
        <p:nvSpPr>
          <p:cNvPr id="23" name="Rechteck 22">
            <a:extLst>
              <a:ext uri="{FF2B5EF4-FFF2-40B4-BE49-F238E27FC236}">
                <a16:creationId xmlns:a16="http://schemas.microsoft.com/office/drawing/2014/main" id="{CAEC8BF8-303B-E761-610D-A72FE41458CC}"/>
              </a:ext>
            </a:extLst>
          </p:cNvPr>
          <p:cNvSpPr/>
          <p:nvPr/>
        </p:nvSpPr>
        <p:spPr>
          <a:xfrm>
            <a:off x="407368" y="4728859"/>
            <a:ext cx="4521250" cy="230054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400" b="1" dirty="0">
                <a:solidFill>
                  <a:schemeClr val="bg1"/>
                </a:solidFill>
              </a:rPr>
              <a:t>Aktuelle Bestrebungen</a:t>
            </a:r>
          </a:p>
          <a:p>
            <a:pPr algn="ctr"/>
            <a:endParaRPr lang="de-DE" sz="1200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bg1"/>
                </a:solidFill>
              </a:rPr>
              <a:t>Derzeit sind keine aktuellen Bestrebungen zur Etablierung eines ÖPNV-Grundbeitrags bekan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200" dirty="0">
              <a:solidFill>
                <a:schemeClr val="bg1"/>
              </a:solidFill>
            </a:endParaRPr>
          </a:p>
          <a:p>
            <a:endParaRPr lang="de-DE" sz="1600" dirty="0">
              <a:solidFill>
                <a:schemeClr val="bg1"/>
              </a:solidFill>
            </a:endParaRP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E9B04EB5-B007-D3F4-E6C8-FEF29865CED1}"/>
              </a:ext>
            </a:extLst>
          </p:cNvPr>
          <p:cNvSpPr/>
          <p:nvPr/>
        </p:nvSpPr>
        <p:spPr>
          <a:xfrm>
            <a:off x="5303912" y="4727595"/>
            <a:ext cx="6264683" cy="230054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400" b="1" dirty="0">
                <a:solidFill>
                  <a:schemeClr val="bg1"/>
                </a:solidFill>
              </a:rPr>
              <a:t>Rechtsentwicklung</a:t>
            </a:r>
          </a:p>
          <a:p>
            <a:pPr algn="ctr"/>
            <a:endParaRPr lang="de-DE" sz="1200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bg1"/>
                </a:solidFill>
              </a:rPr>
              <a:t>Die Schaffung einer entsprechenden Rechtsgrundlage in den kommunalen Abgabengesetzen erfordert die Beachtung des Gleichheitsgrundsatzes; bei dem Beitragszahler muss eine realistische Nutzungsmöglichkeit bestehen</a:t>
            </a:r>
          </a:p>
          <a:p>
            <a:endParaRPr lang="de-DE" sz="1200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bg1"/>
                </a:solidFill>
              </a:rPr>
              <a:t>Die Berücksichtigung des Gleichheitsgrundsatzes könnte darüber hinaus eine Staffelung der Beitragshöhe nach der ÖPNV-Zugangsmöglichkeit (Entfernung zur nächstgelegenen ÖPNV-Anbindung und Frequentierung) erfordern </a:t>
            </a:r>
          </a:p>
          <a:p>
            <a:endParaRPr lang="de-DE" sz="1600" dirty="0">
              <a:solidFill>
                <a:schemeClr val="bg1"/>
              </a:solidFill>
            </a:endParaRPr>
          </a:p>
        </p:txBody>
      </p:sp>
      <p:pic>
        <p:nvPicPr>
          <p:cNvPr id="10" name="Grafik 9" descr="Marke folgen Silhouette">
            <a:extLst>
              <a:ext uri="{FF2B5EF4-FFF2-40B4-BE49-F238E27FC236}">
                <a16:creationId xmlns:a16="http://schemas.microsoft.com/office/drawing/2014/main" id="{CC5C670C-3C32-6E06-3912-B586B9757D5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237750" y="3648873"/>
            <a:ext cx="519745" cy="5360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183960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>
            <a:extLst>
              <a:ext uri="{FF2B5EF4-FFF2-40B4-BE49-F238E27FC236}">
                <a16:creationId xmlns:a16="http://schemas.microsoft.com/office/drawing/2014/main" id="{956E49AD-0B08-BE28-7CBE-299F8C26EEFC}"/>
              </a:ext>
            </a:extLst>
          </p:cNvPr>
          <p:cNvSpPr/>
          <p:nvPr/>
        </p:nvSpPr>
        <p:spPr>
          <a:xfrm>
            <a:off x="200203" y="1916832"/>
            <a:ext cx="11584429" cy="4185667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buFontTx/>
              <a:buChar char="–"/>
            </a:pPr>
            <a:endParaRPr lang="de-DE" sz="1600" dirty="0" err="1">
              <a:solidFill>
                <a:schemeClr val="tx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031ED95C-D46B-78B5-C484-934FB3FAA7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>
                <a:solidFill>
                  <a:schemeClr val="accent3"/>
                </a:solidFill>
              </a:rPr>
              <a:t>Ausblick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FD36F345-73CB-4631-A20D-870BDF673330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4CFEB0D3-1EB3-4F08-8062-95FFB9749870}" type="slidenum">
              <a:rPr lang="de-DE" smtClean="0"/>
              <a:pPr/>
              <a:t>14</a:t>
            </a:fld>
            <a:endParaRPr lang="de-DE"/>
          </a:p>
        </p:txBody>
      </p:sp>
      <p:sp>
        <p:nvSpPr>
          <p:cNvPr id="6" name="Pfeil: Fünfeck 5">
            <a:extLst>
              <a:ext uri="{FF2B5EF4-FFF2-40B4-BE49-F238E27FC236}">
                <a16:creationId xmlns:a16="http://schemas.microsoft.com/office/drawing/2014/main" id="{6AD65010-34E5-46C4-416F-8B544812F81E}"/>
              </a:ext>
            </a:extLst>
          </p:cNvPr>
          <p:cNvSpPr/>
          <p:nvPr/>
        </p:nvSpPr>
        <p:spPr>
          <a:xfrm>
            <a:off x="205335" y="1001043"/>
            <a:ext cx="1872208" cy="273817"/>
          </a:xfrm>
          <a:prstGeom prst="homePlat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000" b="1" dirty="0">
                <a:solidFill>
                  <a:schemeClr val="tx1"/>
                </a:solidFill>
              </a:rPr>
              <a:t>Finanzierungslücke</a:t>
            </a:r>
          </a:p>
        </p:txBody>
      </p:sp>
      <p:sp>
        <p:nvSpPr>
          <p:cNvPr id="7" name="Pfeil: Chevron 6">
            <a:extLst>
              <a:ext uri="{FF2B5EF4-FFF2-40B4-BE49-F238E27FC236}">
                <a16:creationId xmlns:a16="http://schemas.microsoft.com/office/drawing/2014/main" id="{7F485D27-24CB-7FBC-DDC9-3DB2F5ADA5C5}"/>
              </a:ext>
            </a:extLst>
          </p:cNvPr>
          <p:cNvSpPr/>
          <p:nvPr/>
        </p:nvSpPr>
        <p:spPr>
          <a:xfrm>
            <a:off x="4191774" y="1001043"/>
            <a:ext cx="1872208" cy="273817"/>
          </a:xfrm>
          <a:prstGeom prst="chevron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000" b="1" dirty="0">
                <a:solidFill>
                  <a:schemeClr val="tx1"/>
                </a:solidFill>
              </a:rPr>
              <a:t>Ausblick</a:t>
            </a:r>
          </a:p>
        </p:txBody>
      </p:sp>
      <p:sp>
        <p:nvSpPr>
          <p:cNvPr id="8" name="Pfeil: Chevron 7">
            <a:extLst>
              <a:ext uri="{FF2B5EF4-FFF2-40B4-BE49-F238E27FC236}">
                <a16:creationId xmlns:a16="http://schemas.microsoft.com/office/drawing/2014/main" id="{B8007AEC-BBBF-49B3-0C0F-CB066587DB82}"/>
              </a:ext>
            </a:extLst>
          </p:cNvPr>
          <p:cNvSpPr/>
          <p:nvPr/>
        </p:nvSpPr>
        <p:spPr>
          <a:xfrm>
            <a:off x="2198554" y="1001043"/>
            <a:ext cx="1872208" cy="273817"/>
          </a:xfrm>
          <a:prstGeom prst="chevron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000" b="1" dirty="0">
                <a:solidFill>
                  <a:schemeClr val="tx1"/>
                </a:solidFill>
              </a:rPr>
              <a:t>Lösungsansätze</a:t>
            </a:r>
          </a:p>
        </p:txBody>
      </p:sp>
      <p:pic>
        <p:nvPicPr>
          <p:cNvPr id="20" name="Grafik 19" descr="Ein Bild, das Schwarz, Dunkelheit enthält.">
            <a:extLst>
              <a:ext uri="{FF2B5EF4-FFF2-40B4-BE49-F238E27FC236}">
                <a16:creationId xmlns:a16="http://schemas.microsoft.com/office/drawing/2014/main" id="{2CD3B6AE-BD09-F31C-BA92-6F6ED28EBBF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309807" y="239962"/>
            <a:ext cx="1618841" cy="416686"/>
          </a:xfrm>
          <a:prstGeom prst="rect">
            <a:avLst/>
          </a:prstGeom>
        </p:spPr>
      </p:pic>
      <p:graphicFrame>
        <p:nvGraphicFramePr>
          <p:cNvPr id="4" name="Diagramm 3">
            <a:extLst>
              <a:ext uri="{FF2B5EF4-FFF2-40B4-BE49-F238E27FC236}">
                <a16:creationId xmlns:a16="http://schemas.microsoft.com/office/drawing/2014/main" id="{B3901F27-0A88-7054-6B01-E0496CA80AD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277795994"/>
              </p:ext>
            </p:extLst>
          </p:nvPr>
        </p:nvGraphicFramePr>
        <p:xfrm>
          <a:off x="1991544" y="2060847"/>
          <a:ext cx="7992883" cy="379610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11274777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alphaModFix amt="40000"/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el 18">
            <a:extLst>
              <a:ext uri="{FF2B5EF4-FFF2-40B4-BE49-F238E27FC236}">
                <a16:creationId xmlns:a16="http://schemas.microsoft.com/office/drawing/2014/main" id="{A0824F98-4DA9-CDAF-91A0-F242E10445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lIns="0" tIns="0" rIns="0" bIns="0" rtlCol="0" anchor="ctr">
            <a:noAutofit/>
          </a:bodyPr>
          <a:lstStyle/>
          <a:p>
            <a:r>
              <a:rPr lang="de-DE" dirty="0">
                <a:solidFill>
                  <a:schemeClr val="tx1"/>
                </a:solidFill>
                <a:latin typeface="GT America" panose="00000500000000000000" pitchFamily="2" charset="0"/>
              </a:rPr>
              <a:t>KENNEN SIE SCHON UNSEREN Kompass Mobilität?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33E15E8F-FBC9-E955-7146-6FC974232575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FEB0D3-1EB3-4F08-8062-95FFB9749870}" type="slidenum">
              <a:rPr kumimoji="0" lang="de-DE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64E9E494-29A9-1DA1-0D0B-9378010C9FE5}"/>
              </a:ext>
            </a:extLst>
          </p:cNvPr>
          <p:cNvSpPr/>
          <p:nvPr/>
        </p:nvSpPr>
        <p:spPr>
          <a:xfrm>
            <a:off x="0" y="2638425"/>
            <a:ext cx="11928648" cy="1850582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2400" b="0" i="0" u="none" strike="noStrike" kern="1200" cap="none" spc="0" normalizeH="0" baseline="3000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T America (Textkörper)"/>
                <a:ea typeface="+mn-ea"/>
                <a:cs typeface="Arial" panose="020B0604020202020204" pitchFamily="34" charset="0"/>
              </a:rPr>
              <a:t>Unser „Kompass Mobilität” informiert zweimal monatlich über die aktuellen Mobilitätsentwicklungen und zeigt Gestaltungsansätze für den kommunalen Nahverkehr auf.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600" b="0" i="0" u="none" strike="noStrike" kern="1200" cap="none" spc="0" normalizeH="0" baseline="3000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0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Jetzt kostenfrei abonnieren: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http://www.roedl.de/medien/publikationen/newsletter/kompass-mobilitaet/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T America"/>
              <a:ea typeface="+mn-ea"/>
              <a:cs typeface="+mn-cs"/>
            </a:endParaRPr>
          </a:p>
        </p:txBody>
      </p:sp>
      <p:sp>
        <p:nvSpPr>
          <p:cNvPr id="8" name="Foliennummernplatzhalter 2">
            <a:extLst>
              <a:ext uri="{FF2B5EF4-FFF2-40B4-BE49-F238E27FC236}">
                <a16:creationId xmlns:a16="http://schemas.microsoft.com/office/drawing/2014/main" id="{CD347FD4-CA22-EC76-22A0-BD3C0C702170}"/>
              </a:ext>
            </a:extLst>
          </p:cNvPr>
          <p:cNvSpPr txBox="1">
            <a:spLocks/>
          </p:cNvSpPr>
          <p:nvPr/>
        </p:nvSpPr>
        <p:spPr>
          <a:xfrm>
            <a:off x="11928648" y="6453187"/>
            <a:ext cx="263350" cy="404813"/>
          </a:xfrm>
          <a:prstGeom prst="rect">
            <a:avLst/>
          </a:prstGeom>
        </p:spPr>
        <p:txBody>
          <a:bodyPr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FEB0D3-1EB3-4F08-8062-95FFB9749870}" type="slidenum">
              <a:rPr kumimoji="0" lang="de-DE" sz="11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de-DE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2" name="Picture 4" descr="U:\Koeln\Kanzleiverzeichnis\02_Allg_PMC_Nbg\PR\03_Newsletter\Kompasse\09_Kompass_Mobilität\qr-code_kompass_mobilitaet-01.png">
            <a:extLst>
              <a:ext uri="{FF2B5EF4-FFF2-40B4-BE49-F238E27FC236}">
                <a16:creationId xmlns:a16="http://schemas.microsoft.com/office/drawing/2014/main" id="{26B8B73F-E5F4-4EFD-1175-743408439BA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911843" y="4620991"/>
            <a:ext cx="2151286" cy="21512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5" name="Gerader Verbinder 4">
            <a:extLst>
              <a:ext uri="{FF2B5EF4-FFF2-40B4-BE49-F238E27FC236}">
                <a16:creationId xmlns:a16="http://schemas.microsoft.com/office/drawing/2014/main" id="{F3B32D06-1FAC-E662-4A71-B22052601240}"/>
              </a:ext>
            </a:extLst>
          </p:cNvPr>
          <p:cNvCxnSpPr>
            <a:cxnSpLocks/>
          </p:cNvCxnSpPr>
          <p:nvPr/>
        </p:nvCxnSpPr>
        <p:spPr>
          <a:xfrm>
            <a:off x="3176" y="2638425"/>
            <a:ext cx="11925472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r Verbinder 13">
            <a:extLst>
              <a:ext uri="{FF2B5EF4-FFF2-40B4-BE49-F238E27FC236}">
                <a16:creationId xmlns:a16="http://schemas.microsoft.com/office/drawing/2014/main" id="{3CE4FFDD-7ECD-A3C7-E672-09797EF02D81}"/>
              </a:ext>
            </a:extLst>
          </p:cNvPr>
          <p:cNvCxnSpPr>
            <a:cxnSpLocks/>
          </p:cNvCxnSpPr>
          <p:nvPr/>
        </p:nvCxnSpPr>
        <p:spPr>
          <a:xfrm>
            <a:off x="3176" y="4489007"/>
            <a:ext cx="11925472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fik 10" descr="Ein Bild, das Schwarz, Dunkelheit enthält.">
            <a:extLst>
              <a:ext uri="{FF2B5EF4-FFF2-40B4-BE49-F238E27FC236}">
                <a16:creationId xmlns:a16="http://schemas.microsoft.com/office/drawing/2014/main" id="{C72C9C58-A973-72F9-7372-BA3BD628C65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309807" y="239962"/>
            <a:ext cx="1618841" cy="4166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469194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hteck 14"/>
          <p:cNvSpPr/>
          <p:nvPr/>
        </p:nvSpPr>
        <p:spPr>
          <a:xfrm>
            <a:off x="279161" y="1052512"/>
            <a:ext cx="2042753" cy="1620001"/>
          </a:xfrm>
          <a:prstGeom prst="rect">
            <a:avLst/>
          </a:prstGeom>
          <a:solidFill>
            <a:schemeClr val="accent3"/>
          </a:solidFill>
        </p:spPr>
        <p:txBody>
          <a:bodyPr wrap="square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T America" panose="00000500000000000000" pitchFamily="2" charset="0"/>
                <a:ea typeface="+mn-ea"/>
                <a:cs typeface="+mn-cs"/>
              </a:rPr>
              <a:t>Direktvergaben</a:t>
            </a:r>
          </a:p>
        </p:txBody>
      </p:sp>
      <p:sp>
        <p:nvSpPr>
          <p:cNvPr id="24" name="Rechteck 23"/>
          <p:cNvSpPr/>
          <p:nvPr/>
        </p:nvSpPr>
        <p:spPr>
          <a:xfrm>
            <a:off x="7316818" y="1056088"/>
            <a:ext cx="2042753" cy="1620001"/>
          </a:xfrm>
          <a:prstGeom prst="rect">
            <a:avLst/>
          </a:prstGeom>
          <a:solidFill>
            <a:schemeClr val="accent3"/>
          </a:solidFill>
        </p:spPr>
        <p:txBody>
          <a:bodyPr wrap="square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T America" panose="00000500000000000000" pitchFamily="2" charset="0"/>
                <a:ea typeface="+mn-ea"/>
                <a:cs typeface="+mn-cs"/>
              </a:rPr>
              <a:t>Quartiers-</a:t>
            </a:r>
            <a:b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T America" panose="00000500000000000000" pitchFamily="2" charset="0"/>
                <a:ea typeface="+mn-ea"/>
                <a:cs typeface="+mn-cs"/>
              </a:rPr>
            </a:b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T America" panose="00000500000000000000" pitchFamily="2" charset="0"/>
                <a:ea typeface="+mn-ea"/>
                <a:cs typeface="+mn-cs"/>
              </a:rPr>
              <a:t>entwicklung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T America" panose="00000500000000000000" pitchFamily="2" charset="0"/>
              <a:ea typeface="+mn-ea"/>
              <a:cs typeface="+mn-cs"/>
            </a:endParaRPr>
          </a:p>
        </p:txBody>
      </p:sp>
      <p:sp>
        <p:nvSpPr>
          <p:cNvPr id="19" name="Rechteck 18"/>
          <p:cNvSpPr/>
          <p:nvPr/>
        </p:nvSpPr>
        <p:spPr>
          <a:xfrm>
            <a:off x="4974497" y="1052512"/>
            <a:ext cx="2042753" cy="1620001"/>
          </a:xfrm>
          <a:prstGeom prst="rect">
            <a:avLst/>
          </a:prstGeom>
          <a:solidFill>
            <a:schemeClr val="accent3"/>
          </a:solidFill>
        </p:spPr>
        <p:txBody>
          <a:bodyPr wrap="square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0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T America" panose="00000500000000000000" pitchFamily="2" charset="0"/>
                <a:ea typeface="+mn-ea"/>
                <a:cs typeface="+mn-cs"/>
              </a:rPr>
              <a:t>Verbündeberatung</a:t>
            </a:r>
            <a:endParaRPr kumimoji="0" lang="de-DE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T America" panose="00000500000000000000" pitchFamily="2" charset="0"/>
              <a:ea typeface="+mn-ea"/>
              <a:cs typeface="+mn-cs"/>
            </a:endParaRPr>
          </a:p>
        </p:txBody>
      </p:sp>
      <p:sp>
        <p:nvSpPr>
          <p:cNvPr id="18" name="Rechteck 17"/>
          <p:cNvSpPr/>
          <p:nvPr/>
        </p:nvSpPr>
        <p:spPr>
          <a:xfrm>
            <a:off x="2618843" y="1052512"/>
            <a:ext cx="2042753" cy="1620001"/>
          </a:xfrm>
          <a:prstGeom prst="rect">
            <a:avLst/>
          </a:prstGeom>
          <a:solidFill>
            <a:schemeClr val="accent3"/>
          </a:solidFill>
        </p:spPr>
        <p:txBody>
          <a:bodyPr wrap="square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T America" panose="00000500000000000000" pitchFamily="2" charset="0"/>
                <a:ea typeface="+mn-ea"/>
                <a:cs typeface="+mn-cs"/>
              </a:rPr>
              <a:t>Allgemeine Vorschriften </a:t>
            </a:r>
          </a:p>
        </p:txBody>
      </p:sp>
      <p:sp>
        <p:nvSpPr>
          <p:cNvPr id="149" name="Rechteck 148"/>
          <p:cNvSpPr/>
          <p:nvPr/>
        </p:nvSpPr>
        <p:spPr>
          <a:xfrm>
            <a:off x="9669822" y="1056088"/>
            <a:ext cx="2042753" cy="1620001"/>
          </a:xfrm>
          <a:prstGeom prst="rect">
            <a:avLst/>
          </a:prstGeom>
          <a:solidFill>
            <a:schemeClr val="accent3"/>
          </a:solidFill>
        </p:spPr>
        <p:txBody>
          <a:bodyPr wrap="square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T America" panose="00000500000000000000" pitchFamily="2" charset="0"/>
                <a:ea typeface="+mn-ea"/>
                <a:cs typeface="+mn-cs"/>
              </a:rPr>
              <a:t>IT-Vergaben</a:t>
            </a:r>
            <a:b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T America" panose="00000500000000000000" pitchFamily="2" charset="0"/>
                <a:ea typeface="+mn-ea"/>
                <a:cs typeface="+mn-cs"/>
              </a:rPr>
            </a:br>
            <a:r>
              <a:rPr kumimoji="0" lang="de-DE" sz="1600" b="0" i="0" u="none" strike="noStrike" kern="1200" cap="none" spc="-2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T America" panose="00000500000000000000" pitchFamily="2" charset="0"/>
                <a:ea typeface="+mn-ea"/>
                <a:cs typeface="+mn-cs"/>
              </a:rPr>
              <a:t>Mobilitätsplattfor-men</a:t>
            </a:r>
            <a:endParaRPr kumimoji="0" lang="de-DE" sz="1600" b="0" i="0" u="none" strike="noStrike" kern="1200" cap="none" spc="-2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T America" panose="00000500000000000000" pitchFamily="2" charset="0"/>
              <a:ea typeface="+mn-ea"/>
              <a:cs typeface="+mn-cs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>
                <a:solidFill>
                  <a:schemeClr val="accent3"/>
                </a:solidFill>
                <a:latin typeface="+mj-lt"/>
              </a:rPr>
              <a:t>Lösungen für die Mobilität der Zukunft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FEB0D3-1EB3-4F08-8062-95FFB9749870}" type="slidenum">
              <a:rPr kumimoji="0" lang="de-DE" sz="11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T America" panose="00000500000000000000" pitchFamily="2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de-DE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T America" panose="00000500000000000000" pitchFamily="2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230" name="Gruppieren 229"/>
          <p:cNvGrpSpPr/>
          <p:nvPr/>
        </p:nvGrpSpPr>
        <p:grpSpPr>
          <a:xfrm>
            <a:off x="692881" y="1509858"/>
            <a:ext cx="1215313" cy="999401"/>
            <a:chOff x="949644" y="1578818"/>
            <a:chExt cx="1492250" cy="1227138"/>
          </a:xfrm>
        </p:grpSpPr>
        <p:sp>
          <p:nvSpPr>
            <p:cNvPr id="33" name="Freeform 5"/>
            <p:cNvSpPr>
              <a:spLocks noEditPoints="1"/>
            </p:cNvSpPr>
            <p:nvPr/>
          </p:nvSpPr>
          <p:spPr bwMode="auto">
            <a:xfrm>
              <a:off x="1849756" y="1578818"/>
              <a:ext cx="592138" cy="593725"/>
            </a:xfrm>
            <a:custGeom>
              <a:avLst/>
              <a:gdLst>
                <a:gd name="T0" fmla="*/ 0 w 373"/>
                <a:gd name="T1" fmla="*/ 132 h 374"/>
                <a:gd name="T2" fmla="*/ 240 w 373"/>
                <a:gd name="T3" fmla="*/ 374 h 374"/>
                <a:gd name="T4" fmla="*/ 373 w 373"/>
                <a:gd name="T5" fmla="*/ 241 h 374"/>
                <a:gd name="T6" fmla="*/ 133 w 373"/>
                <a:gd name="T7" fmla="*/ 0 h 374"/>
                <a:gd name="T8" fmla="*/ 0 w 373"/>
                <a:gd name="T9" fmla="*/ 132 h 374"/>
                <a:gd name="T10" fmla="*/ 278 w 373"/>
                <a:gd name="T11" fmla="*/ 276 h 374"/>
                <a:gd name="T12" fmla="*/ 278 w 373"/>
                <a:gd name="T13" fmla="*/ 276 h 374"/>
                <a:gd name="T14" fmla="*/ 275 w 373"/>
                <a:gd name="T15" fmla="*/ 279 h 374"/>
                <a:gd name="T16" fmla="*/ 271 w 373"/>
                <a:gd name="T17" fmla="*/ 282 h 374"/>
                <a:gd name="T18" fmla="*/ 266 w 373"/>
                <a:gd name="T19" fmla="*/ 282 h 374"/>
                <a:gd name="T20" fmla="*/ 262 w 373"/>
                <a:gd name="T21" fmla="*/ 283 h 374"/>
                <a:gd name="T22" fmla="*/ 257 w 373"/>
                <a:gd name="T23" fmla="*/ 282 h 374"/>
                <a:gd name="T24" fmla="*/ 253 w 373"/>
                <a:gd name="T25" fmla="*/ 282 h 374"/>
                <a:gd name="T26" fmla="*/ 248 w 373"/>
                <a:gd name="T27" fmla="*/ 279 h 374"/>
                <a:gd name="T28" fmla="*/ 243 w 373"/>
                <a:gd name="T29" fmla="*/ 276 h 374"/>
                <a:gd name="T30" fmla="*/ 243 w 373"/>
                <a:gd name="T31" fmla="*/ 276 h 374"/>
                <a:gd name="T32" fmla="*/ 240 w 373"/>
                <a:gd name="T33" fmla="*/ 271 h 374"/>
                <a:gd name="T34" fmla="*/ 239 w 373"/>
                <a:gd name="T35" fmla="*/ 267 h 374"/>
                <a:gd name="T36" fmla="*/ 237 w 373"/>
                <a:gd name="T37" fmla="*/ 262 h 374"/>
                <a:gd name="T38" fmla="*/ 236 w 373"/>
                <a:gd name="T39" fmla="*/ 258 h 374"/>
                <a:gd name="T40" fmla="*/ 237 w 373"/>
                <a:gd name="T41" fmla="*/ 253 h 374"/>
                <a:gd name="T42" fmla="*/ 239 w 373"/>
                <a:gd name="T43" fmla="*/ 249 h 374"/>
                <a:gd name="T44" fmla="*/ 240 w 373"/>
                <a:gd name="T45" fmla="*/ 244 h 374"/>
                <a:gd name="T46" fmla="*/ 243 w 373"/>
                <a:gd name="T47" fmla="*/ 241 h 374"/>
                <a:gd name="T48" fmla="*/ 243 w 373"/>
                <a:gd name="T49" fmla="*/ 241 h 374"/>
                <a:gd name="T50" fmla="*/ 248 w 373"/>
                <a:gd name="T51" fmla="*/ 238 h 374"/>
                <a:gd name="T52" fmla="*/ 253 w 373"/>
                <a:gd name="T53" fmla="*/ 235 h 374"/>
                <a:gd name="T54" fmla="*/ 257 w 373"/>
                <a:gd name="T55" fmla="*/ 233 h 374"/>
                <a:gd name="T56" fmla="*/ 262 w 373"/>
                <a:gd name="T57" fmla="*/ 233 h 374"/>
                <a:gd name="T58" fmla="*/ 266 w 373"/>
                <a:gd name="T59" fmla="*/ 233 h 374"/>
                <a:gd name="T60" fmla="*/ 271 w 373"/>
                <a:gd name="T61" fmla="*/ 235 h 374"/>
                <a:gd name="T62" fmla="*/ 275 w 373"/>
                <a:gd name="T63" fmla="*/ 238 h 374"/>
                <a:gd name="T64" fmla="*/ 278 w 373"/>
                <a:gd name="T65" fmla="*/ 241 h 374"/>
                <a:gd name="T66" fmla="*/ 278 w 373"/>
                <a:gd name="T67" fmla="*/ 241 h 374"/>
                <a:gd name="T68" fmla="*/ 283 w 373"/>
                <a:gd name="T69" fmla="*/ 244 h 374"/>
                <a:gd name="T70" fmla="*/ 284 w 373"/>
                <a:gd name="T71" fmla="*/ 249 h 374"/>
                <a:gd name="T72" fmla="*/ 286 w 373"/>
                <a:gd name="T73" fmla="*/ 253 h 374"/>
                <a:gd name="T74" fmla="*/ 286 w 373"/>
                <a:gd name="T75" fmla="*/ 258 h 374"/>
                <a:gd name="T76" fmla="*/ 286 w 373"/>
                <a:gd name="T77" fmla="*/ 262 h 374"/>
                <a:gd name="T78" fmla="*/ 284 w 373"/>
                <a:gd name="T79" fmla="*/ 267 h 374"/>
                <a:gd name="T80" fmla="*/ 283 w 373"/>
                <a:gd name="T81" fmla="*/ 271 h 374"/>
                <a:gd name="T82" fmla="*/ 278 w 373"/>
                <a:gd name="T83" fmla="*/ 276 h 374"/>
                <a:gd name="T84" fmla="*/ 278 w 373"/>
                <a:gd name="T85" fmla="*/ 276 h 3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373" h="374">
                  <a:moveTo>
                    <a:pt x="0" y="132"/>
                  </a:moveTo>
                  <a:lnTo>
                    <a:pt x="240" y="374"/>
                  </a:lnTo>
                  <a:lnTo>
                    <a:pt x="373" y="241"/>
                  </a:lnTo>
                  <a:lnTo>
                    <a:pt x="133" y="0"/>
                  </a:lnTo>
                  <a:lnTo>
                    <a:pt x="0" y="132"/>
                  </a:lnTo>
                  <a:close/>
                  <a:moveTo>
                    <a:pt x="278" y="276"/>
                  </a:moveTo>
                  <a:lnTo>
                    <a:pt x="278" y="276"/>
                  </a:lnTo>
                  <a:lnTo>
                    <a:pt x="275" y="279"/>
                  </a:lnTo>
                  <a:lnTo>
                    <a:pt x="271" y="282"/>
                  </a:lnTo>
                  <a:lnTo>
                    <a:pt x="266" y="282"/>
                  </a:lnTo>
                  <a:lnTo>
                    <a:pt x="262" y="283"/>
                  </a:lnTo>
                  <a:lnTo>
                    <a:pt x="257" y="282"/>
                  </a:lnTo>
                  <a:lnTo>
                    <a:pt x="253" y="282"/>
                  </a:lnTo>
                  <a:lnTo>
                    <a:pt x="248" y="279"/>
                  </a:lnTo>
                  <a:lnTo>
                    <a:pt x="243" y="276"/>
                  </a:lnTo>
                  <a:lnTo>
                    <a:pt x="243" y="276"/>
                  </a:lnTo>
                  <a:lnTo>
                    <a:pt x="240" y="271"/>
                  </a:lnTo>
                  <a:lnTo>
                    <a:pt x="239" y="267"/>
                  </a:lnTo>
                  <a:lnTo>
                    <a:pt x="237" y="262"/>
                  </a:lnTo>
                  <a:lnTo>
                    <a:pt x="236" y="258"/>
                  </a:lnTo>
                  <a:lnTo>
                    <a:pt x="237" y="253"/>
                  </a:lnTo>
                  <a:lnTo>
                    <a:pt x="239" y="249"/>
                  </a:lnTo>
                  <a:lnTo>
                    <a:pt x="240" y="244"/>
                  </a:lnTo>
                  <a:lnTo>
                    <a:pt x="243" y="241"/>
                  </a:lnTo>
                  <a:lnTo>
                    <a:pt x="243" y="241"/>
                  </a:lnTo>
                  <a:lnTo>
                    <a:pt x="248" y="238"/>
                  </a:lnTo>
                  <a:lnTo>
                    <a:pt x="253" y="235"/>
                  </a:lnTo>
                  <a:lnTo>
                    <a:pt x="257" y="233"/>
                  </a:lnTo>
                  <a:lnTo>
                    <a:pt x="262" y="233"/>
                  </a:lnTo>
                  <a:lnTo>
                    <a:pt x="266" y="233"/>
                  </a:lnTo>
                  <a:lnTo>
                    <a:pt x="271" y="235"/>
                  </a:lnTo>
                  <a:lnTo>
                    <a:pt x="275" y="238"/>
                  </a:lnTo>
                  <a:lnTo>
                    <a:pt x="278" y="241"/>
                  </a:lnTo>
                  <a:lnTo>
                    <a:pt x="278" y="241"/>
                  </a:lnTo>
                  <a:lnTo>
                    <a:pt x="283" y="244"/>
                  </a:lnTo>
                  <a:lnTo>
                    <a:pt x="284" y="249"/>
                  </a:lnTo>
                  <a:lnTo>
                    <a:pt x="286" y="253"/>
                  </a:lnTo>
                  <a:lnTo>
                    <a:pt x="286" y="258"/>
                  </a:lnTo>
                  <a:lnTo>
                    <a:pt x="286" y="262"/>
                  </a:lnTo>
                  <a:lnTo>
                    <a:pt x="284" y="267"/>
                  </a:lnTo>
                  <a:lnTo>
                    <a:pt x="283" y="271"/>
                  </a:lnTo>
                  <a:lnTo>
                    <a:pt x="278" y="276"/>
                  </a:lnTo>
                  <a:lnTo>
                    <a:pt x="278" y="27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T America" panose="00000500000000000000" pitchFamily="2" charset="0"/>
                <a:ea typeface="+mn-ea"/>
                <a:cs typeface="+mn-cs"/>
              </a:endParaRPr>
            </a:p>
          </p:txBody>
        </p:sp>
        <p:sp>
          <p:nvSpPr>
            <p:cNvPr id="35" name="Freeform 7"/>
            <p:cNvSpPr>
              <a:spLocks noEditPoints="1"/>
            </p:cNvSpPr>
            <p:nvPr/>
          </p:nvSpPr>
          <p:spPr bwMode="auto">
            <a:xfrm>
              <a:off x="949644" y="1578818"/>
              <a:ext cx="592138" cy="593725"/>
            </a:xfrm>
            <a:custGeom>
              <a:avLst/>
              <a:gdLst>
                <a:gd name="T0" fmla="*/ 373 w 373"/>
                <a:gd name="T1" fmla="*/ 132 h 374"/>
                <a:gd name="T2" fmla="*/ 133 w 373"/>
                <a:gd name="T3" fmla="*/ 374 h 374"/>
                <a:gd name="T4" fmla="*/ 0 w 373"/>
                <a:gd name="T5" fmla="*/ 241 h 374"/>
                <a:gd name="T6" fmla="*/ 240 w 373"/>
                <a:gd name="T7" fmla="*/ 0 h 374"/>
                <a:gd name="T8" fmla="*/ 373 w 373"/>
                <a:gd name="T9" fmla="*/ 132 h 374"/>
                <a:gd name="T10" fmla="*/ 94 w 373"/>
                <a:gd name="T11" fmla="*/ 276 h 374"/>
                <a:gd name="T12" fmla="*/ 94 w 373"/>
                <a:gd name="T13" fmla="*/ 276 h 374"/>
                <a:gd name="T14" fmla="*/ 98 w 373"/>
                <a:gd name="T15" fmla="*/ 279 h 374"/>
                <a:gd name="T16" fmla="*/ 103 w 373"/>
                <a:gd name="T17" fmla="*/ 282 h 374"/>
                <a:gd name="T18" fmla="*/ 107 w 373"/>
                <a:gd name="T19" fmla="*/ 282 h 374"/>
                <a:gd name="T20" fmla="*/ 112 w 373"/>
                <a:gd name="T21" fmla="*/ 283 h 374"/>
                <a:gd name="T22" fmla="*/ 116 w 373"/>
                <a:gd name="T23" fmla="*/ 282 h 374"/>
                <a:gd name="T24" fmla="*/ 121 w 373"/>
                <a:gd name="T25" fmla="*/ 282 h 374"/>
                <a:gd name="T26" fmla="*/ 126 w 373"/>
                <a:gd name="T27" fmla="*/ 279 h 374"/>
                <a:gd name="T28" fmla="*/ 130 w 373"/>
                <a:gd name="T29" fmla="*/ 276 h 374"/>
                <a:gd name="T30" fmla="*/ 130 w 373"/>
                <a:gd name="T31" fmla="*/ 276 h 374"/>
                <a:gd name="T32" fmla="*/ 133 w 373"/>
                <a:gd name="T33" fmla="*/ 271 h 374"/>
                <a:gd name="T34" fmla="*/ 135 w 373"/>
                <a:gd name="T35" fmla="*/ 267 h 374"/>
                <a:gd name="T36" fmla="*/ 136 w 373"/>
                <a:gd name="T37" fmla="*/ 262 h 374"/>
                <a:gd name="T38" fmla="*/ 136 w 373"/>
                <a:gd name="T39" fmla="*/ 258 h 374"/>
                <a:gd name="T40" fmla="*/ 136 w 373"/>
                <a:gd name="T41" fmla="*/ 253 h 374"/>
                <a:gd name="T42" fmla="*/ 135 w 373"/>
                <a:gd name="T43" fmla="*/ 249 h 374"/>
                <a:gd name="T44" fmla="*/ 133 w 373"/>
                <a:gd name="T45" fmla="*/ 244 h 374"/>
                <a:gd name="T46" fmla="*/ 130 w 373"/>
                <a:gd name="T47" fmla="*/ 241 h 374"/>
                <a:gd name="T48" fmla="*/ 130 w 373"/>
                <a:gd name="T49" fmla="*/ 241 h 374"/>
                <a:gd name="T50" fmla="*/ 126 w 373"/>
                <a:gd name="T51" fmla="*/ 238 h 374"/>
                <a:gd name="T52" fmla="*/ 121 w 373"/>
                <a:gd name="T53" fmla="*/ 235 h 374"/>
                <a:gd name="T54" fmla="*/ 116 w 373"/>
                <a:gd name="T55" fmla="*/ 233 h 374"/>
                <a:gd name="T56" fmla="*/ 112 w 373"/>
                <a:gd name="T57" fmla="*/ 233 h 374"/>
                <a:gd name="T58" fmla="*/ 107 w 373"/>
                <a:gd name="T59" fmla="*/ 233 h 374"/>
                <a:gd name="T60" fmla="*/ 103 w 373"/>
                <a:gd name="T61" fmla="*/ 235 h 374"/>
                <a:gd name="T62" fmla="*/ 98 w 373"/>
                <a:gd name="T63" fmla="*/ 238 h 374"/>
                <a:gd name="T64" fmla="*/ 94 w 373"/>
                <a:gd name="T65" fmla="*/ 241 h 374"/>
                <a:gd name="T66" fmla="*/ 94 w 373"/>
                <a:gd name="T67" fmla="*/ 241 h 374"/>
                <a:gd name="T68" fmla="*/ 91 w 373"/>
                <a:gd name="T69" fmla="*/ 244 h 374"/>
                <a:gd name="T70" fmla="*/ 89 w 373"/>
                <a:gd name="T71" fmla="*/ 249 h 374"/>
                <a:gd name="T72" fmla="*/ 88 w 373"/>
                <a:gd name="T73" fmla="*/ 253 h 374"/>
                <a:gd name="T74" fmla="*/ 88 w 373"/>
                <a:gd name="T75" fmla="*/ 258 h 374"/>
                <a:gd name="T76" fmla="*/ 88 w 373"/>
                <a:gd name="T77" fmla="*/ 262 h 374"/>
                <a:gd name="T78" fmla="*/ 89 w 373"/>
                <a:gd name="T79" fmla="*/ 267 h 374"/>
                <a:gd name="T80" fmla="*/ 91 w 373"/>
                <a:gd name="T81" fmla="*/ 271 h 374"/>
                <a:gd name="T82" fmla="*/ 94 w 373"/>
                <a:gd name="T83" fmla="*/ 276 h 374"/>
                <a:gd name="T84" fmla="*/ 94 w 373"/>
                <a:gd name="T85" fmla="*/ 276 h 3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373" h="374">
                  <a:moveTo>
                    <a:pt x="373" y="132"/>
                  </a:moveTo>
                  <a:lnTo>
                    <a:pt x="133" y="374"/>
                  </a:lnTo>
                  <a:lnTo>
                    <a:pt x="0" y="241"/>
                  </a:lnTo>
                  <a:lnTo>
                    <a:pt x="240" y="0"/>
                  </a:lnTo>
                  <a:lnTo>
                    <a:pt x="373" y="132"/>
                  </a:lnTo>
                  <a:close/>
                  <a:moveTo>
                    <a:pt x="94" y="276"/>
                  </a:moveTo>
                  <a:lnTo>
                    <a:pt x="94" y="276"/>
                  </a:lnTo>
                  <a:lnTo>
                    <a:pt x="98" y="279"/>
                  </a:lnTo>
                  <a:lnTo>
                    <a:pt x="103" y="282"/>
                  </a:lnTo>
                  <a:lnTo>
                    <a:pt x="107" y="282"/>
                  </a:lnTo>
                  <a:lnTo>
                    <a:pt x="112" y="283"/>
                  </a:lnTo>
                  <a:lnTo>
                    <a:pt x="116" y="282"/>
                  </a:lnTo>
                  <a:lnTo>
                    <a:pt x="121" y="282"/>
                  </a:lnTo>
                  <a:lnTo>
                    <a:pt x="126" y="279"/>
                  </a:lnTo>
                  <a:lnTo>
                    <a:pt x="130" y="276"/>
                  </a:lnTo>
                  <a:lnTo>
                    <a:pt x="130" y="276"/>
                  </a:lnTo>
                  <a:lnTo>
                    <a:pt x="133" y="271"/>
                  </a:lnTo>
                  <a:lnTo>
                    <a:pt x="135" y="267"/>
                  </a:lnTo>
                  <a:lnTo>
                    <a:pt x="136" y="262"/>
                  </a:lnTo>
                  <a:lnTo>
                    <a:pt x="136" y="258"/>
                  </a:lnTo>
                  <a:lnTo>
                    <a:pt x="136" y="253"/>
                  </a:lnTo>
                  <a:lnTo>
                    <a:pt x="135" y="249"/>
                  </a:lnTo>
                  <a:lnTo>
                    <a:pt x="133" y="244"/>
                  </a:lnTo>
                  <a:lnTo>
                    <a:pt x="130" y="241"/>
                  </a:lnTo>
                  <a:lnTo>
                    <a:pt x="130" y="241"/>
                  </a:lnTo>
                  <a:lnTo>
                    <a:pt x="126" y="238"/>
                  </a:lnTo>
                  <a:lnTo>
                    <a:pt x="121" y="235"/>
                  </a:lnTo>
                  <a:lnTo>
                    <a:pt x="116" y="233"/>
                  </a:lnTo>
                  <a:lnTo>
                    <a:pt x="112" y="233"/>
                  </a:lnTo>
                  <a:lnTo>
                    <a:pt x="107" y="233"/>
                  </a:lnTo>
                  <a:lnTo>
                    <a:pt x="103" y="235"/>
                  </a:lnTo>
                  <a:lnTo>
                    <a:pt x="98" y="238"/>
                  </a:lnTo>
                  <a:lnTo>
                    <a:pt x="94" y="241"/>
                  </a:lnTo>
                  <a:lnTo>
                    <a:pt x="94" y="241"/>
                  </a:lnTo>
                  <a:lnTo>
                    <a:pt x="91" y="244"/>
                  </a:lnTo>
                  <a:lnTo>
                    <a:pt x="89" y="249"/>
                  </a:lnTo>
                  <a:lnTo>
                    <a:pt x="88" y="253"/>
                  </a:lnTo>
                  <a:lnTo>
                    <a:pt x="88" y="258"/>
                  </a:lnTo>
                  <a:lnTo>
                    <a:pt x="88" y="262"/>
                  </a:lnTo>
                  <a:lnTo>
                    <a:pt x="89" y="267"/>
                  </a:lnTo>
                  <a:lnTo>
                    <a:pt x="91" y="271"/>
                  </a:lnTo>
                  <a:lnTo>
                    <a:pt x="94" y="276"/>
                  </a:lnTo>
                  <a:lnTo>
                    <a:pt x="94" y="276"/>
                  </a:lnTo>
                  <a:close/>
                </a:path>
              </a:pathLst>
            </a:custGeom>
            <a:solidFill>
              <a:schemeClr val="bg1"/>
            </a:solidFill>
            <a:ln w="4763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T America" panose="00000500000000000000" pitchFamily="2" charset="0"/>
                <a:ea typeface="+mn-ea"/>
                <a:cs typeface="+mn-cs"/>
              </a:endParaRPr>
            </a:p>
          </p:txBody>
        </p:sp>
        <p:sp>
          <p:nvSpPr>
            <p:cNvPr id="37" name="Freeform 9"/>
            <p:cNvSpPr>
              <a:spLocks/>
            </p:cNvSpPr>
            <p:nvPr/>
          </p:nvSpPr>
          <p:spPr bwMode="auto">
            <a:xfrm>
              <a:off x="1248094" y="1889968"/>
              <a:ext cx="830263" cy="915988"/>
            </a:xfrm>
            <a:custGeom>
              <a:avLst/>
              <a:gdLst>
                <a:gd name="T0" fmla="*/ 193 w 523"/>
                <a:gd name="T1" fmla="*/ 210 h 577"/>
                <a:gd name="T2" fmla="*/ 181 w 523"/>
                <a:gd name="T3" fmla="*/ 219 h 577"/>
                <a:gd name="T4" fmla="*/ 167 w 523"/>
                <a:gd name="T5" fmla="*/ 221 h 577"/>
                <a:gd name="T6" fmla="*/ 148 w 523"/>
                <a:gd name="T7" fmla="*/ 215 h 577"/>
                <a:gd name="T8" fmla="*/ 137 w 523"/>
                <a:gd name="T9" fmla="*/ 206 h 577"/>
                <a:gd name="T10" fmla="*/ 131 w 523"/>
                <a:gd name="T11" fmla="*/ 184 h 577"/>
                <a:gd name="T12" fmla="*/ 137 w 523"/>
                <a:gd name="T13" fmla="*/ 165 h 577"/>
                <a:gd name="T14" fmla="*/ 258 w 523"/>
                <a:gd name="T15" fmla="*/ 42 h 577"/>
                <a:gd name="T16" fmla="*/ 279 w 523"/>
                <a:gd name="T17" fmla="*/ 25 h 577"/>
                <a:gd name="T18" fmla="*/ 228 w 523"/>
                <a:gd name="T19" fmla="*/ 6 h 577"/>
                <a:gd name="T20" fmla="*/ 181 w 523"/>
                <a:gd name="T21" fmla="*/ 0 h 577"/>
                <a:gd name="T22" fmla="*/ 161 w 523"/>
                <a:gd name="T23" fmla="*/ 0 h 577"/>
                <a:gd name="T24" fmla="*/ 0 w 523"/>
                <a:gd name="T25" fmla="*/ 180 h 577"/>
                <a:gd name="T26" fmla="*/ 12 w 523"/>
                <a:gd name="T27" fmla="*/ 241 h 577"/>
                <a:gd name="T28" fmla="*/ 33 w 523"/>
                <a:gd name="T29" fmla="*/ 288 h 577"/>
                <a:gd name="T30" fmla="*/ 308 w 523"/>
                <a:gd name="T31" fmla="*/ 568 h 577"/>
                <a:gd name="T32" fmla="*/ 319 w 523"/>
                <a:gd name="T33" fmla="*/ 574 h 577"/>
                <a:gd name="T34" fmla="*/ 332 w 523"/>
                <a:gd name="T35" fmla="*/ 577 h 577"/>
                <a:gd name="T36" fmla="*/ 350 w 523"/>
                <a:gd name="T37" fmla="*/ 571 h 577"/>
                <a:gd name="T38" fmla="*/ 359 w 523"/>
                <a:gd name="T39" fmla="*/ 562 h 577"/>
                <a:gd name="T40" fmla="*/ 365 w 523"/>
                <a:gd name="T41" fmla="*/ 544 h 577"/>
                <a:gd name="T42" fmla="*/ 359 w 523"/>
                <a:gd name="T43" fmla="*/ 525 h 577"/>
                <a:gd name="T44" fmla="*/ 211 w 523"/>
                <a:gd name="T45" fmla="*/ 366 h 577"/>
                <a:gd name="T46" fmla="*/ 368 w 523"/>
                <a:gd name="T47" fmla="*/ 524 h 577"/>
                <a:gd name="T48" fmla="*/ 387 w 523"/>
                <a:gd name="T49" fmla="*/ 530 h 577"/>
                <a:gd name="T50" fmla="*/ 400 w 523"/>
                <a:gd name="T51" fmla="*/ 527 h 577"/>
                <a:gd name="T52" fmla="*/ 411 w 523"/>
                <a:gd name="T53" fmla="*/ 521 h 577"/>
                <a:gd name="T54" fmla="*/ 420 w 523"/>
                <a:gd name="T55" fmla="*/ 503 h 577"/>
                <a:gd name="T56" fmla="*/ 420 w 523"/>
                <a:gd name="T57" fmla="*/ 491 h 577"/>
                <a:gd name="T58" fmla="*/ 411 w 523"/>
                <a:gd name="T59" fmla="*/ 474 h 577"/>
                <a:gd name="T60" fmla="*/ 415 w 523"/>
                <a:gd name="T61" fmla="*/ 469 h 577"/>
                <a:gd name="T62" fmla="*/ 426 w 523"/>
                <a:gd name="T63" fmla="*/ 475 h 577"/>
                <a:gd name="T64" fmla="*/ 438 w 523"/>
                <a:gd name="T65" fmla="*/ 478 h 577"/>
                <a:gd name="T66" fmla="*/ 458 w 523"/>
                <a:gd name="T67" fmla="*/ 472 h 577"/>
                <a:gd name="T68" fmla="*/ 467 w 523"/>
                <a:gd name="T69" fmla="*/ 463 h 577"/>
                <a:gd name="T70" fmla="*/ 471 w 523"/>
                <a:gd name="T71" fmla="*/ 445 h 577"/>
                <a:gd name="T72" fmla="*/ 470 w 523"/>
                <a:gd name="T73" fmla="*/ 433 h 577"/>
                <a:gd name="T74" fmla="*/ 309 w 523"/>
                <a:gd name="T75" fmla="*/ 269 h 577"/>
                <a:gd name="T76" fmla="*/ 467 w 523"/>
                <a:gd name="T77" fmla="*/ 418 h 577"/>
                <a:gd name="T78" fmla="*/ 483 w 523"/>
                <a:gd name="T79" fmla="*/ 427 h 577"/>
                <a:gd name="T80" fmla="*/ 497 w 523"/>
                <a:gd name="T81" fmla="*/ 427 h 577"/>
                <a:gd name="T82" fmla="*/ 514 w 523"/>
                <a:gd name="T83" fmla="*/ 418 h 577"/>
                <a:gd name="T84" fmla="*/ 521 w 523"/>
                <a:gd name="T85" fmla="*/ 407 h 577"/>
                <a:gd name="T86" fmla="*/ 523 w 523"/>
                <a:gd name="T87" fmla="*/ 394 h 577"/>
                <a:gd name="T88" fmla="*/ 518 w 523"/>
                <a:gd name="T89" fmla="*/ 375 h 5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523" h="577">
                  <a:moveTo>
                    <a:pt x="514" y="371"/>
                  </a:moveTo>
                  <a:lnTo>
                    <a:pt x="273" y="130"/>
                  </a:lnTo>
                  <a:lnTo>
                    <a:pt x="193" y="210"/>
                  </a:lnTo>
                  <a:lnTo>
                    <a:pt x="193" y="210"/>
                  </a:lnTo>
                  <a:lnTo>
                    <a:pt x="187" y="215"/>
                  </a:lnTo>
                  <a:lnTo>
                    <a:pt x="181" y="219"/>
                  </a:lnTo>
                  <a:lnTo>
                    <a:pt x="175" y="221"/>
                  </a:lnTo>
                  <a:lnTo>
                    <a:pt x="167" y="221"/>
                  </a:lnTo>
                  <a:lnTo>
                    <a:pt x="167" y="221"/>
                  </a:lnTo>
                  <a:lnTo>
                    <a:pt x="161" y="221"/>
                  </a:lnTo>
                  <a:lnTo>
                    <a:pt x="154" y="219"/>
                  </a:lnTo>
                  <a:lnTo>
                    <a:pt x="148" y="215"/>
                  </a:lnTo>
                  <a:lnTo>
                    <a:pt x="142" y="210"/>
                  </a:lnTo>
                  <a:lnTo>
                    <a:pt x="142" y="210"/>
                  </a:lnTo>
                  <a:lnTo>
                    <a:pt x="137" y="206"/>
                  </a:lnTo>
                  <a:lnTo>
                    <a:pt x="134" y="198"/>
                  </a:lnTo>
                  <a:lnTo>
                    <a:pt x="133" y="192"/>
                  </a:lnTo>
                  <a:lnTo>
                    <a:pt x="131" y="184"/>
                  </a:lnTo>
                  <a:lnTo>
                    <a:pt x="133" y="178"/>
                  </a:lnTo>
                  <a:lnTo>
                    <a:pt x="134" y="171"/>
                  </a:lnTo>
                  <a:lnTo>
                    <a:pt x="137" y="165"/>
                  </a:lnTo>
                  <a:lnTo>
                    <a:pt x="142" y="159"/>
                  </a:lnTo>
                  <a:lnTo>
                    <a:pt x="258" y="42"/>
                  </a:lnTo>
                  <a:lnTo>
                    <a:pt x="258" y="42"/>
                  </a:lnTo>
                  <a:lnTo>
                    <a:pt x="269" y="34"/>
                  </a:lnTo>
                  <a:lnTo>
                    <a:pt x="279" y="25"/>
                  </a:lnTo>
                  <a:lnTo>
                    <a:pt x="279" y="25"/>
                  </a:lnTo>
                  <a:lnTo>
                    <a:pt x="263" y="16"/>
                  </a:lnTo>
                  <a:lnTo>
                    <a:pt x="244" y="10"/>
                  </a:lnTo>
                  <a:lnTo>
                    <a:pt x="228" y="6"/>
                  </a:lnTo>
                  <a:lnTo>
                    <a:pt x="211" y="3"/>
                  </a:lnTo>
                  <a:lnTo>
                    <a:pt x="195" y="0"/>
                  </a:lnTo>
                  <a:lnTo>
                    <a:pt x="181" y="0"/>
                  </a:lnTo>
                  <a:lnTo>
                    <a:pt x="161" y="0"/>
                  </a:lnTo>
                  <a:lnTo>
                    <a:pt x="161" y="0"/>
                  </a:lnTo>
                  <a:lnTo>
                    <a:pt x="161" y="0"/>
                  </a:lnTo>
                  <a:lnTo>
                    <a:pt x="0" y="162"/>
                  </a:lnTo>
                  <a:lnTo>
                    <a:pt x="0" y="162"/>
                  </a:lnTo>
                  <a:lnTo>
                    <a:pt x="0" y="180"/>
                  </a:lnTo>
                  <a:lnTo>
                    <a:pt x="1" y="198"/>
                  </a:lnTo>
                  <a:lnTo>
                    <a:pt x="6" y="218"/>
                  </a:lnTo>
                  <a:lnTo>
                    <a:pt x="12" y="241"/>
                  </a:lnTo>
                  <a:lnTo>
                    <a:pt x="19" y="265"/>
                  </a:lnTo>
                  <a:lnTo>
                    <a:pt x="25" y="275"/>
                  </a:lnTo>
                  <a:lnTo>
                    <a:pt x="33" y="288"/>
                  </a:lnTo>
                  <a:lnTo>
                    <a:pt x="40" y="298"/>
                  </a:lnTo>
                  <a:lnTo>
                    <a:pt x="49" y="309"/>
                  </a:lnTo>
                  <a:lnTo>
                    <a:pt x="308" y="568"/>
                  </a:lnTo>
                  <a:lnTo>
                    <a:pt x="308" y="568"/>
                  </a:lnTo>
                  <a:lnTo>
                    <a:pt x="314" y="571"/>
                  </a:lnTo>
                  <a:lnTo>
                    <a:pt x="319" y="574"/>
                  </a:lnTo>
                  <a:lnTo>
                    <a:pt x="325" y="577"/>
                  </a:lnTo>
                  <a:lnTo>
                    <a:pt x="332" y="577"/>
                  </a:lnTo>
                  <a:lnTo>
                    <a:pt x="332" y="577"/>
                  </a:lnTo>
                  <a:lnTo>
                    <a:pt x="338" y="577"/>
                  </a:lnTo>
                  <a:lnTo>
                    <a:pt x="344" y="574"/>
                  </a:lnTo>
                  <a:lnTo>
                    <a:pt x="350" y="571"/>
                  </a:lnTo>
                  <a:lnTo>
                    <a:pt x="355" y="568"/>
                  </a:lnTo>
                  <a:lnTo>
                    <a:pt x="355" y="568"/>
                  </a:lnTo>
                  <a:lnTo>
                    <a:pt x="359" y="562"/>
                  </a:lnTo>
                  <a:lnTo>
                    <a:pt x="362" y="556"/>
                  </a:lnTo>
                  <a:lnTo>
                    <a:pt x="364" y="550"/>
                  </a:lnTo>
                  <a:lnTo>
                    <a:pt x="365" y="544"/>
                  </a:lnTo>
                  <a:lnTo>
                    <a:pt x="364" y="538"/>
                  </a:lnTo>
                  <a:lnTo>
                    <a:pt x="362" y="532"/>
                  </a:lnTo>
                  <a:lnTo>
                    <a:pt x="359" y="525"/>
                  </a:lnTo>
                  <a:lnTo>
                    <a:pt x="355" y="521"/>
                  </a:lnTo>
                  <a:lnTo>
                    <a:pt x="207" y="371"/>
                  </a:lnTo>
                  <a:lnTo>
                    <a:pt x="211" y="366"/>
                  </a:lnTo>
                  <a:lnTo>
                    <a:pt x="364" y="521"/>
                  </a:lnTo>
                  <a:lnTo>
                    <a:pt x="364" y="521"/>
                  </a:lnTo>
                  <a:lnTo>
                    <a:pt x="368" y="524"/>
                  </a:lnTo>
                  <a:lnTo>
                    <a:pt x="374" y="527"/>
                  </a:lnTo>
                  <a:lnTo>
                    <a:pt x="381" y="530"/>
                  </a:lnTo>
                  <a:lnTo>
                    <a:pt x="387" y="530"/>
                  </a:lnTo>
                  <a:lnTo>
                    <a:pt x="387" y="530"/>
                  </a:lnTo>
                  <a:lnTo>
                    <a:pt x="394" y="530"/>
                  </a:lnTo>
                  <a:lnTo>
                    <a:pt x="400" y="527"/>
                  </a:lnTo>
                  <a:lnTo>
                    <a:pt x="406" y="524"/>
                  </a:lnTo>
                  <a:lnTo>
                    <a:pt x="411" y="521"/>
                  </a:lnTo>
                  <a:lnTo>
                    <a:pt x="411" y="521"/>
                  </a:lnTo>
                  <a:lnTo>
                    <a:pt x="415" y="515"/>
                  </a:lnTo>
                  <a:lnTo>
                    <a:pt x="418" y="509"/>
                  </a:lnTo>
                  <a:lnTo>
                    <a:pt x="420" y="503"/>
                  </a:lnTo>
                  <a:lnTo>
                    <a:pt x="420" y="497"/>
                  </a:lnTo>
                  <a:lnTo>
                    <a:pt x="420" y="497"/>
                  </a:lnTo>
                  <a:lnTo>
                    <a:pt x="420" y="491"/>
                  </a:lnTo>
                  <a:lnTo>
                    <a:pt x="418" y="485"/>
                  </a:lnTo>
                  <a:lnTo>
                    <a:pt x="415" y="478"/>
                  </a:lnTo>
                  <a:lnTo>
                    <a:pt x="411" y="474"/>
                  </a:lnTo>
                  <a:lnTo>
                    <a:pt x="258" y="319"/>
                  </a:lnTo>
                  <a:lnTo>
                    <a:pt x="263" y="316"/>
                  </a:lnTo>
                  <a:lnTo>
                    <a:pt x="415" y="469"/>
                  </a:lnTo>
                  <a:lnTo>
                    <a:pt x="415" y="469"/>
                  </a:lnTo>
                  <a:lnTo>
                    <a:pt x="420" y="472"/>
                  </a:lnTo>
                  <a:lnTo>
                    <a:pt x="426" y="475"/>
                  </a:lnTo>
                  <a:lnTo>
                    <a:pt x="432" y="478"/>
                  </a:lnTo>
                  <a:lnTo>
                    <a:pt x="438" y="478"/>
                  </a:lnTo>
                  <a:lnTo>
                    <a:pt x="438" y="478"/>
                  </a:lnTo>
                  <a:lnTo>
                    <a:pt x="446" y="478"/>
                  </a:lnTo>
                  <a:lnTo>
                    <a:pt x="452" y="475"/>
                  </a:lnTo>
                  <a:lnTo>
                    <a:pt x="458" y="472"/>
                  </a:lnTo>
                  <a:lnTo>
                    <a:pt x="462" y="469"/>
                  </a:lnTo>
                  <a:lnTo>
                    <a:pt x="462" y="469"/>
                  </a:lnTo>
                  <a:lnTo>
                    <a:pt x="467" y="463"/>
                  </a:lnTo>
                  <a:lnTo>
                    <a:pt x="470" y="459"/>
                  </a:lnTo>
                  <a:lnTo>
                    <a:pt x="471" y="451"/>
                  </a:lnTo>
                  <a:lnTo>
                    <a:pt x="471" y="445"/>
                  </a:lnTo>
                  <a:lnTo>
                    <a:pt x="471" y="445"/>
                  </a:lnTo>
                  <a:lnTo>
                    <a:pt x="471" y="439"/>
                  </a:lnTo>
                  <a:lnTo>
                    <a:pt x="470" y="433"/>
                  </a:lnTo>
                  <a:lnTo>
                    <a:pt x="467" y="427"/>
                  </a:lnTo>
                  <a:lnTo>
                    <a:pt x="462" y="422"/>
                  </a:lnTo>
                  <a:lnTo>
                    <a:pt x="309" y="269"/>
                  </a:lnTo>
                  <a:lnTo>
                    <a:pt x="314" y="265"/>
                  </a:lnTo>
                  <a:lnTo>
                    <a:pt x="467" y="418"/>
                  </a:lnTo>
                  <a:lnTo>
                    <a:pt x="467" y="418"/>
                  </a:lnTo>
                  <a:lnTo>
                    <a:pt x="471" y="421"/>
                  </a:lnTo>
                  <a:lnTo>
                    <a:pt x="477" y="424"/>
                  </a:lnTo>
                  <a:lnTo>
                    <a:pt x="483" y="427"/>
                  </a:lnTo>
                  <a:lnTo>
                    <a:pt x="489" y="427"/>
                  </a:lnTo>
                  <a:lnTo>
                    <a:pt x="489" y="427"/>
                  </a:lnTo>
                  <a:lnTo>
                    <a:pt x="497" y="427"/>
                  </a:lnTo>
                  <a:lnTo>
                    <a:pt x="503" y="424"/>
                  </a:lnTo>
                  <a:lnTo>
                    <a:pt x="508" y="421"/>
                  </a:lnTo>
                  <a:lnTo>
                    <a:pt x="514" y="418"/>
                  </a:lnTo>
                  <a:lnTo>
                    <a:pt x="514" y="418"/>
                  </a:lnTo>
                  <a:lnTo>
                    <a:pt x="518" y="412"/>
                  </a:lnTo>
                  <a:lnTo>
                    <a:pt x="521" y="407"/>
                  </a:lnTo>
                  <a:lnTo>
                    <a:pt x="523" y="401"/>
                  </a:lnTo>
                  <a:lnTo>
                    <a:pt x="523" y="394"/>
                  </a:lnTo>
                  <a:lnTo>
                    <a:pt x="523" y="394"/>
                  </a:lnTo>
                  <a:lnTo>
                    <a:pt x="523" y="388"/>
                  </a:lnTo>
                  <a:lnTo>
                    <a:pt x="521" y="381"/>
                  </a:lnTo>
                  <a:lnTo>
                    <a:pt x="518" y="375"/>
                  </a:lnTo>
                  <a:lnTo>
                    <a:pt x="514" y="371"/>
                  </a:lnTo>
                  <a:lnTo>
                    <a:pt x="514" y="37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T America" panose="00000500000000000000" pitchFamily="2" charset="0"/>
                <a:ea typeface="+mn-ea"/>
                <a:cs typeface="+mn-cs"/>
              </a:endParaRPr>
            </a:p>
          </p:txBody>
        </p:sp>
        <p:sp>
          <p:nvSpPr>
            <p:cNvPr id="38" name="Freeform 10"/>
            <p:cNvSpPr>
              <a:spLocks/>
            </p:cNvSpPr>
            <p:nvPr/>
          </p:nvSpPr>
          <p:spPr bwMode="auto">
            <a:xfrm>
              <a:off x="1460819" y="1889968"/>
              <a:ext cx="684213" cy="536575"/>
            </a:xfrm>
            <a:custGeom>
              <a:avLst/>
              <a:gdLst>
                <a:gd name="T0" fmla="*/ 124 w 431"/>
                <a:gd name="T1" fmla="*/ 48 h 338"/>
                <a:gd name="T2" fmla="*/ 124 w 431"/>
                <a:gd name="T3" fmla="*/ 48 h 338"/>
                <a:gd name="T4" fmla="*/ 123 w 431"/>
                <a:gd name="T5" fmla="*/ 50 h 338"/>
                <a:gd name="T6" fmla="*/ 11 w 431"/>
                <a:gd name="T7" fmla="*/ 162 h 338"/>
                <a:gd name="T8" fmla="*/ 11 w 431"/>
                <a:gd name="T9" fmla="*/ 162 h 338"/>
                <a:gd name="T10" fmla="*/ 6 w 431"/>
                <a:gd name="T11" fmla="*/ 166 h 338"/>
                <a:gd name="T12" fmla="*/ 3 w 431"/>
                <a:gd name="T13" fmla="*/ 172 h 338"/>
                <a:gd name="T14" fmla="*/ 2 w 431"/>
                <a:gd name="T15" fmla="*/ 178 h 338"/>
                <a:gd name="T16" fmla="*/ 0 w 431"/>
                <a:gd name="T17" fmla="*/ 184 h 338"/>
                <a:gd name="T18" fmla="*/ 2 w 431"/>
                <a:gd name="T19" fmla="*/ 192 h 338"/>
                <a:gd name="T20" fmla="*/ 3 w 431"/>
                <a:gd name="T21" fmla="*/ 198 h 338"/>
                <a:gd name="T22" fmla="*/ 6 w 431"/>
                <a:gd name="T23" fmla="*/ 203 h 338"/>
                <a:gd name="T24" fmla="*/ 11 w 431"/>
                <a:gd name="T25" fmla="*/ 209 h 338"/>
                <a:gd name="T26" fmla="*/ 11 w 431"/>
                <a:gd name="T27" fmla="*/ 209 h 338"/>
                <a:gd name="T28" fmla="*/ 15 w 431"/>
                <a:gd name="T29" fmla="*/ 213 h 338"/>
                <a:gd name="T30" fmla="*/ 21 w 431"/>
                <a:gd name="T31" fmla="*/ 216 h 338"/>
                <a:gd name="T32" fmla="*/ 27 w 431"/>
                <a:gd name="T33" fmla="*/ 218 h 338"/>
                <a:gd name="T34" fmla="*/ 33 w 431"/>
                <a:gd name="T35" fmla="*/ 218 h 338"/>
                <a:gd name="T36" fmla="*/ 39 w 431"/>
                <a:gd name="T37" fmla="*/ 218 h 338"/>
                <a:gd name="T38" fmla="*/ 45 w 431"/>
                <a:gd name="T39" fmla="*/ 216 h 338"/>
                <a:gd name="T40" fmla="*/ 51 w 431"/>
                <a:gd name="T41" fmla="*/ 213 h 338"/>
                <a:gd name="T42" fmla="*/ 58 w 431"/>
                <a:gd name="T43" fmla="*/ 209 h 338"/>
                <a:gd name="T44" fmla="*/ 165 w 431"/>
                <a:gd name="T45" fmla="*/ 100 h 338"/>
                <a:gd name="T46" fmla="*/ 165 w 431"/>
                <a:gd name="T47" fmla="*/ 100 h 338"/>
                <a:gd name="T48" fmla="*/ 168 w 431"/>
                <a:gd name="T49" fmla="*/ 98 h 338"/>
                <a:gd name="T50" fmla="*/ 171 w 431"/>
                <a:gd name="T51" fmla="*/ 98 h 338"/>
                <a:gd name="T52" fmla="*/ 172 w 431"/>
                <a:gd name="T53" fmla="*/ 98 h 338"/>
                <a:gd name="T54" fmla="*/ 175 w 431"/>
                <a:gd name="T55" fmla="*/ 100 h 338"/>
                <a:gd name="T56" fmla="*/ 175 w 431"/>
                <a:gd name="T57" fmla="*/ 100 h 338"/>
                <a:gd name="T58" fmla="*/ 177 w 431"/>
                <a:gd name="T59" fmla="*/ 103 h 338"/>
                <a:gd name="T60" fmla="*/ 178 w 431"/>
                <a:gd name="T61" fmla="*/ 106 h 338"/>
                <a:gd name="T62" fmla="*/ 178 w 431"/>
                <a:gd name="T63" fmla="*/ 106 h 338"/>
                <a:gd name="T64" fmla="*/ 177 w 431"/>
                <a:gd name="T65" fmla="*/ 109 h 338"/>
                <a:gd name="T66" fmla="*/ 175 w 431"/>
                <a:gd name="T67" fmla="*/ 112 h 338"/>
                <a:gd name="T68" fmla="*/ 150 w 431"/>
                <a:gd name="T69" fmla="*/ 136 h 338"/>
                <a:gd name="T70" fmla="*/ 351 w 431"/>
                <a:gd name="T71" fmla="*/ 338 h 338"/>
                <a:gd name="T72" fmla="*/ 381 w 431"/>
                <a:gd name="T73" fmla="*/ 309 h 338"/>
                <a:gd name="T74" fmla="*/ 381 w 431"/>
                <a:gd name="T75" fmla="*/ 309 h 338"/>
                <a:gd name="T76" fmla="*/ 390 w 431"/>
                <a:gd name="T77" fmla="*/ 298 h 338"/>
                <a:gd name="T78" fmla="*/ 398 w 431"/>
                <a:gd name="T79" fmla="*/ 288 h 338"/>
                <a:gd name="T80" fmla="*/ 405 w 431"/>
                <a:gd name="T81" fmla="*/ 275 h 338"/>
                <a:gd name="T82" fmla="*/ 410 w 431"/>
                <a:gd name="T83" fmla="*/ 265 h 338"/>
                <a:gd name="T84" fmla="*/ 419 w 431"/>
                <a:gd name="T85" fmla="*/ 241 h 338"/>
                <a:gd name="T86" fmla="*/ 425 w 431"/>
                <a:gd name="T87" fmla="*/ 218 h 338"/>
                <a:gd name="T88" fmla="*/ 429 w 431"/>
                <a:gd name="T89" fmla="*/ 198 h 338"/>
                <a:gd name="T90" fmla="*/ 431 w 431"/>
                <a:gd name="T91" fmla="*/ 180 h 338"/>
                <a:gd name="T92" fmla="*/ 431 w 431"/>
                <a:gd name="T93" fmla="*/ 162 h 338"/>
                <a:gd name="T94" fmla="*/ 269 w 431"/>
                <a:gd name="T95" fmla="*/ 0 h 338"/>
                <a:gd name="T96" fmla="*/ 269 w 431"/>
                <a:gd name="T97" fmla="*/ 0 h 338"/>
                <a:gd name="T98" fmla="*/ 269 w 431"/>
                <a:gd name="T99" fmla="*/ 0 h 338"/>
                <a:gd name="T100" fmla="*/ 269 w 431"/>
                <a:gd name="T101" fmla="*/ 0 h 338"/>
                <a:gd name="T102" fmla="*/ 244 w 431"/>
                <a:gd name="T103" fmla="*/ 0 h 338"/>
                <a:gd name="T104" fmla="*/ 227 w 431"/>
                <a:gd name="T105" fmla="*/ 1 h 338"/>
                <a:gd name="T106" fmla="*/ 207 w 431"/>
                <a:gd name="T107" fmla="*/ 4 h 338"/>
                <a:gd name="T108" fmla="*/ 186 w 431"/>
                <a:gd name="T109" fmla="*/ 10 h 338"/>
                <a:gd name="T110" fmla="*/ 165 w 431"/>
                <a:gd name="T111" fmla="*/ 18 h 338"/>
                <a:gd name="T112" fmla="*/ 154 w 431"/>
                <a:gd name="T113" fmla="*/ 24 h 338"/>
                <a:gd name="T114" fmla="*/ 145 w 431"/>
                <a:gd name="T115" fmla="*/ 30 h 338"/>
                <a:gd name="T116" fmla="*/ 136 w 431"/>
                <a:gd name="T117" fmla="*/ 36 h 338"/>
                <a:gd name="T118" fmla="*/ 127 w 431"/>
                <a:gd name="T119" fmla="*/ 45 h 338"/>
                <a:gd name="T120" fmla="*/ 124 w 431"/>
                <a:gd name="T121" fmla="*/ 48 h 3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31" h="338">
                  <a:moveTo>
                    <a:pt x="124" y="48"/>
                  </a:moveTo>
                  <a:lnTo>
                    <a:pt x="124" y="48"/>
                  </a:lnTo>
                  <a:lnTo>
                    <a:pt x="123" y="50"/>
                  </a:lnTo>
                  <a:lnTo>
                    <a:pt x="11" y="162"/>
                  </a:lnTo>
                  <a:lnTo>
                    <a:pt x="11" y="162"/>
                  </a:lnTo>
                  <a:lnTo>
                    <a:pt x="6" y="166"/>
                  </a:lnTo>
                  <a:lnTo>
                    <a:pt x="3" y="172"/>
                  </a:lnTo>
                  <a:lnTo>
                    <a:pt x="2" y="178"/>
                  </a:lnTo>
                  <a:lnTo>
                    <a:pt x="0" y="184"/>
                  </a:lnTo>
                  <a:lnTo>
                    <a:pt x="2" y="192"/>
                  </a:lnTo>
                  <a:lnTo>
                    <a:pt x="3" y="198"/>
                  </a:lnTo>
                  <a:lnTo>
                    <a:pt x="6" y="203"/>
                  </a:lnTo>
                  <a:lnTo>
                    <a:pt x="11" y="209"/>
                  </a:lnTo>
                  <a:lnTo>
                    <a:pt x="11" y="209"/>
                  </a:lnTo>
                  <a:lnTo>
                    <a:pt x="15" y="213"/>
                  </a:lnTo>
                  <a:lnTo>
                    <a:pt x="21" y="216"/>
                  </a:lnTo>
                  <a:lnTo>
                    <a:pt x="27" y="218"/>
                  </a:lnTo>
                  <a:lnTo>
                    <a:pt x="33" y="218"/>
                  </a:lnTo>
                  <a:lnTo>
                    <a:pt x="39" y="218"/>
                  </a:lnTo>
                  <a:lnTo>
                    <a:pt x="45" y="216"/>
                  </a:lnTo>
                  <a:lnTo>
                    <a:pt x="51" y="213"/>
                  </a:lnTo>
                  <a:lnTo>
                    <a:pt x="58" y="209"/>
                  </a:lnTo>
                  <a:lnTo>
                    <a:pt x="165" y="100"/>
                  </a:lnTo>
                  <a:lnTo>
                    <a:pt x="165" y="100"/>
                  </a:lnTo>
                  <a:lnTo>
                    <a:pt x="168" y="98"/>
                  </a:lnTo>
                  <a:lnTo>
                    <a:pt x="171" y="98"/>
                  </a:lnTo>
                  <a:lnTo>
                    <a:pt x="172" y="98"/>
                  </a:lnTo>
                  <a:lnTo>
                    <a:pt x="175" y="100"/>
                  </a:lnTo>
                  <a:lnTo>
                    <a:pt x="175" y="100"/>
                  </a:lnTo>
                  <a:lnTo>
                    <a:pt x="177" y="103"/>
                  </a:lnTo>
                  <a:lnTo>
                    <a:pt x="178" y="106"/>
                  </a:lnTo>
                  <a:lnTo>
                    <a:pt x="178" y="106"/>
                  </a:lnTo>
                  <a:lnTo>
                    <a:pt x="177" y="109"/>
                  </a:lnTo>
                  <a:lnTo>
                    <a:pt x="175" y="112"/>
                  </a:lnTo>
                  <a:lnTo>
                    <a:pt x="150" y="136"/>
                  </a:lnTo>
                  <a:lnTo>
                    <a:pt x="351" y="338"/>
                  </a:lnTo>
                  <a:lnTo>
                    <a:pt x="381" y="309"/>
                  </a:lnTo>
                  <a:lnTo>
                    <a:pt x="381" y="309"/>
                  </a:lnTo>
                  <a:lnTo>
                    <a:pt x="390" y="298"/>
                  </a:lnTo>
                  <a:lnTo>
                    <a:pt x="398" y="288"/>
                  </a:lnTo>
                  <a:lnTo>
                    <a:pt x="405" y="275"/>
                  </a:lnTo>
                  <a:lnTo>
                    <a:pt x="410" y="265"/>
                  </a:lnTo>
                  <a:lnTo>
                    <a:pt x="419" y="241"/>
                  </a:lnTo>
                  <a:lnTo>
                    <a:pt x="425" y="218"/>
                  </a:lnTo>
                  <a:lnTo>
                    <a:pt x="429" y="198"/>
                  </a:lnTo>
                  <a:lnTo>
                    <a:pt x="431" y="180"/>
                  </a:lnTo>
                  <a:lnTo>
                    <a:pt x="431" y="162"/>
                  </a:lnTo>
                  <a:lnTo>
                    <a:pt x="269" y="0"/>
                  </a:lnTo>
                  <a:lnTo>
                    <a:pt x="269" y="0"/>
                  </a:lnTo>
                  <a:lnTo>
                    <a:pt x="269" y="0"/>
                  </a:lnTo>
                  <a:lnTo>
                    <a:pt x="269" y="0"/>
                  </a:lnTo>
                  <a:lnTo>
                    <a:pt x="244" y="0"/>
                  </a:lnTo>
                  <a:lnTo>
                    <a:pt x="227" y="1"/>
                  </a:lnTo>
                  <a:lnTo>
                    <a:pt x="207" y="4"/>
                  </a:lnTo>
                  <a:lnTo>
                    <a:pt x="186" y="10"/>
                  </a:lnTo>
                  <a:lnTo>
                    <a:pt x="165" y="18"/>
                  </a:lnTo>
                  <a:lnTo>
                    <a:pt x="154" y="24"/>
                  </a:lnTo>
                  <a:lnTo>
                    <a:pt x="145" y="30"/>
                  </a:lnTo>
                  <a:lnTo>
                    <a:pt x="136" y="36"/>
                  </a:lnTo>
                  <a:lnTo>
                    <a:pt x="127" y="45"/>
                  </a:lnTo>
                  <a:lnTo>
                    <a:pt x="124" y="4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T America" panose="00000500000000000000" pitchFamily="2" charset="0"/>
                <a:ea typeface="+mn-ea"/>
                <a:cs typeface="+mn-cs"/>
              </a:endParaRPr>
            </a:p>
          </p:txBody>
        </p:sp>
        <p:sp>
          <p:nvSpPr>
            <p:cNvPr id="39" name="Freeform 11"/>
            <p:cNvSpPr>
              <a:spLocks/>
            </p:cNvSpPr>
            <p:nvPr/>
          </p:nvSpPr>
          <p:spPr bwMode="auto">
            <a:xfrm>
              <a:off x="1395731" y="2515443"/>
              <a:ext cx="134938" cy="133350"/>
            </a:xfrm>
            <a:custGeom>
              <a:avLst/>
              <a:gdLst>
                <a:gd name="T0" fmla="*/ 85 w 85"/>
                <a:gd name="T1" fmla="*/ 47 h 84"/>
                <a:gd name="T2" fmla="*/ 38 w 85"/>
                <a:gd name="T3" fmla="*/ 0 h 84"/>
                <a:gd name="T4" fmla="*/ 9 w 85"/>
                <a:gd name="T5" fmla="*/ 28 h 84"/>
                <a:gd name="T6" fmla="*/ 9 w 85"/>
                <a:gd name="T7" fmla="*/ 28 h 84"/>
                <a:gd name="T8" fmla="*/ 5 w 85"/>
                <a:gd name="T9" fmla="*/ 33 h 84"/>
                <a:gd name="T10" fmla="*/ 2 w 85"/>
                <a:gd name="T11" fmla="*/ 39 h 84"/>
                <a:gd name="T12" fmla="*/ 0 w 85"/>
                <a:gd name="T13" fmla="*/ 45 h 84"/>
                <a:gd name="T14" fmla="*/ 0 w 85"/>
                <a:gd name="T15" fmla="*/ 51 h 84"/>
                <a:gd name="T16" fmla="*/ 0 w 85"/>
                <a:gd name="T17" fmla="*/ 51 h 84"/>
                <a:gd name="T18" fmla="*/ 0 w 85"/>
                <a:gd name="T19" fmla="*/ 57 h 84"/>
                <a:gd name="T20" fmla="*/ 2 w 85"/>
                <a:gd name="T21" fmla="*/ 65 h 84"/>
                <a:gd name="T22" fmla="*/ 5 w 85"/>
                <a:gd name="T23" fmla="*/ 69 h 84"/>
                <a:gd name="T24" fmla="*/ 9 w 85"/>
                <a:gd name="T25" fmla="*/ 75 h 84"/>
                <a:gd name="T26" fmla="*/ 9 w 85"/>
                <a:gd name="T27" fmla="*/ 75 h 84"/>
                <a:gd name="T28" fmla="*/ 14 w 85"/>
                <a:gd name="T29" fmla="*/ 78 h 84"/>
                <a:gd name="T30" fmla="*/ 20 w 85"/>
                <a:gd name="T31" fmla="*/ 81 h 84"/>
                <a:gd name="T32" fmla="*/ 26 w 85"/>
                <a:gd name="T33" fmla="*/ 84 h 84"/>
                <a:gd name="T34" fmla="*/ 32 w 85"/>
                <a:gd name="T35" fmla="*/ 84 h 84"/>
                <a:gd name="T36" fmla="*/ 32 w 85"/>
                <a:gd name="T37" fmla="*/ 84 h 84"/>
                <a:gd name="T38" fmla="*/ 40 w 85"/>
                <a:gd name="T39" fmla="*/ 84 h 84"/>
                <a:gd name="T40" fmla="*/ 46 w 85"/>
                <a:gd name="T41" fmla="*/ 81 h 84"/>
                <a:gd name="T42" fmla="*/ 52 w 85"/>
                <a:gd name="T43" fmla="*/ 78 h 84"/>
                <a:gd name="T44" fmla="*/ 56 w 85"/>
                <a:gd name="T45" fmla="*/ 75 h 84"/>
                <a:gd name="T46" fmla="*/ 85 w 85"/>
                <a:gd name="T47" fmla="*/ 47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85" h="84">
                  <a:moveTo>
                    <a:pt x="85" y="47"/>
                  </a:moveTo>
                  <a:lnTo>
                    <a:pt x="38" y="0"/>
                  </a:lnTo>
                  <a:lnTo>
                    <a:pt x="9" y="28"/>
                  </a:lnTo>
                  <a:lnTo>
                    <a:pt x="9" y="28"/>
                  </a:lnTo>
                  <a:lnTo>
                    <a:pt x="5" y="33"/>
                  </a:lnTo>
                  <a:lnTo>
                    <a:pt x="2" y="39"/>
                  </a:lnTo>
                  <a:lnTo>
                    <a:pt x="0" y="45"/>
                  </a:lnTo>
                  <a:lnTo>
                    <a:pt x="0" y="51"/>
                  </a:lnTo>
                  <a:lnTo>
                    <a:pt x="0" y="51"/>
                  </a:lnTo>
                  <a:lnTo>
                    <a:pt x="0" y="57"/>
                  </a:lnTo>
                  <a:lnTo>
                    <a:pt x="2" y="65"/>
                  </a:lnTo>
                  <a:lnTo>
                    <a:pt x="5" y="69"/>
                  </a:lnTo>
                  <a:lnTo>
                    <a:pt x="9" y="75"/>
                  </a:lnTo>
                  <a:lnTo>
                    <a:pt x="9" y="75"/>
                  </a:lnTo>
                  <a:lnTo>
                    <a:pt x="14" y="78"/>
                  </a:lnTo>
                  <a:lnTo>
                    <a:pt x="20" y="81"/>
                  </a:lnTo>
                  <a:lnTo>
                    <a:pt x="26" y="84"/>
                  </a:lnTo>
                  <a:lnTo>
                    <a:pt x="32" y="84"/>
                  </a:lnTo>
                  <a:lnTo>
                    <a:pt x="32" y="84"/>
                  </a:lnTo>
                  <a:lnTo>
                    <a:pt x="40" y="84"/>
                  </a:lnTo>
                  <a:lnTo>
                    <a:pt x="46" y="81"/>
                  </a:lnTo>
                  <a:lnTo>
                    <a:pt x="52" y="78"/>
                  </a:lnTo>
                  <a:lnTo>
                    <a:pt x="56" y="75"/>
                  </a:lnTo>
                  <a:lnTo>
                    <a:pt x="85" y="4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T America" panose="00000500000000000000" pitchFamily="2" charset="0"/>
                <a:ea typeface="+mn-ea"/>
                <a:cs typeface="+mn-cs"/>
              </a:endParaRPr>
            </a:p>
          </p:txBody>
        </p:sp>
        <p:sp>
          <p:nvSpPr>
            <p:cNvPr id="40" name="Freeform 12"/>
            <p:cNvSpPr>
              <a:spLocks/>
            </p:cNvSpPr>
            <p:nvPr/>
          </p:nvSpPr>
          <p:spPr bwMode="auto">
            <a:xfrm>
              <a:off x="1314769" y="2432893"/>
              <a:ext cx="134938" cy="134938"/>
            </a:xfrm>
            <a:custGeom>
              <a:avLst/>
              <a:gdLst>
                <a:gd name="T0" fmla="*/ 85 w 85"/>
                <a:gd name="T1" fmla="*/ 47 h 85"/>
                <a:gd name="T2" fmla="*/ 38 w 85"/>
                <a:gd name="T3" fmla="*/ 0 h 85"/>
                <a:gd name="T4" fmla="*/ 9 w 85"/>
                <a:gd name="T5" fmla="*/ 29 h 85"/>
                <a:gd name="T6" fmla="*/ 9 w 85"/>
                <a:gd name="T7" fmla="*/ 29 h 85"/>
                <a:gd name="T8" fmla="*/ 4 w 85"/>
                <a:gd name="T9" fmla="*/ 33 h 85"/>
                <a:gd name="T10" fmla="*/ 1 w 85"/>
                <a:gd name="T11" fmla="*/ 39 h 85"/>
                <a:gd name="T12" fmla="*/ 0 w 85"/>
                <a:gd name="T13" fmla="*/ 46 h 85"/>
                <a:gd name="T14" fmla="*/ 0 w 85"/>
                <a:gd name="T15" fmla="*/ 52 h 85"/>
                <a:gd name="T16" fmla="*/ 0 w 85"/>
                <a:gd name="T17" fmla="*/ 52 h 85"/>
                <a:gd name="T18" fmla="*/ 0 w 85"/>
                <a:gd name="T19" fmla="*/ 59 h 85"/>
                <a:gd name="T20" fmla="*/ 1 w 85"/>
                <a:gd name="T21" fmla="*/ 65 h 85"/>
                <a:gd name="T22" fmla="*/ 4 w 85"/>
                <a:gd name="T23" fmla="*/ 70 h 85"/>
                <a:gd name="T24" fmla="*/ 9 w 85"/>
                <a:gd name="T25" fmla="*/ 76 h 85"/>
                <a:gd name="T26" fmla="*/ 9 w 85"/>
                <a:gd name="T27" fmla="*/ 76 h 85"/>
                <a:gd name="T28" fmla="*/ 13 w 85"/>
                <a:gd name="T29" fmla="*/ 79 h 85"/>
                <a:gd name="T30" fmla="*/ 20 w 85"/>
                <a:gd name="T31" fmla="*/ 82 h 85"/>
                <a:gd name="T32" fmla="*/ 26 w 85"/>
                <a:gd name="T33" fmla="*/ 85 h 85"/>
                <a:gd name="T34" fmla="*/ 33 w 85"/>
                <a:gd name="T35" fmla="*/ 85 h 85"/>
                <a:gd name="T36" fmla="*/ 33 w 85"/>
                <a:gd name="T37" fmla="*/ 85 h 85"/>
                <a:gd name="T38" fmla="*/ 39 w 85"/>
                <a:gd name="T39" fmla="*/ 85 h 85"/>
                <a:gd name="T40" fmla="*/ 45 w 85"/>
                <a:gd name="T41" fmla="*/ 82 h 85"/>
                <a:gd name="T42" fmla="*/ 51 w 85"/>
                <a:gd name="T43" fmla="*/ 79 h 85"/>
                <a:gd name="T44" fmla="*/ 56 w 85"/>
                <a:gd name="T45" fmla="*/ 76 h 85"/>
                <a:gd name="T46" fmla="*/ 85 w 85"/>
                <a:gd name="T47" fmla="*/ 47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85" h="85">
                  <a:moveTo>
                    <a:pt x="85" y="47"/>
                  </a:moveTo>
                  <a:lnTo>
                    <a:pt x="38" y="0"/>
                  </a:lnTo>
                  <a:lnTo>
                    <a:pt x="9" y="29"/>
                  </a:lnTo>
                  <a:lnTo>
                    <a:pt x="9" y="29"/>
                  </a:lnTo>
                  <a:lnTo>
                    <a:pt x="4" y="33"/>
                  </a:lnTo>
                  <a:lnTo>
                    <a:pt x="1" y="39"/>
                  </a:lnTo>
                  <a:lnTo>
                    <a:pt x="0" y="46"/>
                  </a:lnTo>
                  <a:lnTo>
                    <a:pt x="0" y="52"/>
                  </a:lnTo>
                  <a:lnTo>
                    <a:pt x="0" y="52"/>
                  </a:lnTo>
                  <a:lnTo>
                    <a:pt x="0" y="59"/>
                  </a:lnTo>
                  <a:lnTo>
                    <a:pt x="1" y="65"/>
                  </a:lnTo>
                  <a:lnTo>
                    <a:pt x="4" y="70"/>
                  </a:lnTo>
                  <a:lnTo>
                    <a:pt x="9" y="76"/>
                  </a:lnTo>
                  <a:lnTo>
                    <a:pt x="9" y="76"/>
                  </a:lnTo>
                  <a:lnTo>
                    <a:pt x="13" y="79"/>
                  </a:lnTo>
                  <a:lnTo>
                    <a:pt x="20" y="82"/>
                  </a:lnTo>
                  <a:lnTo>
                    <a:pt x="26" y="85"/>
                  </a:lnTo>
                  <a:lnTo>
                    <a:pt x="33" y="85"/>
                  </a:lnTo>
                  <a:lnTo>
                    <a:pt x="33" y="85"/>
                  </a:lnTo>
                  <a:lnTo>
                    <a:pt x="39" y="85"/>
                  </a:lnTo>
                  <a:lnTo>
                    <a:pt x="45" y="82"/>
                  </a:lnTo>
                  <a:lnTo>
                    <a:pt x="51" y="79"/>
                  </a:lnTo>
                  <a:lnTo>
                    <a:pt x="56" y="76"/>
                  </a:lnTo>
                  <a:lnTo>
                    <a:pt x="85" y="4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T America" panose="00000500000000000000" pitchFamily="2" charset="0"/>
                <a:ea typeface="+mn-ea"/>
                <a:cs typeface="+mn-cs"/>
              </a:endParaRPr>
            </a:p>
          </p:txBody>
        </p:sp>
        <p:sp>
          <p:nvSpPr>
            <p:cNvPr id="41" name="Freeform 13"/>
            <p:cNvSpPr>
              <a:spLocks/>
            </p:cNvSpPr>
            <p:nvPr/>
          </p:nvSpPr>
          <p:spPr bwMode="auto">
            <a:xfrm>
              <a:off x="1475106" y="2596405"/>
              <a:ext cx="136525" cy="134938"/>
            </a:xfrm>
            <a:custGeom>
              <a:avLst/>
              <a:gdLst>
                <a:gd name="T0" fmla="*/ 86 w 86"/>
                <a:gd name="T1" fmla="*/ 47 h 85"/>
                <a:gd name="T2" fmla="*/ 39 w 86"/>
                <a:gd name="T3" fmla="*/ 0 h 85"/>
                <a:gd name="T4" fmla="*/ 11 w 86"/>
                <a:gd name="T5" fmla="*/ 29 h 85"/>
                <a:gd name="T6" fmla="*/ 11 w 86"/>
                <a:gd name="T7" fmla="*/ 29 h 85"/>
                <a:gd name="T8" fmla="*/ 6 w 86"/>
                <a:gd name="T9" fmla="*/ 33 h 85"/>
                <a:gd name="T10" fmla="*/ 3 w 86"/>
                <a:gd name="T11" fmla="*/ 40 h 85"/>
                <a:gd name="T12" fmla="*/ 2 w 86"/>
                <a:gd name="T13" fmla="*/ 46 h 85"/>
                <a:gd name="T14" fmla="*/ 0 w 86"/>
                <a:gd name="T15" fmla="*/ 52 h 85"/>
                <a:gd name="T16" fmla="*/ 0 w 86"/>
                <a:gd name="T17" fmla="*/ 52 h 85"/>
                <a:gd name="T18" fmla="*/ 2 w 86"/>
                <a:gd name="T19" fmla="*/ 58 h 85"/>
                <a:gd name="T20" fmla="*/ 3 w 86"/>
                <a:gd name="T21" fmla="*/ 64 h 85"/>
                <a:gd name="T22" fmla="*/ 6 w 86"/>
                <a:gd name="T23" fmla="*/ 70 h 85"/>
                <a:gd name="T24" fmla="*/ 11 w 86"/>
                <a:gd name="T25" fmla="*/ 76 h 85"/>
                <a:gd name="T26" fmla="*/ 11 w 86"/>
                <a:gd name="T27" fmla="*/ 76 h 85"/>
                <a:gd name="T28" fmla="*/ 15 w 86"/>
                <a:gd name="T29" fmla="*/ 79 h 85"/>
                <a:gd name="T30" fmla="*/ 21 w 86"/>
                <a:gd name="T31" fmla="*/ 82 h 85"/>
                <a:gd name="T32" fmla="*/ 27 w 86"/>
                <a:gd name="T33" fmla="*/ 85 h 85"/>
                <a:gd name="T34" fmla="*/ 33 w 86"/>
                <a:gd name="T35" fmla="*/ 85 h 85"/>
                <a:gd name="T36" fmla="*/ 33 w 86"/>
                <a:gd name="T37" fmla="*/ 85 h 85"/>
                <a:gd name="T38" fmla="*/ 41 w 86"/>
                <a:gd name="T39" fmla="*/ 85 h 85"/>
                <a:gd name="T40" fmla="*/ 47 w 86"/>
                <a:gd name="T41" fmla="*/ 82 h 85"/>
                <a:gd name="T42" fmla="*/ 53 w 86"/>
                <a:gd name="T43" fmla="*/ 79 h 85"/>
                <a:gd name="T44" fmla="*/ 58 w 86"/>
                <a:gd name="T45" fmla="*/ 76 h 85"/>
                <a:gd name="T46" fmla="*/ 86 w 86"/>
                <a:gd name="T47" fmla="*/ 47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86" h="85">
                  <a:moveTo>
                    <a:pt x="86" y="47"/>
                  </a:moveTo>
                  <a:lnTo>
                    <a:pt x="39" y="0"/>
                  </a:lnTo>
                  <a:lnTo>
                    <a:pt x="11" y="29"/>
                  </a:lnTo>
                  <a:lnTo>
                    <a:pt x="11" y="29"/>
                  </a:lnTo>
                  <a:lnTo>
                    <a:pt x="6" y="33"/>
                  </a:lnTo>
                  <a:lnTo>
                    <a:pt x="3" y="40"/>
                  </a:lnTo>
                  <a:lnTo>
                    <a:pt x="2" y="46"/>
                  </a:lnTo>
                  <a:lnTo>
                    <a:pt x="0" y="52"/>
                  </a:lnTo>
                  <a:lnTo>
                    <a:pt x="0" y="52"/>
                  </a:lnTo>
                  <a:lnTo>
                    <a:pt x="2" y="58"/>
                  </a:lnTo>
                  <a:lnTo>
                    <a:pt x="3" y="64"/>
                  </a:lnTo>
                  <a:lnTo>
                    <a:pt x="6" y="70"/>
                  </a:lnTo>
                  <a:lnTo>
                    <a:pt x="11" y="76"/>
                  </a:lnTo>
                  <a:lnTo>
                    <a:pt x="11" y="76"/>
                  </a:lnTo>
                  <a:lnTo>
                    <a:pt x="15" y="79"/>
                  </a:lnTo>
                  <a:lnTo>
                    <a:pt x="21" y="82"/>
                  </a:lnTo>
                  <a:lnTo>
                    <a:pt x="27" y="85"/>
                  </a:lnTo>
                  <a:lnTo>
                    <a:pt x="33" y="85"/>
                  </a:lnTo>
                  <a:lnTo>
                    <a:pt x="33" y="85"/>
                  </a:lnTo>
                  <a:lnTo>
                    <a:pt x="41" y="85"/>
                  </a:lnTo>
                  <a:lnTo>
                    <a:pt x="47" y="82"/>
                  </a:lnTo>
                  <a:lnTo>
                    <a:pt x="53" y="79"/>
                  </a:lnTo>
                  <a:lnTo>
                    <a:pt x="58" y="76"/>
                  </a:lnTo>
                  <a:lnTo>
                    <a:pt x="86" y="4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T America" panose="00000500000000000000" pitchFamily="2" charset="0"/>
                <a:ea typeface="+mn-ea"/>
                <a:cs typeface="+mn-cs"/>
              </a:endParaRPr>
            </a:p>
          </p:txBody>
        </p:sp>
        <p:sp>
          <p:nvSpPr>
            <p:cNvPr id="42" name="Freeform 14"/>
            <p:cNvSpPr>
              <a:spLocks/>
            </p:cNvSpPr>
            <p:nvPr/>
          </p:nvSpPr>
          <p:spPr bwMode="auto">
            <a:xfrm>
              <a:off x="1564006" y="2678955"/>
              <a:ext cx="130175" cy="127000"/>
            </a:xfrm>
            <a:custGeom>
              <a:avLst/>
              <a:gdLst>
                <a:gd name="T0" fmla="*/ 35 w 82"/>
                <a:gd name="T1" fmla="*/ 0 h 80"/>
                <a:gd name="T2" fmla="*/ 11 w 82"/>
                <a:gd name="T3" fmla="*/ 24 h 80"/>
                <a:gd name="T4" fmla="*/ 11 w 82"/>
                <a:gd name="T5" fmla="*/ 24 h 80"/>
                <a:gd name="T6" fmla="*/ 6 w 82"/>
                <a:gd name="T7" fmla="*/ 28 h 80"/>
                <a:gd name="T8" fmla="*/ 3 w 82"/>
                <a:gd name="T9" fmla="*/ 35 h 80"/>
                <a:gd name="T10" fmla="*/ 2 w 82"/>
                <a:gd name="T11" fmla="*/ 41 h 80"/>
                <a:gd name="T12" fmla="*/ 0 w 82"/>
                <a:gd name="T13" fmla="*/ 47 h 80"/>
                <a:gd name="T14" fmla="*/ 2 w 82"/>
                <a:gd name="T15" fmla="*/ 53 h 80"/>
                <a:gd name="T16" fmla="*/ 3 w 82"/>
                <a:gd name="T17" fmla="*/ 59 h 80"/>
                <a:gd name="T18" fmla="*/ 6 w 82"/>
                <a:gd name="T19" fmla="*/ 65 h 80"/>
                <a:gd name="T20" fmla="*/ 11 w 82"/>
                <a:gd name="T21" fmla="*/ 71 h 80"/>
                <a:gd name="T22" fmla="*/ 11 w 82"/>
                <a:gd name="T23" fmla="*/ 71 h 80"/>
                <a:gd name="T24" fmla="*/ 15 w 82"/>
                <a:gd name="T25" fmla="*/ 74 h 80"/>
                <a:gd name="T26" fmla="*/ 21 w 82"/>
                <a:gd name="T27" fmla="*/ 77 h 80"/>
                <a:gd name="T28" fmla="*/ 27 w 82"/>
                <a:gd name="T29" fmla="*/ 80 h 80"/>
                <a:gd name="T30" fmla="*/ 33 w 82"/>
                <a:gd name="T31" fmla="*/ 80 h 80"/>
                <a:gd name="T32" fmla="*/ 33 w 82"/>
                <a:gd name="T33" fmla="*/ 80 h 80"/>
                <a:gd name="T34" fmla="*/ 39 w 82"/>
                <a:gd name="T35" fmla="*/ 80 h 80"/>
                <a:gd name="T36" fmla="*/ 47 w 82"/>
                <a:gd name="T37" fmla="*/ 77 h 80"/>
                <a:gd name="T38" fmla="*/ 52 w 82"/>
                <a:gd name="T39" fmla="*/ 74 h 80"/>
                <a:gd name="T40" fmla="*/ 58 w 82"/>
                <a:gd name="T41" fmla="*/ 71 h 80"/>
                <a:gd name="T42" fmla="*/ 82 w 82"/>
                <a:gd name="T43" fmla="*/ 47 h 80"/>
                <a:gd name="T44" fmla="*/ 35 w 82"/>
                <a:gd name="T45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82" h="80">
                  <a:moveTo>
                    <a:pt x="35" y="0"/>
                  </a:moveTo>
                  <a:lnTo>
                    <a:pt x="11" y="24"/>
                  </a:lnTo>
                  <a:lnTo>
                    <a:pt x="11" y="24"/>
                  </a:lnTo>
                  <a:lnTo>
                    <a:pt x="6" y="28"/>
                  </a:lnTo>
                  <a:lnTo>
                    <a:pt x="3" y="35"/>
                  </a:lnTo>
                  <a:lnTo>
                    <a:pt x="2" y="41"/>
                  </a:lnTo>
                  <a:lnTo>
                    <a:pt x="0" y="47"/>
                  </a:lnTo>
                  <a:lnTo>
                    <a:pt x="2" y="53"/>
                  </a:lnTo>
                  <a:lnTo>
                    <a:pt x="3" y="59"/>
                  </a:lnTo>
                  <a:lnTo>
                    <a:pt x="6" y="65"/>
                  </a:lnTo>
                  <a:lnTo>
                    <a:pt x="11" y="71"/>
                  </a:lnTo>
                  <a:lnTo>
                    <a:pt x="11" y="71"/>
                  </a:lnTo>
                  <a:lnTo>
                    <a:pt x="15" y="74"/>
                  </a:lnTo>
                  <a:lnTo>
                    <a:pt x="21" y="77"/>
                  </a:lnTo>
                  <a:lnTo>
                    <a:pt x="27" y="80"/>
                  </a:lnTo>
                  <a:lnTo>
                    <a:pt x="33" y="80"/>
                  </a:lnTo>
                  <a:lnTo>
                    <a:pt x="33" y="80"/>
                  </a:lnTo>
                  <a:lnTo>
                    <a:pt x="39" y="80"/>
                  </a:lnTo>
                  <a:lnTo>
                    <a:pt x="47" y="77"/>
                  </a:lnTo>
                  <a:lnTo>
                    <a:pt x="52" y="74"/>
                  </a:lnTo>
                  <a:lnTo>
                    <a:pt x="58" y="71"/>
                  </a:lnTo>
                  <a:lnTo>
                    <a:pt x="82" y="47"/>
                  </a:lnTo>
                  <a:lnTo>
                    <a:pt x="35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T America" panose="00000500000000000000" pitchFamily="2" charset="0"/>
                <a:ea typeface="+mn-ea"/>
                <a:cs typeface="+mn-cs"/>
              </a:endParaRPr>
            </a:p>
          </p:txBody>
        </p:sp>
      </p:grpSp>
      <p:sp>
        <p:nvSpPr>
          <p:cNvPr id="23" name="Rechteck 22"/>
          <p:cNvSpPr/>
          <p:nvPr/>
        </p:nvSpPr>
        <p:spPr>
          <a:xfrm>
            <a:off x="5006343" y="4803607"/>
            <a:ext cx="2010906" cy="1620001"/>
          </a:xfrm>
          <a:prstGeom prst="rect">
            <a:avLst/>
          </a:prstGeom>
          <a:solidFill>
            <a:schemeClr val="accent3"/>
          </a:solidFill>
        </p:spPr>
        <p:txBody>
          <a:bodyPr wrap="square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T America" panose="00000500000000000000" pitchFamily="2" charset="0"/>
                <a:ea typeface="+mn-ea"/>
                <a:cs typeface="+mn-cs"/>
              </a:rPr>
              <a:t>Automatisiertes Fahren</a:t>
            </a:r>
          </a:p>
        </p:txBody>
      </p:sp>
      <p:grpSp>
        <p:nvGrpSpPr>
          <p:cNvPr id="5" name="Gruppieren 4"/>
          <p:cNvGrpSpPr/>
          <p:nvPr/>
        </p:nvGrpSpPr>
        <p:grpSpPr>
          <a:xfrm>
            <a:off x="5572515" y="5378439"/>
            <a:ext cx="926326" cy="823542"/>
            <a:chOff x="7057155" y="5248753"/>
            <a:chExt cx="1072198" cy="953228"/>
          </a:xfrm>
        </p:grpSpPr>
        <p:grpSp>
          <p:nvGrpSpPr>
            <p:cNvPr id="98" name="Group 63"/>
            <p:cNvGrpSpPr>
              <a:grpSpLocks noChangeAspect="1"/>
            </p:cNvGrpSpPr>
            <p:nvPr/>
          </p:nvGrpSpPr>
          <p:grpSpPr bwMode="auto">
            <a:xfrm>
              <a:off x="7057155" y="5634083"/>
              <a:ext cx="1072198" cy="567898"/>
              <a:chOff x="424" y="2160"/>
              <a:chExt cx="1197" cy="634"/>
            </a:xfrm>
            <a:solidFill>
              <a:schemeClr val="bg1"/>
            </a:solidFill>
          </p:grpSpPr>
          <p:sp>
            <p:nvSpPr>
              <p:cNvPr id="100" name="Freeform 64"/>
              <p:cNvSpPr>
                <a:spLocks/>
              </p:cNvSpPr>
              <p:nvPr/>
            </p:nvSpPr>
            <p:spPr bwMode="auto">
              <a:xfrm>
                <a:off x="1203" y="2584"/>
                <a:ext cx="208" cy="210"/>
              </a:xfrm>
              <a:custGeom>
                <a:avLst/>
                <a:gdLst>
                  <a:gd name="T0" fmla="*/ 208 w 208"/>
                  <a:gd name="T1" fmla="*/ 92 h 210"/>
                  <a:gd name="T2" fmla="*/ 208 w 208"/>
                  <a:gd name="T3" fmla="*/ 92 h 210"/>
                  <a:gd name="T4" fmla="*/ 204 w 208"/>
                  <a:gd name="T5" fmla="*/ 74 h 210"/>
                  <a:gd name="T6" fmla="*/ 196 w 208"/>
                  <a:gd name="T7" fmla="*/ 56 h 210"/>
                  <a:gd name="T8" fmla="*/ 186 w 208"/>
                  <a:gd name="T9" fmla="*/ 40 h 210"/>
                  <a:gd name="T10" fmla="*/ 174 w 208"/>
                  <a:gd name="T11" fmla="*/ 28 h 210"/>
                  <a:gd name="T12" fmla="*/ 158 w 208"/>
                  <a:gd name="T13" fmla="*/ 16 h 210"/>
                  <a:gd name="T14" fmla="*/ 142 w 208"/>
                  <a:gd name="T15" fmla="*/ 8 h 210"/>
                  <a:gd name="T16" fmla="*/ 124 w 208"/>
                  <a:gd name="T17" fmla="*/ 2 h 210"/>
                  <a:gd name="T18" fmla="*/ 104 w 208"/>
                  <a:gd name="T19" fmla="*/ 0 h 210"/>
                  <a:gd name="T20" fmla="*/ 104 w 208"/>
                  <a:gd name="T21" fmla="*/ 0 h 210"/>
                  <a:gd name="T22" fmla="*/ 84 w 208"/>
                  <a:gd name="T23" fmla="*/ 2 h 210"/>
                  <a:gd name="T24" fmla="*/ 66 w 208"/>
                  <a:gd name="T25" fmla="*/ 8 h 210"/>
                  <a:gd name="T26" fmla="*/ 50 w 208"/>
                  <a:gd name="T27" fmla="*/ 16 h 210"/>
                  <a:gd name="T28" fmla="*/ 34 w 208"/>
                  <a:gd name="T29" fmla="*/ 28 h 210"/>
                  <a:gd name="T30" fmla="*/ 22 w 208"/>
                  <a:gd name="T31" fmla="*/ 40 h 210"/>
                  <a:gd name="T32" fmla="*/ 12 w 208"/>
                  <a:gd name="T33" fmla="*/ 56 h 210"/>
                  <a:gd name="T34" fmla="*/ 4 w 208"/>
                  <a:gd name="T35" fmla="*/ 74 h 210"/>
                  <a:gd name="T36" fmla="*/ 0 w 208"/>
                  <a:gd name="T37" fmla="*/ 92 h 210"/>
                  <a:gd name="T38" fmla="*/ 0 w 208"/>
                  <a:gd name="T39" fmla="*/ 92 h 210"/>
                  <a:gd name="T40" fmla="*/ 0 w 208"/>
                  <a:gd name="T41" fmla="*/ 104 h 210"/>
                  <a:gd name="T42" fmla="*/ 0 w 208"/>
                  <a:gd name="T43" fmla="*/ 104 h 210"/>
                  <a:gd name="T44" fmla="*/ 0 w 208"/>
                  <a:gd name="T45" fmla="*/ 104 h 210"/>
                  <a:gd name="T46" fmla="*/ 0 w 208"/>
                  <a:gd name="T47" fmla="*/ 118 h 210"/>
                  <a:gd name="T48" fmla="*/ 0 w 208"/>
                  <a:gd name="T49" fmla="*/ 118 h 210"/>
                  <a:gd name="T50" fmla="*/ 4 w 208"/>
                  <a:gd name="T51" fmla="*/ 136 h 210"/>
                  <a:gd name="T52" fmla="*/ 12 w 208"/>
                  <a:gd name="T53" fmla="*/ 154 h 210"/>
                  <a:gd name="T54" fmla="*/ 22 w 208"/>
                  <a:gd name="T55" fmla="*/ 170 h 210"/>
                  <a:gd name="T56" fmla="*/ 34 w 208"/>
                  <a:gd name="T57" fmla="*/ 182 h 210"/>
                  <a:gd name="T58" fmla="*/ 50 w 208"/>
                  <a:gd name="T59" fmla="*/ 194 h 210"/>
                  <a:gd name="T60" fmla="*/ 66 w 208"/>
                  <a:gd name="T61" fmla="*/ 202 h 210"/>
                  <a:gd name="T62" fmla="*/ 84 w 208"/>
                  <a:gd name="T63" fmla="*/ 208 h 210"/>
                  <a:gd name="T64" fmla="*/ 104 w 208"/>
                  <a:gd name="T65" fmla="*/ 210 h 210"/>
                  <a:gd name="T66" fmla="*/ 104 w 208"/>
                  <a:gd name="T67" fmla="*/ 210 h 210"/>
                  <a:gd name="T68" fmla="*/ 124 w 208"/>
                  <a:gd name="T69" fmla="*/ 208 h 210"/>
                  <a:gd name="T70" fmla="*/ 142 w 208"/>
                  <a:gd name="T71" fmla="*/ 202 h 210"/>
                  <a:gd name="T72" fmla="*/ 158 w 208"/>
                  <a:gd name="T73" fmla="*/ 194 h 210"/>
                  <a:gd name="T74" fmla="*/ 174 w 208"/>
                  <a:gd name="T75" fmla="*/ 182 h 210"/>
                  <a:gd name="T76" fmla="*/ 186 w 208"/>
                  <a:gd name="T77" fmla="*/ 170 h 210"/>
                  <a:gd name="T78" fmla="*/ 196 w 208"/>
                  <a:gd name="T79" fmla="*/ 154 h 210"/>
                  <a:gd name="T80" fmla="*/ 204 w 208"/>
                  <a:gd name="T81" fmla="*/ 136 h 210"/>
                  <a:gd name="T82" fmla="*/ 208 w 208"/>
                  <a:gd name="T83" fmla="*/ 118 h 210"/>
                  <a:gd name="T84" fmla="*/ 208 w 208"/>
                  <a:gd name="T85" fmla="*/ 118 h 210"/>
                  <a:gd name="T86" fmla="*/ 208 w 208"/>
                  <a:gd name="T87" fmla="*/ 104 h 210"/>
                  <a:gd name="T88" fmla="*/ 208 w 208"/>
                  <a:gd name="T89" fmla="*/ 104 h 210"/>
                  <a:gd name="T90" fmla="*/ 208 w 208"/>
                  <a:gd name="T91" fmla="*/ 104 h 210"/>
                  <a:gd name="T92" fmla="*/ 208 w 208"/>
                  <a:gd name="T93" fmla="*/ 92 h 210"/>
                  <a:gd name="T94" fmla="*/ 208 w 208"/>
                  <a:gd name="T95" fmla="*/ 92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208" h="210">
                    <a:moveTo>
                      <a:pt x="208" y="92"/>
                    </a:moveTo>
                    <a:lnTo>
                      <a:pt x="208" y="92"/>
                    </a:lnTo>
                    <a:lnTo>
                      <a:pt x="204" y="74"/>
                    </a:lnTo>
                    <a:lnTo>
                      <a:pt x="196" y="56"/>
                    </a:lnTo>
                    <a:lnTo>
                      <a:pt x="186" y="40"/>
                    </a:lnTo>
                    <a:lnTo>
                      <a:pt x="174" y="28"/>
                    </a:lnTo>
                    <a:lnTo>
                      <a:pt x="158" y="16"/>
                    </a:lnTo>
                    <a:lnTo>
                      <a:pt x="142" y="8"/>
                    </a:lnTo>
                    <a:lnTo>
                      <a:pt x="124" y="2"/>
                    </a:lnTo>
                    <a:lnTo>
                      <a:pt x="104" y="0"/>
                    </a:lnTo>
                    <a:lnTo>
                      <a:pt x="104" y="0"/>
                    </a:lnTo>
                    <a:lnTo>
                      <a:pt x="84" y="2"/>
                    </a:lnTo>
                    <a:lnTo>
                      <a:pt x="66" y="8"/>
                    </a:lnTo>
                    <a:lnTo>
                      <a:pt x="50" y="16"/>
                    </a:lnTo>
                    <a:lnTo>
                      <a:pt x="34" y="28"/>
                    </a:lnTo>
                    <a:lnTo>
                      <a:pt x="22" y="40"/>
                    </a:lnTo>
                    <a:lnTo>
                      <a:pt x="12" y="56"/>
                    </a:lnTo>
                    <a:lnTo>
                      <a:pt x="4" y="74"/>
                    </a:lnTo>
                    <a:lnTo>
                      <a:pt x="0" y="92"/>
                    </a:lnTo>
                    <a:lnTo>
                      <a:pt x="0" y="92"/>
                    </a:lnTo>
                    <a:lnTo>
                      <a:pt x="0" y="104"/>
                    </a:lnTo>
                    <a:lnTo>
                      <a:pt x="0" y="104"/>
                    </a:lnTo>
                    <a:lnTo>
                      <a:pt x="0" y="104"/>
                    </a:lnTo>
                    <a:lnTo>
                      <a:pt x="0" y="118"/>
                    </a:lnTo>
                    <a:lnTo>
                      <a:pt x="0" y="118"/>
                    </a:lnTo>
                    <a:lnTo>
                      <a:pt x="4" y="136"/>
                    </a:lnTo>
                    <a:lnTo>
                      <a:pt x="12" y="154"/>
                    </a:lnTo>
                    <a:lnTo>
                      <a:pt x="22" y="170"/>
                    </a:lnTo>
                    <a:lnTo>
                      <a:pt x="34" y="182"/>
                    </a:lnTo>
                    <a:lnTo>
                      <a:pt x="50" y="194"/>
                    </a:lnTo>
                    <a:lnTo>
                      <a:pt x="66" y="202"/>
                    </a:lnTo>
                    <a:lnTo>
                      <a:pt x="84" y="208"/>
                    </a:lnTo>
                    <a:lnTo>
                      <a:pt x="104" y="210"/>
                    </a:lnTo>
                    <a:lnTo>
                      <a:pt x="104" y="210"/>
                    </a:lnTo>
                    <a:lnTo>
                      <a:pt x="124" y="208"/>
                    </a:lnTo>
                    <a:lnTo>
                      <a:pt x="142" y="202"/>
                    </a:lnTo>
                    <a:lnTo>
                      <a:pt x="158" y="194"/>
                    </a:lnTo>
                    <a:lnTo>
                      <a:pt x="174" y="182"/>
                    </a:lnTo>
                    <a:lnTo>
                      <a:pt x="186" y="170"/>
                    </a:lnTo>
                    <a:lnTo>
                      <a:pt x="196" y="154"/>
                    </a:lnTo>
                    <a:lnTo>
                      <a:pt x="204" y="136"/>
                    </a:lnTo>
                    <a:lnTo>
                      <a:pt x="208" y="118"/>
                    </a:lnTo>
                    <a:lnTo>
                      <a:pt x="208" y="118"/>
                    </a:lnTo>
                    <a:lnTo>
                      <a:pt x="208" y="104"/>
                    </a:lnTo>
                    <a:lnTo>
                      <a:pt x="208" y="104"/>
                    </a:lnTo>
                    <a:lnTo>
                      <a:pt x="208" y="104"/>
                    </a:lnTo>
                    <a:lnTo>
                      <a:pt x="208" y="92"/>
                    </a:lnTo>
                    <a:lnTo>
                      <a:pt x="208" y="9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T America" panose="00000500000000000000" pitchFamily="2" charset="0"/>
                  <a:ea typeface="+mn-ea"/>
                  <a:cs typeface="+mn-cs"/>
                </a:endParaRPr>
              </a:p>
            </p:txBody>
          </p:sp>
          <p:sp>
            <p:nvSpPr>
              <p:cNvPr id="101" name="Freeform 65"/>
              <p:cNvSpPr>
                <a:spLocks/>
              </p:cNvSpPr>
              <p:nvPr/>
            </p:nvSpPr>
            <p:spPr bwMode="auto">
              <a:xfrm>
                <a:off x="522" y="2584"/>
                <a:ext cx="208" cy="210"/>
              </a:xfrm>
              <a:custGeom>
                <a:avLst/>
                <a:gdLst>
                  <a:gd name="T0" fmla="*/ 0 w 208"/>
                  <a:gd name="T1" fmla="*/ 92 h 210"/>
                  <a:gd name="T2" fmla="*/ 0 w 208"/>
                  <a:gd name="T3" fmla="*/ 92 h 210"/>
                  <a:gd name="T4" fmla="*/ 4 w 208"/>
                  <a:gd name="T5" fmla="*/ 74 h 210"/>
                  <a:gd name="T6" fmla="*/ 12 w 208"/>
                  <a:gd name="T7" fmla="*/ 56 h 210"/>
                  <a:gd name="T8" fmla="*/ 22 w 208"/>
                  <a:gd name="T9" fmla="*/ 40 h 210"/>
                  <a:gd name="T10" fmla="*/ 34 w 208"/>
                  <a:gd name="T11" fmla="*/ 28 h 210"/>
                  <a:gd name="T12" fmla="*/ 50 w 208"/>
                  <a:gd name="T13" fmla="*/ 16 h 210"/>
                  <a:gd name="T14" fmla="*/ 66 w 208"/>
                  <a:gd name="T15" fmla="*/ 8 h 210"/>
                  <a:gd name="T16" fmla="*/ 84 w 208"/>
                  <a:gd name="T17" fmla="*/ 2 h 210"/>
                  <a:gd name="T18" fmla="*/ 104 w 208"/>
                  <a:gd name="T19" fmla="*/ 0 h 210"/>
                  <a:gd name="T20" fmla="*/ 104 w 208"/>
                  <a:gd name="T21" fmla="*/ 0 h 210"/>
                  <a:gd name="T22" fmla="*/ 124 w 208"/>
                  <a:gd name="T23" fmla="*/ 2 h 210"/>
                  <a:gd name="T24" fmla="*/ 142 w 208"/>
                  <a:gd name="T25" fmla="*/ 8 h 210"/>
                  <a:gd name="T26" fmla="*/ 158 w 208"/>
                  <a:gd name="T27" fmla="*/ 16 h 210"/>
                  <a:gd name="T28" fmla="*/ 174 w 208"/>
                  <a:gd name="T29" fmla="*/ 28 h 210"/>
                  <a:gd name="T30" fmla="*/ 186 w 208"/>
                  <a:gd name="T31" fmla="*/ 40 h 210"/>
                  <a:gd name="T32" fmla="*/ 196 w 208"/>
                  <a:gd name="T33" fmla="*/ 56 h 210"/>
                  <a:gd name="T34" fmla="*/ 204 w 208"/>
                  <a:gd name="T35" fmla="*/ 74 h 210"/>
                  <a:gd name="T36" fmla="*/ 208 w 208"/>
                  <a:gd name="T37" fmla="*/ 92 h 210"/>
                  <a:gd name="T38" fmla="*/ 208 w 208"/>
                  <a:gd name="T39" fmla="*/ 92 h 210"/>
                  <a:gd name="T40" fmla="*/ 208 w 208"/>
                  <a:gd name="T41" fmla="*/ 104 h 210"/>
                  <a:gd name="T42" fmla="*/ 208 w 208"/>
                  <a:gd name="T43" fmla="*/ 104 h 210"/>
                  <a:gd name="T44" fmla="*/ 208 w 208"/>
                  <a:gd name="T45" fmla="*/ 104 h 210"/>
                  <a:gd name="T46" fmla="*/ 208 w 208"/>
                  <a:gd name="T47" fmla="*/ 118 h 210"/>
                  <a:gd name="T48" fmla="*/ 208 w 208"/>
                  <a:gd name="T49" fmla="*/ 118 h 210"/>
                  <a:gd name="T50" fmla="*/ 204 w 208"/>
                  <a:gd name="T51" fmla="*/ 136 h 210"/>
                  <a:gd name="T52" fmla="*/ 196 w 208"/>
                  <a:gd name="T53" fmla="*/ 154 h 210"/>
                  <a:gd name="T54" fmla="*/ 186 w 208"/>
                  <a:gd name="T55" fmla="*/ 170 h 210"/>
                  <a:gd name="T56" fmla="*/ 174 w 208"/>
                  <a:gd name="T57" fmla="*/ 182 h 210"/>
                  <a:gd name="T58" fmla="*/ 158 w 208"/>
                  <a:gd name="T59" fmla="*/ 194 h 210"/>
                  <a:gd name="T60" fmla="*/ 142 w 208"/>
                  <a:gd name="T61" fmla="*/ 202 h 210"/>
                  <a:gd name="T62" fmla="*/ 124 w 208"/>
                  <a:gd name="T63" fmla="*/ 208 h 210"/>
                  <a:gd name="T64" fmla="*/ 104 w 208"/>
                  <a:gd name="T65" fmla="*/ 210 h 210"/>
                  <a:gd name="T66" fmla="*/ 104 w 208"/>
                  <a:gd name="T67" fmla="*/ 210 h 210"/>
                  <a:gd name="T68" fmla="*/ 84 w 208"/>
                  <a:gd name="T69" fmla="*/ 208 h 210"/>
                  <a:gd name="T70" fmla="*/ 66 w 208"/>
                  <a:gd name="T71" fmla="*/ 202 h 210"/>
                  <a:gd name="T72" fmla="*/ 50 w 208"/>
                  <a:gd name="T73" fmla="*/ 194 h 210"/>
                  <a:gd name="T74" fmla="*/ 34 w 208"/>
                  <a:gd name="T75" fmla="*/ 182 h 210"/>
                  <a:gd name="T76" fmla="*/ 22 w 208"/>
                  <a:gd name="T77" fmla="*/ 170 h 210"/>
                  <a:gd name="T78" fmla="*/ 12 w 208"/>
                  <a:gd name="T79" fmla="*/ 154 h 210"/>
                  <a:gd name="T80" fmla="*/ 4 w 208"/>
                  <a:gd name="T81" fmla="*/ 136 h 210"/>
                  <a:gd name="T82" fmla="*/ 0 w 208"/>
                  <a:gd name="T83" fmla="*/ 118 h 210"/>
                  <a:gd name="T84" fmla="*/ 0 w 208"/>
                  <a:gd name="T85" fmla="*/ 118 h 210"/>
                  <a:gd name="T86" fmla="*/ 0 w 208"/>
                  <a:gd name="T87" fmla="*/ 104 h 210"/>
                  <a:gd name="T88" fmla="*/ 0 w 208"/>
                  <a:gd name="T89" fmla="*/ 104 h 210"/>
                  <a:gd name="T90" fmla="*/ 0 w 208"/>
                  <a:gd name="T91" fmla="*/ 104 h 210"/>
                  <a:gd name="T92" fmla="*/ 0 w 208"/>
                  <a:gd name="T93" fmla="*/ 92 h 210"/>
                  <a:gd name="T94" fmla="*/ 0 w 208"/>
                  <a:gd name="T95" fmla="*/ 92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208" h="210">
                    <a:moveTo>
                      <a:pt x="0" y="92"/>
                    </a:moveTo>
                    <a:lnTo>
                      <a:pt x="0" y="92"/>
                    </a:lnTo>
                    <a:lnTo>
                      <a:pt x="4" y="74"/>
                    </a:lnTo>
                    <a:lnTo>
                      <a:pt x="12" y="56"/>
                    </a:lnTo>
                    <a:lnTo>
                      <a:pt x="22" y="40"/>
                    </a:lnTo>
                    <a:lnTo>
                      <a:pt x="34" y="28"/>
                    </a:lnTo>
                    <a:lnTo>
                      <a:pt x="50" y="16"/>
                    </a:lnTo>
                    <a:lnTo>
                      <a:pt x="66" y="8"/>
                    </a:lnTo>
                    <a:lnTo>
                      <a:pt x="84" y="2"/>
                    </a:lnTo>
                    <a:lnTo>
                      <a:pt x="104" y="0"/>
                    </a:lnTo>
                    <a:lnTo>
                      <a:pt x="104" y="0"/>
                    </a:lnTo>
                    <a:lnTo>
                      <a:pt x="124" y="2"/>
                    </a:lnTo>
                    <a:lnTo>
                      <a:pt x="142" y="8"/>
                    </a:lnTo>
                    <a:lnTo>
                      <a:pt x="158" y="16"/>
                    </a:lnTo>
                    <a:lnTo>
                      <a:pt x="174" y="28"/>
                    </a:lnTo>
                    <a:lnTo>
                      <a:pt x="186" y="40"/>
                    </a:lnTo>
                    <a:lnTo>
                      <a:pt x="196" y="56"/>
                    </a:lnTo>
                    <a:lnTo>
                      <a:pt x="204" y="74"/>
                    </a:lnTo>
                    <a:lnTo>
                      <a:pt x="208" y="92"/>
                    </a:lnTo>
                    <a:lnTo>
                      <a:pt x="208" y="92"/>
                    </a:lnTo>
                    <a:lnTo>
                      <a:pt x="208" y="104"/>
                    </a:lnTo>
                    <a:lnTo>
                      <a:pt x="208" y="104"/>
                    </a:lnTo>
                    <a:lnTo>
                      <a:pt x="208" y="104"/>
                    </a:lnTo>
                    <a:lnTo>
                      <a:pt x="208" y="118"/>
                    </a:lnTo>
                    <a:lnTo>
                      <a:pt x="208" y="118"/>
                    </a:lnTo>
                    <a:lnTo>
                      <a:pt x="204" y="136"/>
                    </a:lnTo>
                    <a:lnTo>
                      <a:pt x="196" y="154"/>
                    </a:lnTo>
                    <a:lnTo>
                      <a:pt x="186" y="170"/>
                    </a:lnTo>
                    <a:lnTo>
                      <a:pt x="174" y="182"/>
                    </a:lnTo>
                    <a:lnTo>
                      <a:pt x="158" y="194"/>
                    </a:lnTo>
                    <a:lnTo>
                      <a:pt x="142" y="202"/>
                    </a:lnTo>
                    <a:lnTo>
                      <a:pt x="124" y="208"/>
                    </a:lnTo>
                    <a:lnTo>
                      <a:pt x="104" y="210"/>
                    </a:lnTo>
                    <a:lnTo>
                      <a:pt x="104" y="210"/>
                    </a:lnTo>
                    <a:lnTo>
                      <a:pt x="84" y="208"/>
                    </a:lnTo>
                    <a:lnTo>
                      <a:pt x="66" y="202"/>
                    </a:lnTo>
                    <a:lnTo>
                      <a:pt x="50" y="194"/>
                    </a:lnTo>
                    <a:lnTo>
                      <a:pt x="34" y="182"/>
                    </a:lnTo>
                    <a:lnTo>
                      <a:pt x="22" y="170"/>
                    </a:lnTo>
                    <a:lnTo>
                      <a:pt x="12" y="154"/>
                    </a:lnTo>
                    <a:lnTo>
                      <a:pt x="4" y="136"/>
                    </a:lnTo>
                    <a:lnTo>
                      <a:pt x="0" y="118"/>
                    </a:lnTo>
                    <a:lnTo>
                      <a:pt x="0" y="118"/>
                    </a:lnTo>
                    <a:lnTo>
                      <a:pt x="0" y="104"/>
                    </a:lnTo>
                    <a:lnTo>
                      <a:pt x="0" y="104"/>
                    </a:lnTo>
                    <a:lnTo>
                      <a:pt x="0" y="104"/>
                    </a:lnTo>
                    <a:lnTo>
                      <a:pt x="0" y="92"/>
                    </a:lnTo>
                    <a:lnTo>
                      <a:pt x="0" y="9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T America" panose="00000500000000000000" pitchFamily="2" charset="0"/>
                  <a:ea typeface="+mn-ea"/>
                  <a:cs typeface="+mn-cs"/>
                </a:endParaRPr>
              </a:p>
            </p:txBody>
          </p:sp>
          <p:sp>
            <p:nvSpPr>
              <p:cNvPr id="102" name="Freeform 66"/>
              <p:cNvSpPr>
                <a:spLocks noEditPoints="1"/>
              </p:cNvSpPr>
              <p:nvPr/>
            </p:nvSpPr>
            <p:spPr bwMode="auto">
              <a:xfrm>
                <a:off x="424" y="2160"/>
                <a:ext cx="1197" cy="516"/>
              </a:xfrm>
              <a:custGeom>
                <a:avLst/>
                <a:gdLst>
                  <a:gd name="T0" fmla="*/ 1011 w 1197"/>
                  <a:gd name="T1" fmla="*/ 254 h 516"/>
                  <a:gd name="T2" fmla="*/ 691 w 1197"/>
                  <a:gd name="T3" fmla="*/ 0 h 516"/>
                  <a:gd name="T4" fmla="*/ 388 w 1197"/>
                  <a:gd name="T5" fmla="*/ 0 h 516"/>
                  <a:gd name="T6" fmla="*/ 150 w 1197"/>
                  <a:gd name="T7" fmla="*/ 0 h 516"/>
                  <a:gd name="T8" fmla="*/ 0 w 1197"/>
                  <a:gd name="T9" fmla="*/ 516 h 516"/>
                  <a:gd name="T10" fmla="*/ 74 w 1197"/>
                  <a:gd name="T11" fmla="*/ 516 h 516"/>
                  <a:gd name="T12" fmla="*/ 74 w 1197"/>
                  <a:gd name="T13" fmla="*/ 514 h 516"/>
                  <a:gd name="T14" fmla="*/ 88 w 1197"/>
                  <a:gd name="T15" fmla="*/ 468 h 516"/>
                  <a:gd name="T16" fmla="*/ 116 w 1197"/>
                  <a:gd name="T17" fmla="*/ 432 h 516"/>
                  <a:gd name="T18" fmla="*/ 156 w 1197"/>
                  <a:gd name="T19" fmla="*/ 408 h 516"/>
                  <a:gd name="T20" fmla="*/ 202 w 1197"/>
                  <a:gd name="T21" fmla="*/ 400 h 516"/>
                  <a:gd name="T22" fmla="*/ 226 w 1197"/>
                  <a:gd name="T23" fmla="*/ 402 h 516"/>
                  <a:gd name="T24" fmla="*/ 270 w 1197"/>
                  <a:gd name="T25" fmla="*/ 418 h 516"/>
                  <a:gd name="T26" fmla="*/ 304 w 1197"/>
                  <a:gd name="T27" fmla="*/ 450 h 516"/>
                  <a:gd name="T28" fmla="*/ 326 w 1197"/>
                  <a:gd name="T29" fmla="*/ 490 h 516"/>
                  <a:gd name="T30" fmla="*/ 330 w 1197"/>
                  <a:gd name="T31" fmla="*/ 514 h 516"/>
                  <a:gd name="T32" fmla="*/ 370 w 1197"/>
                  <a:gd name="T33" fmla="*/ 516 h 516"/>
                  <a:gd name="T34" fmla="*/ 627 w 1197"/>
                  <a:gd name="T35" fmla="*/ 516 h 516"/>
                  <a:gd name="T36" fmla="*/ 755 w 1197"/>
                  <a:gd name="T37" fmla="*/ 516 h 516"/>
                  <a:gd name="T38" fmla="*/ 755 w 1197"/>
                  <a:gd name="T39" fmla="*/ 514 h 516"/>
                  <a:gd name="T40" fmla="*/ 761 w 1197"/>
                  <a:gd name="T41" fmla="*/ 490 h 516"/>
                  <a:gd name="T42" fmla="*/ 781 w 1197"/>
                  <a:gd name="T43" fmla="*/ 450 h 516"/>
                  <a:gd name="T44" fmla="*/ 815 w 1197"/>
                  <a:gd name="T45" fmla="*/ 418 h 516"/>
                  <a:gd name="T46" fmla="*/ 859 w 1197"/>
                  <a:gd name="T47" fmla="*/ 402 h 516"/>
                  <a:gd name="T48" fmla="*/ 883 w 1197"/>
                  <a:gd name="T49" fmla="*/ 400 h 516"/>
                  <a:gd name="T50" fmla="*/ 929 w 1197"/>
                  <a:gd name="T51" fmla="*/ 408 h 516"/>
                  <a:gd name="T52" fmla="*/ 969 w 1197"/>
                  <a:gd name="T53" fmla="*/ 432 h 516"/>
                  <a:gd name="T54" fmla="*/ 997 w 1197"/>
                  <a:gd name="T55" fmla="*/ 468 h 516"/>
                  <a:gd name="T56" fmla="*/ 1011 w 1197"/>
                  <a:gd name="T57" fmla="*/ 514 h 516"/>
                  <a:gd name="T58" fmla="*/ 1011 w 1197"/>
                  <a:gd name="T59" fmla="*/ 516 h 516"/>
                  <a:gd name="T60" fmla="*/ 1197 w 1197"/>
                  <a:gd name="T61" fmla="*/ 516 h 516"/>
                  <a:gd name="T62" fmla="*/ 1113 w 1197"/>
                  <a:gd name="T63" fmla="*/ 258 h 516"/>
                  <a:gd name="T64" fmla="*/ 60 w 1197"/>
                  <a:gd name="T65" fmla="*/ 258 h 516"/>
                  <a:gd name="T66" fmla="*/ 180 w 1197"/>
                  <a:gd name="T67" fmla="*/ 52 h 516"/>
                  <a:gd name="T68" fmla="*/ 488 w 1197"/>
                  <a:gd name="T69" fmla="*/ 258 h 516"/>
                  <a:gd name="T70" fmla="*/ 534 w 1197"/>
                  <a:gd name="T71" fmla="*/ 52 h 516"/>
                  <a:gd name="T72" fmla="*/ 835 w 1197"/>
                  <a:gd name="T73" fmla="*/ 52 h 516"/>
                  <a:gd name="T74" fmla="*/ 953 w 1197"/>
                  <a:gd name="T75" fmla="*/ 258 h 5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1197" h="516">
                    <a:moveTo>
                      <a:pt x="1113" y="258"/>
                    </a:moveTo>
                    <a:lnTo>
                      <a:pt x="1011" y="254"/>
                    </a:lnTo>
                    <a:lnTo>
                      <a:pt x="865" y="0"/>
                    </a:lnTo>
                    <a:lnTo>
                      <a:pt x="691" y="0"/>
                    </a:lnTo>
                    <a:lnTo>
                      <a:pt x="627" y="0"/>
                    </a:lnTo>
                    <a:lnTo>
                      <a:pt x="388" y="0"/>
                    </a:lnTo>
                    <a:lnTo>
                      <a:pt x="370" y="0"/>
                    </a:lnTo>
                    <a:lnTo>
                      <a:pt x="150" y="0"/>
                    </a:lnTo>
                    <a:lnTo>
                      <a:pt x="0" y="258"/>
                    </a:lnTo>
                    <a:lnTo>
                      <a:pt x="0" y="516"/>
                    </a:lnTo>
                    <a:lnTo>
                      <a:pt x="74" y="516"/>
                    </a:lnTo>
                    <a:lnTo>
                      <a:pt x="74" y="516"/>
                    </a:lnTo>
                    <a:lnTo>
                      <a:pt x="74" y="514"/>
                    </a:lnTo>
                    <a:lnTo>
                      <a:pt x="74" y="514"/>
                    </a:lnTo>
                    <a:lnTo>
                      <a:pt x="78" y="490"/>
                    </a:lnTo>
                    <a:lnTo>
                      <a:pt x="88" y="468"/>
                    </a:lnTo>
                    <a:lnTo>
                      <a:pt x="100" y="450"/>
                    </a:lnTo>
                    <a:lnTo>
                      <a:pt x="116" y="432"/>
                    </a:lnTo>
                    <a:lnTo>
                      <a:pt x="134" y="418"/>
                    </a:lnTo>
                    <a:lnTo>
                      <a:pt x="156" y="408"/>
                    </a:lnTo>
                    <a:lnTo>
                      <a:pt x="178" y="402"/>
                    </a:lnTo>
                    <a:lnTo>
                      <a:pt x="202" y="400"/>
                    </a:lnTo>
                    <a:lnTo>
                      <a:pt x="202" y="400"/>
                    </a:lnTo>
                    <a:lnTo>
                      <a:pt x="226" y="402"/>
                    </a:lnTo>
                    <a:lnTo>
                      <a:pt x="248" y="408"/>
                    </a:lnTo>
                    <a:lnTo>
                      <a:pt x="270" y="418"/>
                    </a:lnTo>
                    <a:lnTo>
                      <a:pt x="288" y="432"/>
                    </a:lnTo>
                    <a:lnTo>
                      <a:pt x="304" y="450"/>
                    </a:lnTo>
                    <a:lnTo>
                      <a:pt x="316" y="468"/>
                    </a:lnTo>
                    <a:lnTo>
                      <a:pt x="326" y="490"/>
                    </a:lnTo>
                    <a:lnTo>
                      <a:pt x="330" y="514"/>
                    </a:lnTo>
                    <a:lnTo>
                      <a:pt x="330" y="514"/>
                    </a:lnTo>
                    <a:lnTo>
                      <a:pt x="330" y="516"/>
                    </a:lnTo>
                    <a:lnTo>
                      <a:pt x="370" y="516"/>
                    </a:lnTo>
                    <a:lnTo>
                      <a:pt x="388" y="516"/>
                    </a:lnTo>
                    <a:lnTo>
                      <a:pt x="627" y="516"/>
                    </a:lnTo>
                    <a:lnTo>
                      <a:pt x="747" y="516"/>
                    </a:lnTo>
                    <a:lnTo>
                      <a:pt x="755" y="516"/>
                    </a:lnTo>
                    <a:lnTo>
                      <a:pt x="755" y="516"/>
                    </a:lnTo>
                    <a:lnTo>
                      <a:pt x="755" y="514"/>
                    </a:lnTo>
                    <a:lnTo>
                      <a:pt x="755" y="514"/>
                    </a:lnTo>
                    <a:lnTo>
                      <a:pt x="761" y="490"/>
                    </a:lnTo>
                    <a:lnTo>
                      <a:pt x="769" y="468"/>
                    </a:lnTo>
                    <a:lnTo>
                      <a:pt x="781" y="450"/>
                    </a:lnTo>
                    <a:lnTo>
                      <a:pt x="797" y="432"/>
                    </a:lnTo>
                    <a:lnTo>
                      <a:pt x="815" y="418"/>
                    </a:lnTo>
                    <a:lnTo>
                      <a:pt x="837" y="408"/>
                    </a:lnTo>
                    <a:lnTo>
                      <a:pt x="859" y="402"/>
                    </a:lnTo>
                    <a:lnTo>
                      <a:pt x="883" y="400"/>
                    </a:lnTo>
                    <a:lnTo>
                      <a:pt x="883" y="400"/>
                    </a:lnTo>
                    <a:lnTo>
                      <a:pt x="907" y="402"/>
                    </a:lnTo>
                    <a:lnTo>
                      <a:pt x="929" y="408"/>
                    </a:lnTo>
                    <a:lnTo>
                      <a:pt x="951" y="418"/>
                    </a:lnTo>
                    <a:lnTo>
                      <a:pt x="969" y="432"/>
                    </a:lnTo>
                    <a:lnTo>
                      <a:pt x="985" y="450"/>
                    </a:lnTo>
                    <a:lnTo>
                      <a:pt x="997" y="468"/>
                    </a:lnTo>
                    <a:lnTo>
                      <a:pt x="1007" y="490"/>
                    </a:lnTo>
                    <a:lnTo>
                      <a:pt x="1011" y="514"/>
                    </a:lnTo>
                    <a:lnTo>
                      <a:pt x="1011" y="514"/>
                    </a:lnTo>
                    <a:lnTo>
                      <a:pt x="1011" y="516"/>
                    </a:lnTo>
                    <a:lnTo>
                      <a:pt x="1013" y="516"/>
                    </a:lnTo>
                    <a:lnTo>
                      <a:pt x="1197" y="516"/>
                    </a:lnTo>
                    <a:lnTo>
                      <a:pt x="1197" y="358"/>
                    </a:lnTo>
                    <a:lnTo>
                      <a:pt x="1113" y="258"/>
                    </a:lnTo>
                    <a:close/>
                    <a:moveTo>
                      <a:pt x="488" y="258"/>
                    </a:moveTo>
                    <a:lnTo>
                      <a:pt x="60" y="258"/>
                    </a:lnTo>
                    <a:lnTo>
                      <a:pt x="180" y="52"/>
                    </a:lnTo>
                    <a:lnTo>
                      <a:pt x="180" y="52"/>
                    </a:lnTo>
                    <a:lnTo>
                      <a:pt x="488" y="52"/>
                    </a:lnTo>
                    <a:lnTo>
                      <a:pt x="488" y="258"/>
                    </a:lnTo>
                    <a:close/>
                    <a:moveTo>
                      <a:pt x="534" y="258"/>
                    </a:moveTo>
                    <a:lnTo>
                      <a:pt x="534" y="52"/>
                    </a:lnTo>
                    <a:lnTo>
                      <a:pt x="835" y="52"/>
                    </a:lnTo>
                    <a:lnTo>
                      <a:pt x="835" y="52"/>
                    </a:lnTo>
                    <a:lnTo>
                      <a:pt x="835" y="52"/>
                    </a:lnTo>
                    <a:lnTo>
                      <a:pt x="953" y="258"/>
                    </a:lnTo>
                    <a:lnTo>
                      <a:pt x="534" y="25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T America" panose="00000500000000000000" pitchFamily="2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104" name="Group 69"/>
            <p:cNvGrpSpPr>
              <a:grpSpLocks noChangeAspect="1"/>
            </p:cNvGrpSpPr>
            <p:nvPr/>
          </p:nvGrpSpPr>
          <p:grpSpPr bwMode="auto">
            <a:xfrm>
              <a:off x="7553391" y="5248753"/>
              <a:ext cx="506906" cy="391487"/>
              <a:chOff x="3190" y="1658"/>
              <a:chExt cx="1300" cy="1004"/>
            </a:xfrm>
            <a:solidFill>
              <a:schemeClr val="bg1"/>
            </a:solidFill>
          </p:grpSpPr>
          <p:sp>
            <p:nvSpPr>
              <p:cNvPr id="106" name="Freeform 70"/>
              <p:cNvSpPr>
                <a:spLocks/>
              </p:cNvSpPr>
              <p:nvPr/>
            </p:nvSpPr>
            <p:spPr bwMode="auto">
              <a:xfrm>
                <a:off x="3583" y="2212"/>
                <a:ext cx="514" cy="192"/>
              </a:xfrm>
              <a:custGeom>
                <a:avLst/>
                <a:gdLst>
                  <a:gd name="T0" fmla="*/ 430 w 514"/>
                  <a:gd name="T1" fmla="*/ 192 h 192"/>
                  <a:gd name="T2" fmla="*/ 430 w 514"/>
                  <a:gd name="T3" fmla="*/ 192 h 192"/>
                  <a:gd name="T4" fmla="*/ 409 w 514"/>
                  <a:gd name="T5" fmla="*/ 176 h 192"/>
                  <a:gd name="T6" fmla="*/ 391 w 514"/>
                  <a:gd name="T7" fmla="*/ 160 h 192"/>
                  <a:gd name="T8" fmla="*/ 369 w 514"/>
                  <a:gd name="T9" fmla="*/ 148 h 192"/>
                  <a:gd name="T10" fmla="*/ 349 w 514"/>
                  <a:gd name="T11" fmla="*/ 138 h 192"/>
                  <a:gd name="T12" fmla="*/ 325 w 514"/>
                  <a:gd name="T13" fmla="*/ 132 h 192"/>
                  <a:gd name="T14" fmla="*/ 303 w 514"/>
                  <a:gd name="T15" fmla="*/ 126 h 192"/>
                  <a:gd name="T16" fmla="*/ 281 w 514"/>
                  <a:gd name="T17" fmla="*/ 122 h 192"/>
                  <a:gd name="T18" fmla="*/ 257 w 514"/>
                  <a:gd name="T19" fmla="*/ 122 h 192"/>
                  <a:gd name="T20" fmla="*/ 233 w 514"/>
                  <a:gd name="T21" fmla="*/ 122 h 192"/>
                  <a:gd name="T22" fmla="*/ 211 w 514"/>
                  <a:gd name="T23" fmla="*/ 126 h 192"/>
                  <a:gd name="T24" fmla="*/ 189 w 514"/>
                  <a:gd name="T25" fmla="*/ 132 h 192"/>
                  <a:gd name="T26" fmla="*/ 165 w 514"/>
                  <a:gd name="T27" fmla="*/ 138 h 192"/>
                  <a:gd name="T28" fmla="*/ 145 w 514"/>
                  <a:gd name="T29" fmla="*/ 148 h 192"/>
                  <a:gd name="T30" fmla="*/ 123 w 514"/>
                  <a:gd name="T31" fmla="*/ 160 h 192"/>
                  <a:gd name="T32" fmla="*/ 105 w 514"/>
                  <a:gd name="T33" fmla="*/ 176 h 192"/>
                  <a:gd name="T34" fmla="*/ 84 w 514"/>
                  <a:gd name="T35" fmla="*/ 192 h 192"/>
                  <a:gd name="T36" fmla="*/ 0 w 514"/>
                  <a:gd name="T37" fmla="*/ 106 h 192"/>
                  <a:gd name="T38" fmla="*/ 0 w 514"/>
                  <a:gd name="T39" fmla="*/ 106 h 192"/>
                  <a:gd name="T40" fmla="*/ 26 w 514"/>
                  <a:gd name="T41" fmla="*/ 82 h 192"/>
                  <a:gd name="T42" fmla="*/ 56 w 514"/>
                  <a:gd name="T43" fmla="*/ 60 h 192"/>
                  <a:gd name="T44" fmla="*/ 88 w 514"/>
                  <a:gd name="T45" fmla="*/ 42 h 192"/>
                  <a:gd name="T46" fmla="*/ 121 w 514"/>
                  <a:gd name="T47" fmla="*/ 26 h 192"/>
                  <a:gd name="T48" fmla="*/ 153 w 514"/>
                  <a:gd name="T49" fmla="*/ 14 h 192"/>
                  <a:gd name="T50" fmla="*/ 187 w 514"/>
                  <a:gd name="T51" fmla="*/ 6 h 192"/>
                  <a:gd name="T52" fmla="*/ 223 w 514"/>
                  <a:gd name="T53" fmla="*/ 2 h 192"/>
                  <a:gd name="T54" fmla="*/ 257 w 514"/>
                  <a:gd name="T55" fmla="*/ 0 h 192"/>
                  <a:gd name="T56" fmla="*/ 291 w 514"/>
                  <a:gd name="T57" fmla="*/ 2 h 192"/>
                  <a:gd name="T58" fmla="*/ 327 w 514"/>
                  <a:gd name="T59" fmla="*/ 6 h 192"/>
                  <a:gd name="T60" fmla="*/ 361 w 514"/>
                  <a:gd name="T61" fmla="*/ 14 h 192"/>
                  <a:gd name="T62" fmla="*/ 393 w 514"/>
                  <a:gd name="T63" fmla="*/ 26 h 192"/>
                  <a:gd name="T64" fmla="*/ 426 w 514"/>
                  <a:gd name="T65" fmla="*/ 42 h 192"/>
                  <a:gd name="T66" fmla="*/ 458 w 514"/>
                  <a:gd name="T67" fmla="*/ 60 h 192"/>
                  <a:gd name="T68" fmla="*/ 488 w 514"/>
                  <a:gd name="T69" fmla="*/ 82 h 192"/>
                  <a:gd name="T70" fmla="*/ 514 w 514"/>
                  <a:gd name="T71" fmla="*/ 106 h 192"/>
                  <a:gd name="T72" fmla="*/ 430 w 514"/>
                  <a:gd name="T73" fmla="*/ 192 h 1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514" h="192">
                    <a:moveTo>
                      <a:pt x="430" y="192"/>
                    </a:moveTo>
                    <a:lnTo>
                      <a:pt x="430" y="192"/>
                    </a:lnTo>
                    <a:lnTo>
                      <a:pt x="409" y="176"/>
                    </a:lnTo>
                    <a:lnTo>
                      <a:pt x="391" y="160"/>
                    </a:lnTo>
                    <a:lnTo>
                      <a:pt x="369" y="148"/>
                    </a:lnTo>
                    <a:lnTo>
                      <a:pt x="349" y="138"/>
                    </a:lnTo>
                    <a:lnTo>
                      <a:pt x="325" y="132"/>
                    </a:lnTo>
                    <a:lnTo>
                      <a:pt x="303" y="126"/>
                    </a:lnTo>
                    <a:lnTo>
                      <a:pt x="281" y="122"/>
                    </a:lnTo>
                    <a:lnTo>
                      <a:pt x="257" y="122"/>
                    </a:lnTo>
                    <a:lnTo>
                      <a:pt x="233" y="122"/>
                    </a:lnTo>
                    <a:lnTo>
                      <a:pt x="211" y="126"/>
                    </a:lnTo>
                    <a:lnTo>
                      <a:pt x="189" y="132"/>
                    </a:lnTo>
                    <a:lnTo>
                      <a:pt x="165" y="138"/>
                    </a:lnTo>
                    <a:lnTo>
                      <a:pt x="145" y="148"/>
                    </a:lnTo>
                    <a:lnTo>
                      <a:pt x="123" y="160"/>
                    </a:lnTo>
                    <a:lnTo>
                      <a:pt x="105" y="176"/>
                    </a:lnTo>
                    <a:lnTo>
                      <a:pt x="84" y="192"/>
                    </a:lnTo>
                    <a:lnTo>
                      <a:pt x="0" y="106"/>
                    </a:lnTo>
                    <a:lnTo>
                      <a:pt x="0" y="106"/>
                    </a:lnTo>
                    <a:lnTo>
                      <a:pt x="26" y="82"/>
                    </a:lnTo>
                    <a:lnTo>
                      <a:pt x="56" y="60"/>
                    </a:lnTo>
                    <a:lnTo>
                      <a:pt x="88" y="42"/>
                    </a:lnTo>
                    <a:lnTo>
                      <a:pt x="121" y="26"/>
                    </a:lnTo>
                    <a:lnTo>
                      <a:pt x="153" y="14"/>
                    </a:lnTo>
                    <a:lnTo>
                      <a:pt x="187" y="6"/>
                    </a:lnTo>
                    <a:lnTo>
                      <a:pt x="223" y="2"/>
                    </a:lnTo>
                    <a:lnTo>
                      <a:pt x="257" y="0"/>
                    </a:lnTo>
                    <a:lnTo>
                      <a:pt x="291" y="2"/>
                    </a:lnTo>
                    <a:lnTo>
                      <a:pt x="327" y="6"/>
                    </a:lnTo>
                    <a:lnTo>
                      <a:pt x="361" y="14"/>
                    </a:lnTo>
                    <a:lnTo>
                      <a:pt x="393" y="26"/>
                    </a:lnTo>
                    <a:lnTo>
                      <a:pt x="426" y="42"/>
                    </a:lnTo>
                    <a:lnTo>
                      <a:pt x="458" y="60"/>
                    </a:lnTo>
                    <a:lnTo>
                      <a:pt x="488" y="82"/>
                    </a:lnTo>
                    <a:lnTo>
                      <a:pt x="514" y="106"/>
                    </a:lnTo>
                    <a:lnTo>
                      <a:pt x="430" y="19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T America" panose="00000500000000000000" pitchFamily="2" charset="0"/>
                  <a:ea typeface="+mn-ea"/>
                  <a:cs typeface="+mn-cs"/>
                </a:endParaRPr>
              </a:p>
            </p:txBody>
          </p:sp>
          <p:sp>
            <p:nvSpPr>
              <p:cNvPr id="107" name="Freeform 71"/>
              <p:cNvSpPr>
                <a:spLocks/>
              </p:cNvSpPr>
              <p:nvPr/>
            </p:nvSpPr>
            <p:spPr bwMode="auto">
              <a:xfrm>
                <a:off x="3387" y="1934"/>
                <a:ext cx="906" cy="274"/>
              </a:xfrm>
              <a:custGeom>
                <a:avLst/>
                <a:gdLst>
                  <a:gd name="T0" fmla="*/ 822 w 906"/>
                  <a:gd name="T1" fmla="*/ 274 h 274"/>
                  <a:gd name="T2" fmla="*/ 784 w 906"/>
                  <a:gd name="T3" fmla="*/ 238 h 274"/>
                  <a:gd name="T4" fmla="*/ 742 w 906"/>
                  <a:gd name="T5" fmla="*/ 208 h 274"/>
                  <a:gd name="T6" fmla="*/ 698 w 906"/>
                  <a:gd name="T7" fmla="*/ 182 h 274"/>
                  <a:gd name="T8" fmla="*/ 652 w 906"/>
                  <a:gd name="T9" fmla="*/ 160 h 274"/>
                  <a:gd name="T10" fmla="*/ 605 w 906"/>
                  <a:gd name="T11" fmla="*/ 144 h 274"/>
                  <a:gd name="T12" fmla="*/ 555 w 906"/>
                  <a:gd name="T13" fmla="*/ 132 h 274"/>
                  <a:gd name="T14" fmla="*/ 505 w 906"/>
                  <a:gd name="T15" fmla="*/ 124 h 274"/>
                  <a:gd name="T16" fmla="*/ 453 w 906"/>
                  <a:gd name="T17" fmla="*/ 122 h 274"/>
                  <a:gd name="T18" fmla="*/ 427 w 906"/>
                  <a:gd name="T19" fmla="*/ 122 h 274"/>
                  <a:gd name="T20" fmla="*/ 375 w 906"/>
                  <a:gd name="T21" fmla="*/ 128 h 274"/>
                  <a:gd name="T22" fmla="*/ 327 w 906"/>
                  <a:gd name="T23" fmla="*/ 136 h 274"/>
                  <a:gd name="T24" fmla="*/ 276 w 906"/>
                  <a:gd name="T25" fmla="*/ 152 h 274"/>
                  <a:gd name="T26" fmla="*/ 230 w 906"/>
                  <a:gd name="T27" fmla="*/ 170 h 274"/>
                  <a:gd name="T28" fmla="*/ 186 w 906"/>
                  <a:gd name="T29" fmla="*/ 194 h 274"/>
                  <a:gd name="T30" fmla="*/ 144 w 906"/>
                  <a:gd name="T31" fmla="*/ 224 h 274"/>
                  <a:gd name="T32" fmla="*/ 104 w 906"/>
                  <a:gd name="T33" fmla="*/ 256 h 274"/>
                  <a:gd name="T34" fmla="*/ 0 w 906"/>
                  <a:gd name="T35" fmla="*/ 188 h 274"/>
                  <a:gd name="T36" fmla="*/ 22 w 906"/>
                  <a:gd name="T37" fmla="*/ 166 h 274"/>
                  <a:gd name="T38" fmla="*/ 72 w 906"/>
                  <a:gd name="T39" fmla="*/ 126 h 274"/>
                  <a:gd name="T40" fmla="*/ 124 w 906"/>
                  <a:gd name="T41" fmla="*/ 90 h 274"/>
                  <a:gd name="T42" fmla="*/ 178 w 906"/>
                  <a:gd name="T43" fmla="*/ 62 h 274"/>
                  <a:gd name="T44" fmla="*/ 236 w 906"/>
                  <a:gd name="T45" fmla="*/ 38 h 274"/>
                  <a:gd name="T46" fmla="*/ 297 w 906"/>
                  <a:gd name="T47" fmla="*/ 20 h 274"/>
                  <a:gd name="T48" fmla="*/ 359 w 906"/>
                  <a:gd name="T49" fmla="*/ 8 h 274"/>
                  <a:gd name="T50" fmla="*/ 421 w 906"/>
                  <a:gd name="T51" fmla="*/ 2 h 274"/>
                  <a:gd name="T52" fmla="*/ 453 w 906"/>
                  <a:gd name="T53" fmla="*/ 0 h 274"/>
                  <a:gd name="T54" fmla="*/ 517 w 906"/>
                  <a:gd name="T55" fmla="*/ 4 h 274"/>
                  <a:gd name="T56" fmla="*/ 579 w 906"/>
                  <a:gd name="T57" fmla="*/ 12 h 274"/>
                  <a:gd name="T58" fmla="*/ 640 w 906"/>
                  <a:gd name="T59" fmla="*/ 28 h 274"/>
                  <a:gd name="T60" fmla="*/ 700 w 906"/>
                  <a:gd name="T61" fmla="*/ 48 h 274"/>
                  <a:gd name="T62" fmla="*/ 756 w 906"/>
                  <a:gd name="T63" fmla="*/ 76 h 274"/>
                  <a:gd name="T64" fmla="*/ 810 w 906"/>
                  <a:gd name="T65" fmla="*/ 108 h 274"/>
                  <a:gd name="T66" fmla="*/ 860 w 906"/>
                  <a:gd name="T67" fmla="*/ 146 h 274"/>
                  <a:gd name="T68" fmla="*/ 906 w 906"/>
                  <a:gd name="T69" fmla="*/ 188 h 2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906" h="274">
                    <a:moveTo>
                      <a:pt x="822" y="274"/>
                    </a:moveTo>
                    <a:lnTo>
                      <a:pt x="822" y="274"/>
                    </a:lnTo>
                    <a:lnTo>
                      <a:pt x="802" y="256"/>
                    </a:lnTo>
                    <a:lnTo>
                      <a:pt x="784" y="238"/>
                    </a:lnTo>
                    <a:lnTo>
                      <a:pt x="762" y="224"/>
                    </a:lnTo>
                    <a:lnTo>
                      <a:pt x="742" y="208"/>
                    </a:lnTo>
                    <a:lnTo>
                      <a:pt x="720" y="194"/>
                    </a:lnTo>
                    <a:lnTo>
                      <a:pt x="698" y="182"/>
                    </a:lnTo>
                    <a:lnTo>
                      <a:pt x="676" y="170"/>
                    </a:lnTo>
                    <a:lnTo>
                      <a:pt x="652" y="160"/>
                    </a:lnTo>
                    <a:lnTo>
                      <a:pt x="630" y="152"/>
                    </a:lnTo>
                    <a:lnTo>
                      <a:pt x="605" y="144"/>
                    </a:lnTo>
                    <a:lnTo>
                      <a:pt x="579" y="136"/>
                    </a:lnTo>
                    <a:lnTo>
                      <a:pt x="555" y="132"/>
                    </a:lnTo>
                    <a:lnTo>
                      <a:pt x="531" y="128"/>
                    </a:lnTo>
                    <a:lnTo>
                      <a:pt x="505" y="124"/>
                    </a:lnTo>
                    <a:lnTo>
                      <a:pt x="479" y="122"/>
                    </a:lnTo>
                    <a:lnTo>
                      <a:pt x="453" y="122"/>
                    </a:lnTo>
                    <a:lnTo>
                      <a:pt x="453" y="122"/>
                    </a:lnTo>
                    <a:lnTo>
                      <a:pt x="427" y="122"/>
                    </a:lnTo>
                    <a:lnTo>
                      <a:pt x="401" y="124"/>
                    </a:lnTo>
                    <a:lnTo>
                      <a:pt x="375" y="128"/>
                    </a:lnTo>
                    <a:lnTo>
                      <a:pt x="351" y="132"/>
                    </a:lnTo>
                    <a:lnTo>
                      <a:pt x="327" y="136"/>
                    </a:lnTo>
                    <a:lnTo>
                      <a:pt x="301" y="144"/>
                    </a:lnTo>
                    <a:lnTo>
                      <a:pt x="276" y="152"/>
                    </a:lnTo>
                    <a:lnTo>
                      <a:pt x="254" y="160"/>
                    </a:lnTo>
                    <a:lnTo>
                      <a:pt x="230" y="170"/>
                    </a:lnTo>
                    <a:lnTo>
                      <a:pt x="208" y="182"/>
                    </a:lnTo>
                    <a:lnTo>
                      <a:pt x="186" y="194"/>
                    </a:lnTo>
                    <a:lnTo>
                      <a:pt x="164" y="208"/>
                    </a:lnTo>
                    <a:lnTo>
                      <a:pt x="144" y="224"/>
                    </a:lnTo>
                    <a:lnTo>
                      <a:pt x="122" y="238"/>
                    </a:lnTo>
                    <a:lnTo>
                      <a:pt x="104" y="256"/>
                    </a:lnTo>
                    <a:lnTo>
                      <a:pt x="84" y="274"/>
                    </a:lnTo>
                    <a:lnTo>
                      <a:pt x="0" y="188"/>
                    </a:lnTo>
                    <a:lnTo>
                      <a:pt x="0" y="188"/>
                    </a:lnTo>
                    <a:lnTo>
                      <a:pt x="22" y="166"/>
                    </a:lnTo>
                    <a:lnTo>
                      <a:pt x="46" y="146"/>
                    </a:lnTo>
                    <a:lnTo>
                      <a:pt x="72" y="126"/>
                    </a:lnTo>
                    <a:lnTo>
                      <a:pt x="96" y="108"/>
                    </a:lnTo>
                    <a:lnTo>
                      <a:pt x="124" y="90"/>
                    </a:lnTo>
                    <a:lnTo>
                      <a:pt x="150" y="76"/>
                    </a:lnTo>
                    <a:lnTo>
                      <a:pt x="178" y="62"/>
                    </a:lnTo>
                    <a:lnTo>
                      <a:pt x="206" y="48"/>
                    </a:lnTo>
                    <a:lnTo>
                      <a:pt x="236" y="38"/>
                    </a:lnTo>
                    <a:lnTo>
                      <a:pt x="266" y="28"/>
                    </a:lnTo>
                    <a:lnTo>
                      <a:pt x="297" y="20"/>
                    </a:lnTo>
                    <a:lnTo>
                      <a:pt x="327" y="12"/>
                    </a:lnTo>
                    <a:lnTo>
                      <a:pt x="359" y="8"/>
                    </a:lnTo>
                    <a:lnTo>
                      <a:pt x="389" y="4"/>
                    </a:lnTo>
                    <a:lnTo>
                      <a:pt x="421" y="2"/>
                    </a:lnTo>
                    <a:lnTo>
                      <a:pt x="453" y="0"/>
                    </a:lnTo>
                    <a:lnTo>
                      <a:pt x="453" y="0"/>
                    </a:lnTo>
                    <a:lnTo>
                      <a:pt x="485" y="2"/>
                    </a:lnTo>
                    <a:lnTo>
                      <a:pt x="517" y="4"/>
                    </a:lnTo>
                    <a:lnTo>
                      <a:pt x="547" y="8"/>
                    </a:lnTo>
                    <a:lnTo>
                      <a:pt x="579" y="12"/>
                    </a:lnTo>
                    <a:lnTo>
                      <a:pt x="609" y="20"/>
                    </a:lnTo>
                    <a:lnTo>
                      <a:pt x="640" y="28"/>
                    </a:lnTo>
                    <a:lnTo>
                      <a:pt x="670" y="38"/>
                    </a:lnTo>
                    <a:lnTo>
                      <a:pt x="700" y="48"/>
                    </a:lnTo>
                    <a:lnTo>
                      <a:pt x="728" y="62"/>
                    </a:lnTo>
                    <a:lnTo>
                      <a:pt x="756" y="76"/>
                    </a:lnTo>
                    <a:lnTo>
                      <a:pt x="782" y="90"/>
                    </a:lnTo>
                    <a:lnTo>
                      <a:pt x="810" y="108"/>
                    </a:lnTo>
                    <a:lnTo>
                      <a:pt x="834" y="126"/>
                    </a:lnTo>
                    <a:lnTo>
                      <a:pt x="860" y="146"/>
                    </a:lnTo>
                    <a:lnTo>
                      <a:pt x="884" y="166"/>
                    </a:lnTo>
                    <a:lnTo>
                      <a:pt x="906" y="188"/>
                    </a:lnTo>
                    <a:lnTo>
                      <a:pt x="822" y="27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T America" panose="00000500000000000000" pitchFamily="2" charset="0"/>
                  <a:ea typeface="+mn-ea"/>
                  <a:cs typeface="+mn-cs"/>
                </a:endParaRPr>
              </a:p>
            </p:txBody>
          </p:sp>
          <p:sp>
            <p:nvSpPr>
              <p:cNvPr id="108" name="Freeform 72"/>
              <p:cNvSpPr>
                <a:spLocks/>
              </p:cNvSpPr>
              <p:nvPr/>
            </p:nvSpPr>
            <p:spPr bwMode="auto">
              <a:xfrm>
                <a:off x="3190" y="1658"/>
                <a:ext cx="1300" cy="354"/>
              </a:xfrm>
              <a:custGeom>
                <a:avLst/>
                <a:gdLst>
                  <a:gd name="T0" fmla="*/ 1214 w 1300"/>
                  <a:gd name="T1" fmla="*/ 354 h 354"/>
                  <a:gd name="T2" fmla="*/ 1156 w 1300"/>
                  <a:gd name="T3" fmla="*/ 302 h 354"/>
                  <a:gd name="T4" fmla="*/ 1091 w 1300"/>
                  <a:gd name="T5" fmla="*/ 254 h 354"/>
                  <a:gd name="T6" fmla="*/ 1025 w 1300"/>
                  <a:gd name="T7" fmla="*/ 214 h 354"/>
                  <a:gd name="T8" fmla="*/ 955 w 1300"/>
                  <a:gd name="T9" fmla="*/ 182 h 354"/>
                  <a:gd name="T10" fmla="*/ 883 w 1300"/>
                  <a:gd name="T11" fmla="*/ 156 h 354"/>
                  <a:gd name="T12" fmla="*/ 806 w 1300"/>
                  <a:gd name="T13" fmla="*/ 136 h 354"/>
                  <a:gd name="T14" fmla="*/ 728 w 1300"/>
                  <a:gd name="T15" fmla="*/ 126 h 354"/>
                  <a:gd name="T16" fmla="*/ 650 w 1300"/>
                  <a:gd name="T17" fmla="*/ 122 h 354"/>
                  <a:gd name="T18" fmla="*/ 610 w 1300"/>
                  <a:gd name="T19" fmla="*/ 122 h 354"/>
                  <a:gd name="T20" fmla="*/ 532 w 1300"/>
                  <a:gd name="T21" fmla="*/ 130 h 354"/>
                  <a:gd name="T22" fmla="*/ 455 w 1300"/>
                  <a:gd name="T23" fmla="*/ 146 h 354"/>
                  <a:gd name="T24" fmla="*/ 381 w 1300"/>
                  <a:gd name="T25" fmla="*/ 168 h 354"/>
                  <a:gd name="T26" fmla="*/ 309 w 1300"/>
                  <a:gd name="T27" fmla="*/ 198 h 354"/>
                  <a:gd name="T28" fmla="*/ 241 w 1300"/>
                  <a:gd name="T29" fmla="*/ 234 h 354"/>
                  <a:gd name="T30" fmla="*/ 177 w 1300"/>
                  <a:gd name="T31" fmla="*/ 278 h 354"/>
                  <a:gd name="T32" fmla="*/ 114 w 1300"/>
                  <a:gd name="T33" fmla="*/ 328 h 354"/>
                  <a:gd name="T34" fmla="*/ 0 w 1300"/>
                  <a:gd name="T35" fmla="*/ 268 h 354"/>
                  <a:gd name="T36" fmla="*/ 34 w 1300"/>
                  <a:gd name="T37" fmla="*/ 238 h 354"/>
                  <a:gd name="T38" fmla="*/ 104 w 1300"/>
                  <a:gd name="T39" fmla="*/ 180 h 354"/>
                  <a:gd name="T40" fmla="*/ 179 w 1300"/>
                  <a:gd name="T41" fmla="*/ 130 h 354"/>
                  <a:gd name="T42" fmla="*/ 257 w 1300"/>
                  <a:gd name="T43" fmla="*/ 88 h 354"/>
                  <a:gd name="T44" fmla="*/ 339 w 1300"/>
                  <a:gd name="T45" fmla="*/ 54 h 354"/>
                  <a:gd name="T46" fmla="*/ 425 w 1300"/>
                  <a:gd name="T47" fmla="*/ 28 h 354"/>
                  <a:gd name="T48" fmla="*/ 514 w 1300"/>
                  <a:gd name="T49" fmla="*/ 10 h 354"/>
                  <a:gd name="T50" fmla="*/ 604 w 1300"/>
                  <a:gd name="T51" fmla="*/ 2 h 354"/>
                  <a:gd name="T52" fmla="*/ 650 w 1300"/>
                  <a:gd name="T53" fmla="*/ 0 h 354"/>
                  <a:gd name="T54" fmla="*/ 742 w 1300"/>
                  <a:gd name="T55" fmla="*/ 4 h 354"/>
                  <a:gd name="T56" fmla="*/ 831 w 1300"/>
                  <a:gd name="T57" fmla="*/ 18 h 354"/>
                  <a:gd name="T58" fmla="*/ 917 w 1300"/>
                  <a:gd name="T59" fmla="*/ 40 h 354"/>
                  <a:gd name="T60" fmla="*/ 1001 w 1300"/>
                  <a:gd name="T61" fmla="*/ 70 h 354"/>
                  <a:gd name="T62" fmla="*/ 1083 w 1300"/>
                  <a:gd name="T63" fmla="*/ 108 h 354"/>
                  <a:gd name="T64" fmla="*/ 1160 w 1300"/>
                  <a:gd name="T65" fmla="*/ 154 h 354"/>
                  <a:gd name="T66" fmla="*/ 1232 w 1300"/>
                  <a:gd name="T67" fmla="*/ 208 h 354"/>
                  <a:gd name="T68" fmla="*/ 1300 w 1300"/>
                  <a:gd name="T69" fmla="*/ 268 h 3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300" h="354">
                    <a:moveTo>
                      <a:pt x="1214" y="354"/>
                    </a:moveTo>
                    <a:lnTo>
                      <a:pt x="1214" y="354"/>
                    </a:lnTo>
                    <a:lnTo>
                      <a:pt x="1186" y="328"/>
                    </a:lnTo>
                    <a:lnTo>
                      <a:pt x="1156" y="302"/>
                    </a:lnTo>
                    <a:lnTo>
                      <a:pt x="1123" y="278"/>
                    </a:lnTo>
                    <a:lnTo>
                      <a:pt x="1091" y="254"/>
                    </a:lnTo>
                    <a:lnTo>
                      <a:pt x="1059" y="234"/>
                    </a:lnTo>
                    <a:lnTo>
                      <a:pt x="1025" y="214"/>
                    </a:lnTo>
                    <a:lnTo>
                      <a:pt x="991" y="198"/>
                    </a:lnTo>
                    <a:lnTo>
                      <a:pt x="955" y="182"/>
                    </a:lnTo>
                    <a:lnTo>
                      <a:pt x="919" y="168"/>
                    </a:lnTo>
                    <a:lnTo>
                      <a:pt x="883" y="156"/>
                    </a:lnTo>
                    <a:lnTo>
                      <a:pt x="845" y="146"/>
                    </a:lnTo>
                    <a:lnTo>
                      <a:pt x="806" y="136"/>
                    </a:lnTo>
                    <a:lnTo>
                      <a:pt x="768" y="130"/>
                    </a:lnTo>
                    <a:lnTo>
                      <a:pt x="728" y="126"/>
                    </a:lnTo>
                    <a:lnTo>
                      <a:pt x="690" y="122"/>
                    </a:lnTo>
                    <a:lnTo>
                      <a:pt x="650" y="122"/>
                    </a:lnTo>
                    <a:lnTo>
                      <a:pt x="650" y="122"/>
                    </a:lnTo>
                    <a:lnTo>
                      <a:pt x="610" y="122"/>
                    </a:lnTo>
                    <a:lnTo>
                      <a:pt x="572" y="126"/>
                    </a:lnTo>
                    <a:lnTo>
                      <a:pt x="532" y="130"/>
                    </a:lnTo>
                    <a:lnTo>
                      <a:pt x="494" y="136"/>
                    </a:lnTo>
                    <a:lnTo>
                      <a:pt x="455" y="146"/>
                    </a:lnTo>
                    <a:lnTo>
                      <a:pt x="417" y="156"/>
                    </a:lnTo>
                    <a:lnTo>
                      <a:pt x="381" y="168"/>
                    </a:lnTo>
                    <a:lnTo>
                      <a:pt x="345" y="182"/>
                    </a:lnTo>
                    <a:lnTo>
                      <a:pt x="309" y="198"/>
                    </a:lnTo>
                    <a:lnTo>
                      <a:pt x="275" y="214"/>
                    </a:lnTo>
                    <a:lnTo>
                      <a:pt x="241" y="234"/>
                    </a:lnTo>
                    <a:lnTo>
                      <a:pt x="209" y="254"/>
                    </a:lnTo>
                    <a:lnTo>
                      <a:pt x="177" y="278"/>
                    </a:lnTo>
                    <a:lnTo>
                      <a:pt x="144" y="302"/>
                    </a:lnTo>
                    <a:lnTo>
                      <a:pt x="114" y="328"/>
                    </a:lnTo>
                    <a:lnTo>
                      <a:pt x="86" y="354"/>
                    </a:lnTo>
                    <a:lnTo>
                      <a:pt x="0" y="268"/>
                    </a:lnTo>
                    <a:lnTo>
                      <a:pt x="0" y="268"/>
                    </a:lnTo>
                    <a:lnTo>
                      <a:pt x="34" y="238"/>
                    </a:lnTo>
                    <a:lnTo>
                      <a:pt x="68" y="208"/>
                    </a:lnTo>
                    <a:lnTo>
                      <a:pt x="104" y="180"/>
                    </a:lnTo>
                    <a:lnTo>
                      <a:pt x="140" y="154"/>
                    </a:lnTo>
                    <a:lnTo>
                      <a:pt x="179" y="130"/>
                    </a:lnTo>
                    <a:lnTo>
                      <a:pt x="217" y="108"/>
                    </a:lnTo>
                    <a:lnTo>
                      <a:pt x="257" y="88"/>
                    </a:lnTo>
                    <a:lnTo>
                      <a:pt x="299" y="70"/>
                    </a:lnTo>
                    <a:lnTo>
                      <a:pt x="339" y="54"/>
                    </a:lnTo>
                    <a:lnTo>
                      <a:pt x="383" y="40"/>
                    </a:lnTo>
                    <a:lnTo>
                      <a:pt x="425" y="28"/>
                    </a:lnTo>
                    <a:lnTo>
                      <a:pt x="469" y="18"/>
                    </a:lnTo>
                    <a:lnTo>
                      <a:pt x="514" y="10"/>
                    </a:lnTo>
                    <a:lnTo>
                      <a:pt x="558" y="4"/>
                    </a:lnTo>
                    <a:lnTo>
                      <a:pt x="604" y="2"/>
                    </a:lnTo>
                    <a:lnTo>
                      <a:pt x="650" y="0"/>
                    </a:lnTo>
                    <a:lnTo>
                      <a:pt x="650" y="0"/>
                    </a:lnTo>
                    <a:lnTo>
                      <a:pt x="696" y="2"/>
                    </a:lnTo>
                    <a:lnTo>
                      <a:pt x="742" y="4"/>
                    </a:lnTo>
                    <a:lnTo>
                      <a:pt x="786" y="10"/>
                    </a:lnTo>
                    <a:lnTo>
                      <a:pt x="831" y="18"/>
                    </a:lnTo>
                    <a:lnTo>
                      <a:pt x="875" y="28"/>
                    </a:lnTo>
                    <a:lnTo>
                      <a:pt x="917" y="40"/>
                    </a:lnTo>
                    <a:lnTo>
                      <a:pt x="961" y="54"/>
                    </a:lnTo>
                    <a:lnTo>
                      <a:pt x="1001" y="70"/>
                    </a:lnTo>
                    <a:lnTo>
                      <a:pt x="1043" y="88"/>
                    </a:lnTo>
                    <a:lnTo>
                      <a:pt x="1083" y="108"/>
                    </a:lnTo>
                    <a:lnTo>
                      <a:pt x="1121" y="130"/>
                    </a:lnTo>
                    <a:lnTo>
                      <a:pt x="1160" y="154"/>
                    </a:lnTo>
                    <a:lnTo>
                      <a:pt x="1196" y="180"/>
                    </a:lnTo>
                    <a:lnTo>
                      <a:pt x="1232" y="208"/>
                    </a:lnTo>
                    <a:lnTo>
                      <a:pt x="1266" y="238"/>
                    </a:lnTo>
                    <a:lnTo>
                      <a:pt x="1300" y="268"/>
                    </a:lnTo>
                    <a:lnTo>
                      <a:pt x="1214" y="35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T America" panose="00000500000000000000" pitchFamily="2" charset="0"/>
                  <a:ea typeface="+mn-ea"/>
                  <a:cs typeface="+mn-cs"/>
                </a:endParaRPr>
              </a:p>
            </p:txBody>
          </p:sp>
          <p:sp>
            <p:nvSpPr>
              <p:cNvPr id="109" name="Freeform 73"/>
              <p:cNvSpPr>
                <a:spLocks/>
              </p:cNvSpPr>
              <p:nvPr/>
            </p:nvSpPr>
            <p:spPr bwMode="auto">
              <a:xfrm>
                <a:off x="3754" y="2488"/>
                <a:ext cx="172" cy="174"/>
              </a:xfrm>
              <a:custGeom>
                <a:avLst/>
                <a:gdLst>
                  <a:gd name="T0" fmla="*/ 86 w 172"/>
                  <a:gd name="T1" fmla="*/ 174 h 174"/>
                  <a:gd name="T2" fmla="*/ 86 w 172"/>
                  <a:gd name="T3" fmla="*/ 174 h 174"/>
                  <a:gd name="T4" fmla="*/ 68 w 172"/>
                  <a:gd name="T5" fmla="*/ 172 h 174"/>
                  <a:gd name="T6" fmla="*/ 52 w 172"/>
                  <a:gd name="T7" fmla="*/ 166 h 174"/>
                  <a:gd name="T8" fmla="*/ 38 w 172"/>
                  <a:gd name="T9" fmla="*/ 160 h 174"/>
                  <a:gd name="T10" fmla="*/ 24 w 172"/>
                  <a:gd name="T11" fmla="*/ 148 h 174"/>
                  <a:gd name="T12" fmla="*/ 24 w 172"/>
                  <a:gd name="T13" fmla="*/ 148 h 174"/>
                  <a:gd name="T14" fmla="*/ 14 w 172"/>
                  <a:gd name="T15" fmla="*/ 134 h 174"/>
                  <a:gd name="T16" fmla="*/ 6 w 172"/>
                  <a:gd name="T17" fmla="*/ 120 h 174"/>
                  <a:gd name="T18" fmla="*/ 2 w 172"/>
                  <a:gd name="T19" fmla="*/ 104 h 174"/>
                  <a:gd name="T20" fmla="*/ 0 w 172"/>
                  <a:gd name="T21" fmla="*/ 86 h 174"/>
                  <a:gd name="T22" fmla="*/ 0 w 172"/>
                  <a:gd name="T23" fmla="*/ 86 h 174"/>
                  <a:gd name="T24" fmla="*/ 2 w 172"/>
                  <a:gd name="T25" fmla="*/ 70 h 174"/>
                  <a:gd name="T26" fmla="*/ 6 w 172"/>
                  <a:gd name="T27" fmla="*/ 54 h 174"/>
                  <a:gd name="T28" fmla="*/ 14 w 172"/>
                  <a:gd name="T29" fmla="*/ 38 h 174"/>
                  <a:gd name="T30" fmla="*/ 24 w 172"/>
                  <a:gd name="T31" fmla="*/ 26 h 174"/>
                  <a:gd name="T32" fmla="*/ 24 w 172"/>
                  <a:gd name="T33" fmla="*/ 26 h 174"/>
                  <a:gd name="T34" fmla="*/ 38 w 172"/>
                  <a:gd name="T35" fmla="*/ 14 h 174"/>
                  <a:gd name="T36" fmla="*/ 52 w 172"/>
                  <a:gd name="T37" fmla="*/ 6 h 174"/>
                  <a:gd name="T38" fmla="*/ 68 w 172"/>
                  <a:gd name="T39" fmla="*/ 2 h 174"/>
                  <a:gd name="T40" fmla="*/ 86 w 172"/>
                  <a:gd name="T41" fmla="*/ 0 h 174"/>
                  <a:gd name="T42" fmla="*/ 86 w 172"/>
                  <a:gd name="T43" fmla="*/ 0 h 174"/>
                  <a:gd name="T44" fmla="*/ 104 w 172"/>
                  <a:gd name="T45" fmla="*/ 2 h 174"/>
                  <a:gd name="T46" fmla="*/ 120 w 172"/>
                  <a:gd name="T47" fmla="*/ 6 h 174"/>
                  <a:gd name="T48" fmla="*/ 134 w 172"/>
                  <a:gd name="T49" fmla="*/ 14 h 174"/>
                  <a:gd name="T50" fmla="*/ 148 w 172"/>
                  <a:gd name="T51" fmla="*/ 26 h 174"/>
                  <a:gd name="T52" fmla="*/ 148 w 172"/>
                  <a:gd name="T53" fmla="*/ 26 h 174"/>
                  <a:gd name="T54" fmla="*/ 148 w 172"/>
                  <a:gd name="T55" fmla="*/ 26 h 174"/>
                  <a:gd name="T56" fmla="*/ 158 w 172"/>
                  <a:gd name="T57" fmla="*/ 40 h 174"/>
                  <a:gd name="T58" fmla="*/ 166 w 172"/>
                  <a:gd name="T59" fmla="*/ 54 h 174"/>
                  <a:gd name="T60" fmla="*/ 172 w 172"/>
                  <a:gd name="T61" fmla="*/ 70 h 174"/>
                  <a:gd name="T62" fmla="*/ 172 w 172"/>
                  <a:gd name="T63" fmla="*/ 86 h 174"/>
                  <a:gd name="T64" fmla="*/ 172 w 172"/>
                  <a:gd name="T65" fmla="*/ 104 h 174"/>
                  <a:gd name="T66" fmla="*/ 166 w 172"/>
                  <a:gd name="T67" fmla="*/ 120 h 174"/>
                  <a:gd name="T68" fmla="*/ 158 w 172"/>
                  <a:gd name="T69" fmla="*/ 134 h 174"/>
                  <a:gd name="T70" fmla="*/ 148 w 172"/>
                  <a:gd name="T71" fmla="*/ 148 h 174"/>
                  <a:gd name="T72" fmla="*/ 148 w 172"/>
                  <a:gd name="T73" fmla="*/ 148 h 174"/>
                  <a:gd name="T74" fmla="*/ 134 w 172"/>
                  <a:gd name="T75" fmla="*/ 160 h 174"/>
                  <a:gd name="T76" fmla="*/ 120 w 172"/>
                  <a:gd name="T77" fmla="*/ 166 h 174"/>
                  <a:gd name="T78" fmla="*/ 104 w 172"/>
                  <a:gd name="T79" fmla="*/ 172 h 174"/>
                  <a:gd name="T80" fmla="*/ 86 w 172"/>
                  <a:gd name="T81" fmla="*/ 174 h 174"/>
                  <a:gd name="T82" fmla="*/ 86 w 172"/>
                  <a:gd name="T83" fmla="*/ 174 h 1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172" h="174">
                    <a:moveTo>
                      <a:pt x="86" y="174"/>
                    </a:moveTo>
                    <a:lnTo>
                      <a:pt x="86" y="174"/>
                    </a:lnTo>
                    <a:lnTo>
                      <a:pt x="68" y="172"/>
                    </a:lnTo>
                    <a:lnTo>
                      <a:pt x="52" y="166"/>
                    </a:lnTo>
                    <a:lnTo>
                      <a:pt x="38" y="160"/>
                    </a:lnTo>
                    <a:lnTo>
                      <a:pt x="24" y="148"/>
                    </a:lnTo>
                    <a:lnTo>
                      <a:pt x="24" y="148"/>
                    </a:lnTo>
                    <a:lnTo>
                      <a:pt x="14" y="134"/>
                    </a:lnTo>
                    <a:lnTo>
                      <a:pt x="6" y="120"/>
                    </a:lnTo>
                    <a:lnTo>
                      <a:pt x="2" y="104"/>
                    </a:lnTo>
                    <a:lnTo>
                      <a:pt x="0" y="86"/>
                    </a:lnTo>
                    <a:lnTo>
                      <a:pt x="0" y="86"/>
                    </a:lnTo>
                    <a:lnTo>
                      <a:pt x="2" y="70"/>
                    </a:lnTo>
                    <a:lnTo>
                      <a:pt x="6" y="54"/>
                    </a:lnTo>
                    <a:lnTo>
                      <a:pt x="14" y="38"/>
                    </a:lnTo>
                    <a:lnTo>
                      <a:pt x="24" y="26"/>
                    </a:lnTo>
                    <a:lnTo>
                      <a:pt x="24" y="26"/>
                    </a:lnTo>
                    <a:lnTo>
                      <a:pt x="38" y="14"/>
                    </a:lnTo>
                    <a:lnTo>
                      <a:pt x="52" y="6"/>
                    </a:lnTo>
                    <a:lnTo>
                      <a:pt x="68" y="2"/>
                    </a:lnTo>
                    <a:lnTo>
                      <a:pt x="86" y="0"/>
                    </a:lnTo>
                    <a:lnTo>
                      <a:pt x="86" y="0"/>
                    </a:lnTo>
                    <a:lnTo>
                      <a:pt x="104" y="2"/>
                    </a:lnTo>
                    <a:lnTo>
                      <a:pt x="120" y="6"/>
                    </a:lnTo>
                    <a:lnTo>
                      <a:pt x="134" y="14"/>
                    </a:lnTo>
                    <a:lnTo>
                      <a:pt x="148" y="26"/>
                    </a:lnTo>
                    <a:lnTo>
                      <a:pt x="148" y="26"/>
                    </a:lnTo>
                    <a:lnTo>
                      <a:pt x="148" y="26"/>
                    </a:lnTo>
                    <a:lnTo>
                      <a:pt x="158" y="40"/>
                    </a:lnTo>
                    <a:lnTo>
                      <a:pt x="166" y="54"/>
                    </a:lnTo>
                    <a:lnTo>
                      <a:pt x="172" y="70"/>
                    </a:lnTo>
                    <a:lnTo>
                      <a:pt x="172" y="86"/>
                    </a:lnTo>
                    <a:lnTo>
                      <a:pt x="172" y="104"/>
                    </a:lnTo>
                    <a:lnTo>
                      <a:pt x="166" y="120"/>
                    </a:lnTo>
                    <a:lnTo>
                      <a:pt x="158" y="134"/>
                    </a:lnTo>
                    <a:lnTo>
                      <a:pt x="148" y="148"/>
                    </a:lnTo>
                    <a:lnTo>
                      <a:pt x="148" y="148"/>
                    </a:lnTo>
                    <a:lnTo>
                      <a:pt x="134" y="160"/>
                    </a:lnTo>
                    <a:lnTo>
                      <a:pt x="120" y="166"/>
                    </a:lnTo>
                    <a:lnTo>
                      <a:pt x="104" y="172"/>
                    </a:lnTo>
                    <a:lnTo>
                      <a:pt x="86" y="174"/>
                    </a:lnTo>
                    <a:lnTo>
                      <a:pt x="86" y="17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T America" panose="00000500000000000000" pitchFamily="2" charset="0"/>
                  <a:ea typeface="+mn-ea"/>
                  <a:cs typeface="+mn-cs"/>
                </a:endParaRPr>
              </a:p>
            </p:txBody>
          </p:sp>
        </p:grpSp>
      </p:grpSp>
      <p:sp>
        <p:nvSpPr>
          <p:cNvPr id="111" name="Rechteck 110"/>
          <p:cNvSpPr/>
          <p:nvPr/>
        </p:nvSpPr>
        <p:spPr>
          <a:xfrm>
            <a:off x="2618842" y="4803607"/>
            <a:ext cx="2042753" cy="1620001"/>
          </a:xfrm>
          <a:prstGeom prst="rect">
            <a:avLst/>
          </a:prstGeom>
          <a:solidFill>
            <a:schemeClr val="accent3"/>
          </a:solidFill>
        </p:spPr>
        <p:txBody>
          <a:bodyPr wrap="square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T America" panose="00000500000000000000" pitchFamily="2" charset="0"/>
                <a:ea typeface="+mn-ea"/>
                <a:cs typeface="+mn-cs"/>
              </a:rPr>
              <a:t>Car Sharing</a:t>
            </a:r>
          </a:p>
        </p:txBody>
      </p:sp>
      <p:grpSp>
        <p:nvGrpSpPr>
          <p:cNvPr id="113" name="Group 76"/>
          <p:cNvGrpSpPr>
            <a:grpSpLocks noChangeAspect="1"/>
          </p:cNvGrpSpPr>
          <p:nvPr/>
        </p:nvGrpSpPr>
        <p:grpSpPr bwMode="auto">
          <a:xfrm>
            <a:off x="3083114" y="5345230"/>
            <a:ext cx="1114208" cy="844246"/>
            <a:chOff x="990" y="4452"/>
            <a:chExt cx="908" cy="688"/>
          </a:xfrm>
          <a:solidFill>
            <a:schemeClr val="bg1"/>
          </a:solidFill>
        </p:grpSpPr>
        <p:sp>
          <p:nvSpPr>
            <p:cNvPr id="115" name="Freeform 77"/>
            <p:cNvSpPr>
              <a:spLocks/>
            </p:cNvSpPr>
            <p:nvPr/>
          </p:nvSpPr>
          <p:spPr bwMode="auto">
            <a:xfrm>
              <a:off x="990" y="4596"/>
              <a:ext cx="46" cy="237"/>
            </a:xfrm>
            <a:custGeom>
              <a:avLst/>
              <a:gdLst>
                <a:gd name="T0" fmla="*/ 0 w 46"/>
                <a:gd name="T1" fmla="*/ 39 h 237"/>
                <a:gd name="T2" fmla="*/ 0 w 46"/>
                <a:gd name="T3" fmla="*/ 217 h 237"/>
                <a:gd name="T4" fmla="*/ 0 w 46"/>
                <a:gd name="T5" fmla="*/ 217 h 237"/>
                <a:gd name="T6" fmla="*/ 1 w 46"/>
                <a:gd name="T7" fmla="*/ 222 h 237"/>
                <a:gd name="T8" fmla="*/ 3 w 46"/>
                <a:gd name="T9" fmla="*/ 224 h 237"/>
                <a:gd name="T10" fmla="*/ 6 w 46"/>
                <a:gd name="T11" fmla="*/ 231 h 237"/>
                <a:gd name="T12" fmla="*/ 13 w 46"/>
                <a:gd name="T13" fmla="*/ 236 h 237"/>
                <a:gd name="T14" fmla="*/ 17 w 46"/>
                <a:gd name="T15" fmla="*/ 236 h 237"/>
                <a:gd name="T16" fmla="*/ 20 w 46"/>
                <a:gd name="T17" fmla="*/ 237 h 237"/>
                <a:gd name="T18" fmla="*/ 27 w 46"/>
                <a:gd name="T19" fmla="*/ 237 h 237"/>
                <a:gd name="T20" fmla="*/ 27 w 46"/>
                <a:gd name="T21" fmla="*/ 237 h 237"/>
                <a:gd name="T22" fmla="*/ 31 w 46"/>
                <a:gd name="T23" fmla="*/ 236 h 237"/>
                <a:gd name="T24" fmla="*/ 34 w 46"/>
                <a:gd name="T25" fmla="*/ 236 h 237"/>
                <a:gd name="T26" fmla="*/ 41 w 46"/>
                <a:gd name="T27" fmla="*/ 231 h 237"/>
                <a:gd name="T28" fmla="*/ 45 w 46"/>
                <a:gd name="T29" fmla="*/ 224 h 237"/>
                <a:gd name="T30" fmla="*/ 46 w 46"/>
                <a:gd name="T31" fmla="*/ 222 h 237"/>
                <a:gd name="T32" fmla="*/ 46 w 46"/>
                <a:gd name="T33" fmla="*/ 217 h 237"/>
                <a:gd name="T34" fmla="*/ 46 w 46"/>
                <a:gd name="T35" fmla="*/ 0 h 237"/>
                <a:gd name="T36" fmla="*/ 40 w 46"/>
                <a:gd name="T37" fmla="*/ 0 h 237"/>
                <a:gd name="T38" fmla="*/ 40 w 46"/>
                <a:gd name="T39" fmla="*/ 0 h 237"/>
                <a:gd name="T40" fmla="*/ 32 w 46"/>
                <a:gd name="T41" fmla="*/ 1 h 237"/>
                <a:gd name="T42" fmla="*/ 24 w 46"/>
                <a:gd name="T43" fmla="*/ 3 h 237"/>
                <a:gd name="T44" fmla="*/ 18 w 46"/>
                <a:gd name="T45" fmla="*/ 6 h 237"/>
                <a:gd name="T46" fmla="*/ 11 w 46"/>
                <a:gd name="T47" fmla="*/ 11 h 237"/>
                <a:gd name="T48" fmla="*/ 8 w 46"/>
                <a:gd name="T49" fmla="*/ 18 h 237"/>
                <a:gd name="T50" fmla="*/ 4 w 46"/>
                <a:gd name="T51" fmla="*/ 24 h 237"/>
                <a:gd name="T52" fmla="*/ 1 w 46"/>
                <a:gd name="T53" fmla="*/ 31 h 237"/>
                <a:gd name="T54" fmla="*/ 0 w 46"/>
                <a:gd name="T55" fmla="*/ 39 h 237"/>
                <a:gd name="T56" fmla="*/ 0 w 46"/>
                <a:gd name="T57" fmla="*/ 39 h 2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46" h="237">
                  <a:moveTo>
                    <a:pt x="0" y="39"/>
                  </a:moveTo>
                  <a:lnTo>
                    <a:pt x="0" y="217"/>
                  </a:lnTo>
                  <a:lnTo>
                    <a:pt x="0" y="217"/>
                  </a:lnTo>
                  <a:lnTo>
                    <a:pt x="1" y="222"/>
                  </a:lnTo>
                  <a:lnTo>
                    <a:pt x="3" y="224"/>
                  </a:lnTo>
                  <a:lnTo>
                    <a:pt x="6" y="231"/>
                  </a:lnTo>
                  <a:lnTo>
                    <a:pt x="13" y="236"/>
                  </a:lnTo>
                  <a:lnTo>
                    <a:pt x="17" y="236"/>
                  </a:lnTo>
                  <a:lnTo>
                    <a:pt x="20" y="237"/>
                  </a:lnTo>
                  <a:lnTo>
                    <a:pt x="27" y="237"/>
                  </a:lnTo>
                  <a:lnTo>
                    <a:pt x="27" y="237"/>
                  </a:lnTo>
                  <a:lnTo>
                    <a:pt x="31" y="236"/>
                  </a:lnTo>
                  <a:lnTo>
                    <a:pt x="34" y="236"/>
                  </a:lnTo>
                  <a:lnTo>
                    <a:pt x="41" y="231"/>
                  </a:lnTo>
                  <a:lnTo>
                    <a:pt x="45" y="224"/>
                  </a:lnTo>
                  <a:lnTo>
                    <a:pt x="46" y="222"/>
                  </a:lnTo>
                  <a:lnTo>
                    <a:pt x="46" y="217"/>
                  </a:lnTo>
                  <a:lnTo>
                    <a:pt x="46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32" y="1"/>
                  </a:lnTo>
                  <a:lnTo>
                    <a:pt x="24" y="3"/>
                  </a:lnTo>
                  <a:lnTo>
                    <a:pt x="18" y="6"/>
                  </a:lnTo>
                  <a:lnTo>
                    <a:pt x="11" y="11"/>
                  </a:lnTo>
                  <a:lnTo>
                    <a:pt x="8" y="18"/>
                  </a:lnTo>
                  <a:lnTo>
                    <a:pt x="4" y="24"/>
                  </a:lnTo>
                  <a:lnTo>
                    <a:pt x="1" y="31"/>
                  </a:lnTo>
                  <a:lnTo>
                    <a:pt x="0" y="39"/>
                  </a:lnTo>
                  <a:lnTo>
                    <a:pt x="0" y="3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T America" panose="00000500000000000000" pitchFamily="2" charset="0"/>
                <a:ea typeface="+mn-ea"/>
                <a:cs typeface="+mn-cs"/>
              </a:endParaRPr>
            </a:p>
          </p:txBody>
        </p:sp>
        <p:sp>
          <p:nvSpPr>
            <p:cNvPr id="116" name="Freeform 78"/>
            <p:cNvSpPr>
              <a:spLocks/>
            </p:cNvSpPr>
            <p:nvPr/>
          </p:nvSpPr>
          <p:spPr bwMode="auto">
            <a:xfrm>
              <a:off x="1046" y="4596"/>
              <a:ext cx="101" cy="535"/>
            </a:xfrm>
            <a:custGeom>
              <a:avLst/>
              <a:gdLst>
                <a:gd name="T0" fmla="*/ 51 w 101"/>
                <a:gd name="T1" fmla="*/ 220 h 535"/>
                <a:gd name="T2" fmla="*/ 101 w 101"/>
                <a:gd name="T3" fmla="*/ 0 h 535"/>
                <a:gd name="T4" fmla="*/ 0 w 101"/>
                <a:gd name="T5" fmla="*/ 0 h 535"/>
                <a:gd name="T6" fmla="*/ 0 w 101"/>
                <a:gd name="T7" fmla="*/ 201 h 535"/>
                <a:gd name="T8" fmla="*/ 0 w 101"/>
                <a:gd name="T9" fmla="*/ 278 h 535"/>
                <a:gd name="T10" fmla="*/ 0 w 101"/>
                <a:gd name="T11" fmla="*/ 512 h 535"/>
                <a:gd name="T12" fmla="*/ 0 w 101"/>
                <a:gd name="T13" fmla="*/ 512 h 535"/>
                <a:gd name="T14" fmla="*/ 1 w 101"/>
                <a:gd name="T15" fmla="*/ 517 h 535"/>
                <a:gd name="T16" fmla="*/ 3 w 101"/>
                <a:gd name="T17" fmla="*/ 521 h 535"/>
                <a:gd name="T18" fmla="*/ 4 w 101"/>
                <a:gd name="T19" fmla="*/ 525 h 535"/>
                <a:gd name="T20" fmla="*/ 8 w 101"/>
                <a:gd name="T21" fmla="*/ 529 h 535"/>
                <a:gd name="T22" fmla="*/ 10 w 101"/>
                <a:gd name="T23" fmla="*/ 531 h 535"/>
                <a:gd name="T24" fmla="*/ 15 w 101"/>
                <a:gd name="T25" fmla="*/ 534 h 535"/>
                <a:gd name="T26" fmla="*/ 19 w 101"/>
                <a:gd name="T27" fmla="*/ 535 h 535"/>
                <a:gd name="T28" fmla="*/ 24 w 101"/>
                <a:gd name="T29" fmla="*/ 535 h 535"/>
                <a:gd name="T30" fmla="*/ 32 w 101"/>
                <a:gd name="T31" fmla="*/ 535 h 535"/>
                <a:gd name="T32" fmla="*/ 32 w 101"/>
                <a:gd name="T33" fmla="*/ 535 h 535"/>
                <a:gd name="T34" fmla="*/ 38 w 101"/>
                <a:gd name="T35" fmla="*/ 535 h 535"/>
                <a:gd name="T36" fmla="*/ 43 w 101"/>
                <a:gd name="T37" fmla="*/ 533 h 535"/>
                <a:gd name="T38" fmla="*/ 49 w 101"/>
                <a:gd name="T39" fmla="*/ 529 h 535"/>
                <a:gd name="T40" fmla="*/ 51 w 101"/>
                <a:gd name="T41" fmla="*/ 525 h 535"/>
                <a:gd name="T42" fmla="*/ 51 w 101"/>
                <a:gd name="T43" fmla="*/ 220 h 5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1" h="535">
                  <a:moveTo>
                    <a:pt x="51" y="220"/>
                  </a:moveTo>
                  <a:lnTo>
                    <a:pt x="101" y="0"/>
                  </a:lnTo>
                  <a:lnTo>
                    <a:pt x="0" y="0"/>
                  </a:lnTo>
                  <a:lnTo>
                    <a:pt x="0" y="201"/>
                  </a:lnTo>
                  <a:lnTo>
                    <a:pt x="0" y="278"/>
                  </a:lnTo>
                  <a:lnTo>
                    <a:pt x="0" y="512"/>
                  </a:lnTo>
                  <a:lnTo>
                    <a:pt x="0" y="512"/>
                  </a:lnTo>
                  <a:lnTo>
                    <a:pt x="1" y="517"/>
                  </a:lnTo>
                  <a:lnTo>
                    <a:pt x="3" y="521"/>
                  </a:lnTo>
                  <a:lnTo>
                    <a:pt x="4" y="525"/>
                  </a:lnTo>
                  <a:lnTo>
                    <a:pt x="8" y="529"/>
                  </a:lnTo>
                  <a:lnTo>
                    <a:pt x="10" y="531"/>
                  </a:lnTo>
                  <a:lnTo>
                    <a:pt x="15" y="534"/>
                  </a:lnTo>
                  <a:lnTo>
                    <a:pt x="19" y="535"/>
                  </a:lnTo>
                  <a:lnTo>
                    <a:pt x="24" y="535"/>
                  </a:lnTo>
                  <a:lnTo>
                    <a:pt x="32" y="535"/>
                  </a:lnTo>
                  <a:lnTo>
                    <a:pt x="32" y="535"/>
                  </a:lnTo>
                  <a:lnTo>
                    <a:pt x="38" y="535"/>
                  </a:lnTo>
                  <a:lnTo>
                    <a:pt x="43" y="533"/>
                  </a:lnTo>
                  <a:lnTo>
                    <a:pt x="49" y="529"/>
                  </a:lnTo>
                  <a:lnTo>
                    <a:pt x="51" y="525"/>
                  </a:lnTo>
                  <a:lnTo>
                    <a:pt x="51" y="2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T America" panose="00000500000000000000" pitchFamily="2" charset="0"/>
                <a:ea typeface="+mn-ea"/>
                <a:cs typeface="+mn-cs"/>
              </a:endParaRPr>
            </a:p>
          </p:txBody>
        </p:sp>
        <p:sp>
          <p:nvSpPr>
            <p:cNvPr id="117" name="Freeform 79"/>
            <p:cNvSpPr>
              <a:spLocks noEditPoints="1"/>
            </p:cNvSpPr>
            <p:nvPr/>
          </p:nvSpPr>
          <p:spPr bwMode="auto">
            <a:xfrm>
              <a:off x="1052" y="4452"/>
              <a:ext cx="124" cy="124"/>
            </a:xfrm>
            <a:custGeom>
              <a:avLst/>
              <a:gdLst>
                <a:gd name="T0" fmla="*/ 62 w 124"/>
                <a:gd name="T1" fmla="*/ 0 h 124"/>
                <a:gd name="T2" fmla="*/ 37 w 124"/>
                <a:gd name="T3" fmla="*/ 5 h 124"/>
                <a:gd name="T4" fmla="*/ 18 w 124"/>
                <a:gd name="T5" fmla="*/ 18 h 124"/>
                <a:gd name="T6" fmla="*/ 4 w 124"/>
                <a:gd name="T7" fmla="*/ 38 h 124"/>
                <a:gd name="T8" fmla="*/ 0 w 124"/>
                <a:gd name="T9" fmla="*/ 61 h 124"/>
                <a:gd name="T10" fmla="*/ 2 w 124"/>
                <a:gd name="T11" fmla="*/ 74 h 124"/>
                <a:gd name="T12" fmla="*/ 11 w 124"/>
                <a:gd name="T13" fmla="*/ 97 h 124"/>
                <a:gd name="T14" fmla="*/ 27 w 124"/>
                <a:gd name="T15" fmla="*/ 113 h 124"/>
                <a:gd name="T16" fmla="*/ 49 w 124"/>
                <a:gd name="T17" fmla="*/ 122 h 124"/>
                <a:gd name="T18" fmla="*/ 62 w 124"/>
                <a:gd name="T19" fmla="*/ 124 h 124"/>
                <a:gd name="T20" fmla="*/ 86 w 124"/>
                <a:gd name="T21" fmla="*/ 118 h 124"/>
                <a:gd name="T22" fmla="*/ 106 w 124"/>
                <a:gd name="T23" fmla="*/ 106 h 124"/>
                <a:gd name="T24" fmla="*/ 119 w 124"/>
                <a:gd name="T25" fmla="*/ 85 h 124"/>
                <a:gd name="T26" fmla="*/ 124 w 124"/>
                <a:gd name="T27" fmla="*/ 61 h 124"/>
                <a:gd name="T28" fmla="*/ 123 w 124"/>
                <a:gd name="T29" fmla="*/ 50 h 124"/>
                <a:gd name="T30" fmla="*/ 114 w 124"/>
                <a:gd name="T31" fmla="*/ 27 h 124"/>
                <a:gd name="T32" fmla="*/ 96 w 124"/>
                <a:gd name="T33" fmla="*/ 10 h 124"/>
                <a:gd name="T34" fmla="*/ 74 w 124"/>
                <a:gd name="T35" fmla="*/ 1 h 124"/>
                <a:gd name="T36" fmla="*/ 62 w 124"/>
                <a:gd name="T37" fmla="*/ 0 h 124"/>
                <a:gd name="T38" fmla="*/ 105 w 124"/>
                <a:gd name="T39" fmla="*/ 66 h 124"/>
                <a:gd name="T40" fmla="*/ 101 w 124"/>
                <a:gd name="T41" fmla="*/ 65 h 124"/>
                <a:gd name="T42" fmla="*/ 100 w 124"/>
                <a:gd name="T43" fmla="*/ 61 h 124"/>
                <a:gd name="T44" fmla="*/ 100 w 124"/>
                <a:gd name="T45" fmla="*/ 55 h 124"/>
                <a:gd name="T46" fmla="*/ 94 w 124"/>
                <a:gd name="T47" fmla="*/ 41 h 124"/>
                <a:gd name="T48" fmla="*/ 83 w 124"/>
                <a:gd name="T49" fmla="*/ 32 h 124"/>
                <a:gd name="T50" fmla="*/ 71 w 124"/>
                <a:gd name="T51" fmla="*/ 25 h 124"/>
                <a:gd name="T52" fmla="*/ 64 w 124"/>
                <a:gd name="T53" fmla="*/ 25 h 124"/>
                <a:gd name="T54" fmla="*/ 62 w 124"/>
                <a:gd name="T55" fmla="*/ 24 h 124"/>
                <a:gd name="T56" fmla="*/ 60 w 124"/>
                <a:gd name="T57" fmla="*/ 20 h 124"/>
                <a:gd name="T58" fmla="*/ 60 w 124"/>
                <a:gd name="T59" fmla="*/ 18 h 124"/>
                <a:gd name="T60" fmla="*/ 63 w 124"/>
                <a:gd name="T61" fmla="*/ 15 h 124"/>
                <a:gd name="T62" fmla="*/ 64 w 124"/>
                <a:gd name="T63" fmla="*/ 15 h 124"/>
                <a:gd name="T64" fmla="*/ 82 w 124"/>
                <a:gd name="T65" fmla="*/ 19 h 124"/>
                <a:gd name="T66" fmla="*/ 96 w 124"/>
                <a:gd name="T67" fmla="*/ 29 h 124"/>
                <a:gd name="T68" fmla="*/ 106 w 124"/>
                <a:gd name="T69" fmla="*/ 45 h 124"/>
                <a:gd name="T70" fmla="*/ 110 w 124"/>
                <a:gd name="T71" fmla="*/ 61 h 124"/>
                <a:gd name="T72" fmla="*/ 110 w 124"/>
                <a:gd name="T73" fmla="*/ 64 h 124"/>
                <a:gd name="T74" fmla="*/ 108 w 124"/>
                <a:gd name="T75" fmla="*/ 66 h 124"/>
                <a:gd name="T76" fmla="*/ 105 w 124"/>
                <a:gd name="T77" fmla="*/ 66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24" h="124">
                  <a:moveTo>
                    <a:pt x="62" y="0"/>
                  </a:moveTo>
                  <a:lnTo>
                    <a:pt x="62" y="0"/>
                  </a:lnTo>
                  <a:lnTo>
                    <a:pt x="49" y="1"/>
                  </a:lnTo>
                  <a:lnTo>
                    <a:pt x="37" y="5"/>
                  </a:lnTo>
                  <a:lnTo>
                    <a:pt x="27" y="10"/>
                  </a:lnTo>
                  <a:lnTo>
                    <a:pt x="18" y="18"/>
                  </a:lnTo>
                  <a:lnTo>
                    <a:pt x="11" y="27"/>
                  </a:lnTo>
                  <a:lnTo>
                    <a:pt x="4" y="38"/>
                  </a:lnTo>
                  <a:lnTo>
                    <a:pt x="2" y="50"/>
                  </a:lnTo>
                  <a:lnTo>
                    <a:pt x="0" y="61"/>
                  </a:lnTo>
                  <a:lnTo>
                    <a:pt x="0" y="61"/>
                  </a:lnTo>
                  <a:lnTo>
                    <a:pt x="2" y="74"/>
                  </a:lnTo>
                  <a:lnTo>
                    <a:pt x="4" y="85"/>
                  </a:lnTo>
                  <a:lnTo>
                    <a:pt x="11" y="97"/>
                  </a:lnTo>
                  <a:lnTo>
                    <a:pt x="18" y="106"/>
                  </a:lnTo>
                  <a:lnTo>
                    <a:pt x="27" y="113"/>
                  </a:lnTo>
                  <a:lnTo>
                    <a:pt x="37" y="118"/>
                  </a:lnTo>
                  <a:lnTo>
                    <a:pt x="49" y="122"/>
                  </a:lnTo>
                  <a:lnTo>
                    <a:pt x="62" y="124"/>
                  </a:lnTo>
                  <a:lnTo>
                    <a:pt x="62" y="124"/>
                  </a:lnTo>
                  <a:lnTo>
                    <a:pt x="74" y="122"/>
                  </a:lnTo>
                  <a:lnTo>
                    <a:pt x="86" y="118"/>
                  </a:lnTo>
                  <a:lnTo>
                    <a:pt x="96" y="113"/>
                  </a:lnTo>
                  <a:lnTo>
                    <a:pt x="106" y="106"/>
                  </a:lnTo>
                  <a:lnTo>
                    <a:pt x="114" y="97"/>
                  </a:lnTo>
                  <a:lnTo>
                    <a:pt x="119" y="85"/>
                  </a:lnTo>
                  <a:lnTo>
                    <a:pt x="123" y="74"/>
                  </a:lnTo>
                  <a:lnTo>
                    <a:pt x="124" y="61"/>
                  </a:lnTo>
                  <a:lnTo>
                    <a:pt x="124" y="61"/>
                  </a:lnTo>
                  <a:lnTo>
                    <a:pt x="123" y="50"/>
                  </a:lnTo>
                  <a:lnTo>
                    <a:pt x="119" y="38"/>
                  </a:lnTo>
                  <a:lnTo>
                    <a:pt x="114" y="27"/>
                  </a:lnTo>
                  <a:lnTo>
                    <a:pt x="106" y="18"/>
                  </a:lnTo>
                  <a:lnTo>
                    <a:pt x="96" y="10"/>
                  </a:lnTo>
                  <a:lnTo>
                    <a:pt x="86" y="5"/>
                  </a:lnTo>
                  <a:lnTo>
                    <a:pt x="74" y="1"/>
                  </a:lnTo>
                  <a:lnTo>
                    <a:pt x="62" y="0"/>
                  </a:lnTo>
                  <a:lnTo>
                    <a:pt x="62" y="0"/>
                  </a:lnTo>
                  <a:close/>
                  <a:moveTo>
                    <a:pt x="105" y="66"/>
                  </a:moveTo>
                  <a:lnTo>
                    <a:pt x="105" y="66"/>
                  </a:lnTo>
                  <a:lnTo>
                    <a:pt x="104" y="66"/>
                  </a:lnTo>
                  <a:lnTo>
                    <a:pt x="101" y="65"/>
                  </a:lnTo>
                  <a:lnTo>
                    <a:pt x="101" y="64"/>
                  </a:lnTo>
                  <a:lnTo>
                    <a:pt x="100" y="61"/>
                  </a:lnTo>
                  <a:lnTo>
                    <a:pt x="100" y="61"/>
                  </a:lnTo>
                  <a:lnTo>
                    <a:pt x="100" y="55"/>
                  </a:lnTo>
                  <a:lnTo>
                    <a:pt x="97" y="47"/>
                  </a:lnTo>
                  <a:lnTo>
                    <a:pt x="94" y="41"/>
                  </a:lnTo>
                  <a:lnTo>
                    <a:pt x="88" y="36"/>
                  </a:lnTo>
                  <a:lnTo>
                    <a:pt x="83" y="32"/>
                  </a:lnTo>
                  <a:lnTo>
                    <a:pt x="77" y="28"/>
                  </a:lnTo>
                  <a:lnTo>
                    <a:pt x="71" y="25"/>
                  </a:lnTo>
                  <a:lnTo>
                    <a:pt x="64" y="25"/>
                  </a:lnTo>
                  <a:lnTo>
                    <a:pt x="64" y="25"/>
                  </a:lnTo>
                  <a:lnTo>
                    <a:pt x="63" y="25"/>
                  </a:lnTo>
                  <a:lnTo>
                    <a:pt x="62" y="24"/>
                  </a:lnTo>
                  <a:lnTo>
                    <a:pt x="60" y="22"/>
                  </a:lnTo>
                  <a:lnTo>
                    <a:pt x="60" y="20"/>
                  </a:lnTo>
                  <a:lnTo>
                    <a:pt x="60" y="20"/>
                  </a:lnTo>
                  <a:lnTo>
                    <a:pt x="60" y="18"/>
                  </a:lnTo>
                  <a:lnTo>
                    <a:pt x="62" y="17"/>
                  </a:lnTo>
                  <a:lnTo>
                    <a:pt x="63" y="15"/>
                  </a:lnTo>
                  <a:lnTo>
                    <a:pt x="64" y="15"/>
                  </a:lnTo>
                  <a:lnTo>
                    <a:pt x="64" y="15"/>
                  </a:lnTo>
                  <a:lnTo>
                    <a:pt x="73" y="17"/>
                  </a:lnTo>
                  <a:lnTo>
                    <a:pt x="82" y="19"/>
                  </a:lnTo>
                  <a:lnTo>
                    <a:pt x="90" y="23"/>
                  </a:lnTo>
                  <a:lnTo>
                    <a:pt x="96" y="29"/>
                  </a:lnTo>
                  <a:lnTo>
                    <a:pt x="103" y="36"/>
                  </a:lnTo>
                  <a:lnTo>
                    <a:pt x="106" y="45"/>
                  </a:lnTo>
                  <a:lnTo>
                    <a:pt x="109" y="52"/>
                  </a:lnTo>
                  <a:lnTo>
                    <a:pt x="110" y="61"/>
                  </a:lnTo>
                  <a:lnTo>
                    <a:pt x="110" y="61"/>
                  </a:lnTo>
                  <a:lnTo>
                    <a:pt x="110" y="64"/>
                  </a:lnTo>
                  <a:lnTo>
                    <a:pt x="109" y="65"/>
                  </a:lnTo>
                  <a:lnTo>
                    <a:pt x="108" y="66"/>
                  </a:lnTo>
                  <a:lnTo>
                    <a:pt x="105" y="66"/>
                  </a:lnTo>
                  <a:lnTo>
                    <a:pt x="105" y="6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T America" panose="00000500000000000000" pitchFamily="2" charset="0"/>
                <a:ea typeface="+mn-ea"/>
                <a:cs typeface="+mn-cs"/>
              </a:endParaRPr>
            </a:p>
          </p:txBody>
        </p:sp>
        <p:sp>
          <p:nvSpPr>
            <p:cNvPr id="118" name="Freeform 80"/>
            <p:cNvSpPr>
              <a:spLocks/>
            </p:cNvSpPr>
            <p:nvPr/>
          </p:nvSpPr>
          <p:spPr bwMode="auto">
            <a:xfrm>
              <a:off x="1852" y="4596"/>
              <a:ext cx="46" cy="237"/>
            </a:xfrm>
            <a:custGeom>
              <a:avLst/>
              <a:gdLst>
                <a:gd name="T0" fmla="*/ 46 w 46"/>
                <a:gd name="T1" fmla="*/ 39 h 237"/>
                <a:gd name="T2" fmla="*/ 46 w 46"/>
                <a:gd name="T3" fmla="*/ 217 h 237"/>
                <a:gd name="T4" fmla="*/ 46 w 46"/>
                <a:gd name="T5" fmla="*/ 217 h 237"/>
                <a:gd name="T6" fmla="*/ 45 w 46"/>
                <a:gd name="T7" fmla="*/ 222 h 237"/>
                <a:gd name="T8" fmla="*/ 43 w 46"/>
                <a:gd name="T9" fmla="*/ 224 h 237"/>
                <a:gd name="T10" fmla="*/ 40 w 46"/>
                <a:gd name="T11" fmla="*/ 231 h 237"/>
                <a:gd name="T12" fmla="*/ 33 w 46"/>
                <a:gd name="T13" fmla="*/ 236 h 237"/>
                <a:gd name="T14" fmla="*/ 29 w 46"/>
                <a:gd name="T15" fmla="*/ 236 h 237"/>
                <a:gd name="T16" fmla="*/ 26 w 46"/>
                <a:gd name="T17" fmla="*/ 237 h 237"/>
                <a:gd name="T18" fmla="*/ 19 w 46"/>
                <a:gd name="T19" fmla="*/ 237 h 237"/>
                <a:gd name="T20" fmla="*/ 19 w 46"/>
                <a:gd name="T21" fmla="*/ 237 h 237"/>
                <a:gd name="T22" fmla="*/ 15 w 46"/>
                <a:gd name="T23" fmla="*/ 236 h 237"/>
                <a:gd name="T24" fmla="*/ 12 w 46"/>
                <a:gd name="T25" fmla="*/ 236 h 237"/>
                <a:gd name="T26" fmla="*/ 5 w 46"/>
                <a:gd name="T27" fmla="*/ 231 h 237"/>
                <a:gd name="T28" fmla="*/ 1 w 46"/>
                <a:gd name="T29" fmla="*/ 224 h 237"/>
                <a:gd name="T30" fmla="*/ 0 w 46"/>
                <a:gd name="T31" fmla="*/ 222 h 237"/>
                <a:gd name="T32" fmla="*/ 0 w 46"/>
                <a:gd name="T33" fmla="*/ 217 h 237"/>
                <a:gd name="T34" fmla="*/ 0 w 46"/>
                <a:gd name="T35" fmla="*/ 0 h 237"/>
                <a:gd name="T36" fmla="*/ 6 w 46"/>
                <a:gd name="T37" fmla="*/ 0 h 237"/>
                <a:gd name="T38" fmla="*/ 6 w 46"/>
                <a:gd name="T39" fmla="*/ 0 h 237"/>
                <a:gd name="T40" fmla="*/ 14 w 46"/>
                <a:gd name="T41" fmla="*/ 1 h 237"/>
                <a:gd name="T42" fmla="*/ 22 w 46"/>
                <a:gd name="T43" fmla="*/ 3 h 237"/>
                <a:gd name="T44" fmla="*/ 28 w 46"/>
                <a:gd name="T45" fmla="*/ 6 h 237"/>
                <a:gd name="T46" fmla="*/ 35 w 46"/>
                <a:gd name="T47" fmla="*/ 11 h 237"/>
                <a:gd name="T48" fmla="*/ 38 w 46"/>
                <a:gd name="T49" fmla="*/ 18 h 237"/>
                <a:gd name="T50" fmla="*/ 42 w 46"/>
                <a:gd name="T51" fmla="*/ 24 h 237"/>
                <a:gd name="T52" fmla="*/ 45 w 46"/>
                <a:gd name="T53" fmla="*/ 31 h 237"/>
                <a:gd name="T54" fmla="*/ 46 w 46"/>
                <a:gd name="T55" fmla="*/ 39 h 237"/>
                <a:gd name="T56" fmla="*/ 46 w 46"/>
                <a:gd name="T57" fmla="*/ 39 h 2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46" h="237">
                  <a:moveTo>
                    <a:pt x="46" y="39"/>
                  </a:moveTo>
                  <a:lnTo>
                    <a:pt x="46" y="217"/>
                  </a:lnTo>
                  <a:lnTo>
                    <a:pt x="46" y="217"/>
                  </a:lnTo>
                  <a:lnTo>
                    <a:pt x="45" y="222"/>
                  </a:lnTo>
                  <a:lnTo>
                    <a:pt x="43" y="224"/>
                  </a:lnTo>
                  <a:lnTo>
                    <a:pt x="40" y="231"/>
                  </a:lnTo>
                  <a:lnTo>
                    <a:pt x="33" y="236"/>
                  </a:lnTo>
                  <a:lnTo>
                    <a:pt x="29" y="236"/>
                  </a:lnTo>
                  <a:lnTo>
                    <a:pt x="26" y="237"/>
                  </a:lnTo>
                  <a:lnTo>
                    <a:pt x="19" y="237"/>
                  </a:lnTo>
                  <a:lnTo>
                    <a:pt x="19" y="237"/>
                  </a:lnTo>
                  <a:lnTo>
                    <a:pt x="15" y="236"/>
                  </a:lnTo>
                  <a:lnTo>
                    <a:pt x="12" y="236"/>
                  </a:lnTo>
                  <a:lnTo>
                    <a:pt x="5" y="231"/>
                  </a:lnTo>
                  <a:lnTo>
                    <a:pt x="1" y="224"/>
                  </a:lnTo>
                  <a:lnTo>
                    <a:pt x="0" y="222"/>
                  </a:lnTo>
                  <a:lnTo>
                    <a:pt x="0" y="217"/>
                  </a:lnTo>
                  <a:lnTo>
                    <a:pt x="0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14" y="1"/>
                  </a:lnTo>
                  <a:lnTo>
                    <a:pt x="22" y="3"/>
                  </a:lnTo>
                  <a:lnTo>
                    <a:pt x="28" y="6"/>
                  </a:lnTo>
                  <a:lnTo>
                    <a:pt x="35" y="11"/>
                  </a:lnTo>
                  <a:lnTo>
                    <a:pt x="38" y="18"/>
                  </a:lnTo>
                  <a:lnTo>
                    <a:pt x="42" y="24"/>
                  </a:lnTo>
                  <a:lnTo>
                    <a:pt x="45" y="31"/>
                  </a:lnTo>
                  <a:lnTo>
                    <a:pt x="46" y="39"/>
                  </a:lnTo>
                  <a:lnTo>
                    <a:pt x="46" y="3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T America" panose="00000500000000000000" pitchFamily="2" charset="0"/>
                <a:ea typeface="+mn-ea"/>
                <a:cs typeface="+mn-cs"/>
              </a:endParaRPr>
            </a:p>
          </p:txBody>
        </p:sp>
        <p:sp>
          <p:nvSpPr>
            <p:cNvPr id="119" name="Freeform 81"/>
            <p:cNvSpPr>
              <a:spLocks/>
            </p:cNvSpPr>
            <p:nvPr/>
          </p:nvSpPr>
          <p:spPr bwMode="auto">
            <a:xfrm>
              <a:off x="1741" y="4596"/>
              <a:ext cx="101" cy="535"/>
            </a:xfrm>
            <a:custGeom>
              <a:avLst/>
              <a:gdLst>
                <a:gd name="T0" fmla="*/ 49 w 101"/>
                <a:gd name="T1" fmla="*/ 220 h 535"/>
                <a:gd name="T2" fmla="*/ 0 w 101"/>
                <a:gd name="T3" fmla="*/ 0 h 535"/>
                <a:gd name="T4" fmla="*/ 101 w 101"/>
                <a:gd name="T5" fmla="*/ 0 h 535"/>
                <a:gd name="T6" fmla="*/ 101 w 101"/>
                <a:gd name="T7" fmla="*/ 201 h 535"/>
                <a:gd name="T8" fmla="*/ 101 w 101"/>
                <a:gd name="T9" fmla="*/ 278 h 535"/>
                <a:gd name="T10" fmla="*/ 101 w 101"/>
                <a:gd name="T11" fmla="*/ 512 h 535"/>
                <a:gd name="T12" fmla="*/ 101 w 101"/>
                <a:gd name="T13" fmla="*/ 512 h 535"/>
                <a:gd name="T14" fmla="*/ 100 w 101"/>
                <a:gd name="T15" fmla="*/ 517 h 535"/>
                <a:gd name="T16" fmla="*/ 98 w 101"/>
                <a:gd name="T17" fmla="*/ 521 h 535"/>
                <a:gd name="T18" fmla="*/ 97 w 101"/>
                <a:gd name="T19" fmla="*/ 525 h 535"/>
                <a:gd name="T20" fmla="*/ 93 w 101"/>
                <a:gd name="T21" fmla="*/ 529 h 535"/>
                <a:gd name="T22" fmla="*/ 91 w 101"/>
                <a:gd name="T23" fmla="*/ 531 h 535"/>
                <a:gd name="T24" fmla="*/ 86 w 101"/>
                <a:gd name="T25" fmla="*/ 534 h 535"/>
                <a:gd name="T26" fmla="*/ 82 w 101"/>
                <a:gd name="T27" fmla="*/ 535 h 535"/>
                <a:gd name="T28" fmla="*/ 77 w 101"/>
                <a:gd name="T29" fmla="*/ 535 h 535"/>
                <a:gd name="T30" fmla="*/ 69 w 101"/>
                <a:gd name="T31" fmla="*/ 535 h 535"/>
                <a:gd name="T32" fmla="*/ 69 w 101"/>
                <a:gd name="T33" fmla="*/ 535 h 535"/>
                <a:gd name="T34" fmla="*/ 63 w 101"/>
                <a:gd name="T35" fmla="*/ 535 h 535"/>
                <a:gd name="T36" fmla="*/ 58 w 101"/>
                <a:gd name="T37" fmla="*/ 533 h 535"/>
                <a:gd name="T38" fmla="*/ 52 w 101"/>
                <a:gd name="T39" fmla="*/ 529 h 535"/>
                <a:gd name="T40" fmla="*/ 49 w 101"/>
                <a:gd name="T41" fmla="*/ 525 h 535"/>
                <a:gd name="T42" fmla="*/ 49 w 101"/>
                <a:gd name="T43" fmla="*/ 220 h 5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1" h="535">
                  <a:moveTo>
                    <a:pt x="49" y="220"/>
                  </a:moveTo>
                  <a:lnTo>
                    <a:pt x="0" y="0"/>
                  </a:lnTo>
                  <a:lnTo>
                    <a:pt x="101" y="0"/>
                  </a:lnTo>
                  <a:lnTo>
                    <a:pt x="101" y="201"/>
                  </a:lnTo>
                  <a:lnTo>
                    <a:pt x="101" y="278"/>
                  </a:lnTo>
                  <a:lnTo>
                    <a:pt x="101" y="512"/>
                  </a:lnTo>
                  <a:lnTo>
                    <a:pt x="101" y="512"/>
                  </a:lnTo>
                  <a:lnTo>
                    <a:pt x="100" y="517"/>
                  </a:lnTo>
                  <a:lnTo>
                    <a:pt x="98" y="521"/>
                  </a:lnTo>
                  <a:lnTo>
                    <a:pt x="97" y="525"/>
                  </a:lnTo>
                  <a:lnTo>
                    <a:pt x="93" y="529"/>
                  </a:lnTo>
                  <a:lnTo>
                    <a:pt x="91" y="531"/>
                  </a:lnTo>
                  <a:lnTo>
                    <a:pt x="86" y="534"/>
                  </a:lnTo>
                  <a:lnTo>
                    <a:pt x="82" y="535"/>
                  </a:lnTo>
                  <a:lnTo>
                    <a:pt x="77" y="535"/>
                  </a:lnTo>
                  <a:lnTo>
                    <a:pt x="69" y="535"/>
                  </a:lnTo>
                  <a:lnTo>
                    <a:pt x="69" y="535"/>
                  </a:lnTo>
                  <a:lnTo>
                    <a:pt x="63" y="535"/>
                  </a:lnTo>
                  <a:lnTo>
                    <a:pt x="58" y="533"/>
                  </a:lnTo>
                  <a:lnTo>
                    <a:pt x="52" y="529"/>
                  </a:lnTo>
                  <a:lnTo>
                    <a:pt x="49" y="525"/>
                  </a:lnTo>
                  <a:lnTo>
                    <a:pt x="49" y="2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T America" panose="00000500000000000000" pitchFamily="2" charset="0"/>
                <a:ea typeface="+mn-ea"/>
                <a:cs typeface="+mn-cs"/>
              </a:endParaRPr>
            </a:p>
          </p:txBody>
        </p:sp>
        <p:sp>
          <p:nvSpPr>
            <p:cNvPr id="120" name="Freeform 82"/>
            <p:cNvSpPr>
              <a:spLocks noEditPoints="1"/>
            </p:cNvSpPr>
            <p:nvPr/>
          </p:nvSpPr>
          <p:spPr bwMode="auto">
            <a:xfrm>
              <a:off x="1712" y="4452"/>
              <a:ext cx="124" cy="124"/>
            </a:xfrm>
            <a:custGeom>
              <a:avLst/>
              <a:gdLst>
                <a:gd name="T0" fmla="*/ 62 w 124"/>
                <a:gd name="T1" fmla="*/ 0 h 124"/>
                <a:gd name="T2" fmla="*/ 38 w 124"/>
                <a:gd name="T3" fmla="*/ 5 h 124"/>
                <a:gd name="T4" fmla="*/ 18 w 124"/>
                <a:gd name="T5" fmla="*/ 18 h 124"/>
                <a:gd name="T6" fmla="*/ 5 w 124"/>
                <a:gd name="T7" fmla="*/ 38 h 124"/>
                <a:gd name="T8" fmla="*/ 0 w 124"/>
                <a:gd name="T9" fmla="*/ 61 h 124"/>
                <a:gd name="T10" fmla="*/ 1 w 124"/>
                <a:gd name="T11" fmla="*/ 74 h 124"/>
                <a:gd name="T12" fmla="*/ 10 w 124"/>
                <a:gd name="T13" fmla="*/ 97 h 124"/>
                <a:gd name="T14" fmla="*/ 28 w 124"/>
                <a:gd name="T15" fmla="*/ 113 h 124"/>
                <a:gd name="T16" fmla="*/ 50 w 124"/>
                <a:gd name="T17" fmla="*/ 122 h 124"/>
                <a:gd name="T18" fmla="*/ 62 w 124"/>
                <a:gd name="T19" fmla="*/ 124 h 124"/>
                <a:gd name="T20" fmla="*/ 87 w 124"/>
                <a:gd name="T21" fmla="*/ 118 h 124"/>
                <a:gd name="T22" fmla="*/ 106 w 124"/>
                <a:gd name="T23" fmla="*/ 106 h 124"/>
                <a:gd name="T24" fmla="*/ 120 w 124"/>
                <a:gd name="T25" fmla="*/ 85 h 124"/>
                <a:gd name="T26" fmla="*/ 124 w 124"/>
                <a:gd name="T27" fmla="*/ 61 h 124"/>
                <a:gd name="T28" fmla="*/ 122 w 124"/>
                <a:gd name="T29" fmla="*/ 50 h 124"/>
                <a:gd name="T30" fmla="*/ 113 w 124"/>
                <a:gd name="T31" fmla="*/ 27 h 124"/>
                <a:gd name="T32" fmla="*/ 97 w 124"/>
                <a:gd name="T33" fmla="*/ 10 h 124"/>
                <a:gd name="T34" fmla="*/ 75 w 124"/>
                <a:gd name="T35" fmla="*/ 1 h 124"/>
                <a:gd name="T36" fmla="*/ 62 w 124"/>
                <a:gd name="T37" fmla="*/ 0 h 124"/>
                <a:gd name="T38" fmla="*/ 102 w 124"/>
                <a:gd name="T39" fmla="*/ 66 h 124"/>
                <a:gd name="T40" fmla="*/ 99 w 124"/>
                <a:gd name="T41" fmla="*/ 65 h 124"/>
                <a:gd name="T42" fmla="*/ 97 w 124"/>
                <a:gd name="T43" fmla="*/ 61 h 124"/>
                <a:gd name="T44" fmla="*/ 97 w 124"/>
                <a:gd name="T45" fmla="*/ 55 h 124"/>
                <a:gd name="T46" fmla="*/ 90 w 124"/>
                <a:gd name="T47" fmla="*/ 41 h 124"/>
                <a:gd name="T48" fmla="*/ 80 w 124"/>
                <a:gd name="T49" fmla="*/ 32 h 124"/>
                <a:gd name="T50" fmla="*/ 69 w 124"/>
                <a:gd name="T51" fmla="*/ 25 h 124"/>
                <a:gd name="T52" fmla="*/ 62 w 124"/>
                <a:gd name="T53" fmla="*/ 25 h 124"/>
                <a:gd name="T54" fmla="*/ 58 w 124"/>
                <a:gd name="T55" fmla="*/ 24 h 124"/>
                <a:gd name="T56" fmla="*/ 57 w 124"/>
                <a:gd name="T57" fmla="*/ 20 h 124"/>
                <a:gd name="T58" fmla="*/ 57 w 124"/>
                <a:gd name="T59" fmla="*/ 18 h 124"/>
                <a:gd name="T60" fmla="*/ 60 w 124"/>
                <a:gd name="T61" fmla="*/ 15 h 124"/>
                <a:gd name="T62" fmla="*/ 62 w 124"/>
                <a:gd name="T63" fmla="*/ 15 h 124"/>
                <a:gd name="T64" fmla="*/ 79 w 124"/>
                <a:gd name="T65" fmla="*/ 19 h 124"/>
                <a:gd name="T66" fmla="*/ 94 w 124"/>
                <a:gd name="T67" fmla="*/ 29 h 124"/>
                <a:gd name="T68" fmla="*/ 104 w 124"/>
                <a:gd name="T69" fmla="*/ 45 h 124"/>
                <a:gd name="T70" fmla="*/ 107 w 124"/>
                <a:gd name="T71" fmla="*/ 61 h 124"/>
                <a:gd name="T72" fmla="*/ 107 w 124"/>
                <a:gd name="T73" fmla="*/ 64 h 124"/>
                <a:gd name="T74" fmla="*/ 104 w 124"/>
                <a:gd name="T75" fmla="*/ 66 h 124"/>
                <a:gd name="T76" fmla="*/ 102 w 124"/>
                <a:gd name="T77" fmla="*/ 66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24" h="124">
                  <a:moveTo>
                    <a:pt x="62" y="0"/>
                  </a:moveTo>
                  <a:lnTo>
                    <a:pt x="62" y="0"/>
                  </a:lnTo>
                  <a:lnTo>
                    <a:pt x="50" y="1"/>
                  </a:lnTo>
                  <a:lnTo>
                    <a:pt x="38" y="5"/>
                  </a:lnTo>
                  <a:lnTo>
                    <a:pt x="28" y="10"/>
                  </a:lnTo>
                  <a:lnTo>
                    <a:pt x="18" y="18"/>
                  </a:lnTo>
                  <a:lnTo>
                    <a:pt x="10" y="27"/>
                  </a:lnTo>
                  <a:lnTo>
                    <a:pt x="5" y="38"/>
                  </a:lnTo>
                  <a:lnTo>
                    <a:pt x="1" y="50"/>
                  </a:lnTo>
                  <a:lnTo>
                    <a:pt x="0" y="61"/>
                  </a:lnTo>
                  <a:lnTo>
                    <a:pt x="0" y="61"/>
                  </a:lnTo>
                  <a:lnTo>
                    <a:pt x="1" y="74"/>
                  </a:lnTo>
                  <a:lnTo>
                    <a:pt x="5" y="85"/>
                  </a:lnTo>
                  <a:lnTo>
                    <a:pt x="10" y="97"/>
                  </a:lnTo>
                  <a:lnTo>
                    <a:pt x="18" y="106"/>
                  </a:lnTo>
                  <a:lnTo>
                    <a:pt x="28" y="113"/>
                  </a:lnTo>
                  <a:lnTo>
                    <a:pt x="38" y="118"/>
                  </a:lnTo>
                  <a:lnTo>
                    <a:pt x="50" y="122"/>
                  </a:lnTo>
                  <a:lnTo>
                    <a:pt x="62" y="124"/>
                  </a:lnTo>
                  <a:lnTo>
                    <a:pt x="62" y="124"/>
                  </a:lnTo>
                  <a:lnTo>
                    <a:pt x="75" y="122"/>
                  </a:lnTo>
                  <a:lnTo>
                    <a:pt x="87" y="118"/>
                  </a:lnTo>
                  <a:lnTo>
                    <a:pt x="97" y="113"/>
                  </a:lnTo>
                  <a:lnTo>
                    <a:pt x="106" y="106"/>
                  </a:lnTo>
                  <a:lnTo>
                    <a:pt x="113" y="97"/>
                  </a:lnTo>
                  <a:lnTo>
                    <a:pt x="120" y="85"/>
                  </a:lnTo>
                  <a:lnTo>
                    <a:pt x="122" y="74"/>
                  </a:lnTo>
                  <a:lnTo>
                    <a:pt x="124" y="61"/>
                  </a:lnTo>
                  <a:lnTo>
                    <a:pt x="124" y="61"/>
                  </a:lnTo>
                  <a:lnTo>
                    <a:pt x="122" y="50"/>
                  </a:lnTo>
                  <a:lnTo>
                    <a:pt x="120" y="38"/>
                  </a:lnTo>
                  <a:lnTo>
                    <a:pt x="113" y="27"/>
                  </a:lnTo>
                  <a:lnTo>
                    <a:pt x="106" y="18"/>
                  </a:lnTo>
                  <a:lnTo>
                    <a:pt x="97" y="10"/>
                  </a:lnTo>
                  <a:lnTo>
                    <a:pt x="87" y="5"/>
                  </a:lnTo>
                  <a:lnTo>
                    <a:pt x="75" y="1"/>
                  </a:lnTo>
                  <a:lnTo>
                    <a:pt x="62" y="0"/>
                  </a:lnTo>
                  <a:lnTo>
                    <a:pt x="62" y="0"/>
                  </a:lnTo>
                  <a:close/>
                  <a:moveTo>
                    <a:pt x="102" y="66"/>
                  </a:moveTo>
                  <a:lnTo>
                    <a:pt x="102" y="66"/>
                  </a:lnTo>
                  <a:lnTo>
                    <a:pt x="101" y="66"/>
                  </a:lnTo>
                  <a:lnTo>
                    <a:pt x="99" y="65"/>
                  </a:lnTo>
                  <a:lnTo>
                    <a:pt x="98" y="64"/>
                  </a:lnTo>
                  <a:lnTo>
                    <a:pt x="97" y="61"/>
                  </a:lnTo>
                  <a:lnTo>
                    <a:pt x="97" y="61"/>
                  </a:lnTo>
                  <a:lnTo>
                    <a:pt x="97" y="55"/>
                  </a:lnTo>
                  <a:lnTo>
                    <a:pt x="94" y="47"/>
                  </a:lnTo>
                  <a:lnTo>
                    <a:pt x="90" y="41"/>
                  </a:lnTo>
                  <a:lnTo>
                    <a:pt x="87" y="36"/>
                  </a:lnTo>
                  <a:lnTo>
                    <a:pt x="80" y="32"/>
                  </a:lnTo>
                  <a:lnTo>
                    <a:pt x="75" y="28"/>
                  </a:lnTo>
                  <a:lnTo>
                    <a:pt x="69" y="25"/>
                  </a:lnTo>
                  <a:lnTo>
                    <a:pt x="62" y="25"/>
                  </a:lnTo>
                  <a:lnTo>
                    <a:pt x="62" y="25"/>
                  </a:lnTo>
                  <a:lnTo>
                    <a:pt x="60" y="25"/>
                  </a:lnTo>
                  <a:lnTo>
                    <a:pt x="58" y="24"/>
                  </a:lnTo>
                  <a:lnTo>
                    <a:pt x="57" y="22"/>
                  </a:lnTo>
                  <a:lnTo>
                    <a:pt x="57" y="20"/>
                  </a:lnTo>
                  <a:lnTo>
                    <a:pt x="57" y="20"/>
                  </a:lnTo>
                  <a:lnTo>
                    <a:pt x="57" y="18"/>
                  </a:lnTo>
                  <a:lnTo>
                    <a:pt x="58" y="17"/>
                  </a:lnTo>
                  <a:lnTo>
                    <a:pt x="60" y="15"/>
                  </a:lnTo>
                  <a:lnTo>
                    <a:pt x="62" y="15"/>
                  </a:lnTo>
                  <a:lnTo>
                    <a:pt x="62" y="15"/>
                  </a:lnTo>
                  <a:lnTo>
                    <a:pt x="71" y="17"/>
                  </a:lnTo>
                  <a:lnTo>
                    <a:pt x="79" y="19"/>
                  </a:lnTo>
                  <a:lnTo>
                    <a:pt x="87" y="23"/>
                  </a:lnTo>
                  <a:lnTo>
                    <a:pt x="94" y="29"/>
                  </a:lnTo>
                  <a:lnTo>
                    <a:pt x="99" y="36"/>
                  </a:lnTo>
                  <a:lnTo>
                    <a:pt x="104" y="45"/>
                  </a:lnTo>
                  <a:lnTo>
                    <a:pt x="107" y="52"/>
                  </a:lnTo>
                  <a:lnTo>
                    <a:pt x="107" y="61"/>
                  </a:lnTo>
                  <a:lnTo>
                    <a:pt x="107" y="61"/>
                  </a:lnTo>
                  <a:lnTo>
                    <a:pt x="107" y="64"/>
                  </a:lnTo>
                  <a:lnTo>
                    <a:pt x="106" y="65"/>
                  </a:lnTo>
                  <a:lnTo>
                    <a:pt x="104" y="66"/>
                  </a:lnTo>
                  <a:lnTo>
                    <a:pt x="102" y="66"/>
                  </a:lnTo>
                  <a:lnTo>
                    <a:pt x="102" y="6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T America" panose="00000500000000000000" pitchFamily="2" charset="0"/>
                <a:ea typeface="+mn-ea"/>
                <a:cs typeface="+mn-cs"/>
              </a:endParaRPr>
            </a:p>
          </p:txBody>
        </p:sp>
        <p:sp>
          <p:nvSpPr>
            <p:cNvPr id="121" name="Freeform 83"/>
            <p:cNvSpPr>
              <a:spLocks/>
            </p:cNvSpPr>
            <p:nvPr/>
          </p:nvSpPr>
          <p:spPr bwMode="auto">
            <a:xfrm>
              <a:off x="1147" y="4976"/>
              <a:ext cx="101" cy="164"/>
            </a:xfrm>
            <a:custGeom>
              <a:avLst/>
              <a:gdLst>
                <a:gd name="T0" fmla="*/ 80 w 101"/>
                <a:gd name="T1" fmla="*/ 164 h 164"/>
                <a:gd name="T2" fmla="*/ 20 w 101"/>
                <a:gd name="T3" fmla="*/ 164 h 164"/>
                <a:gd name="T4" fmla="*/ 20 w 101"/>
                <a:gd name="T5" fmla="*/ 164 h 164"/>
                <a:gd name="T6" fmla="*/ 16 w 101"/>
                <a:gd name="T7" fmla="*/ 164 h 164"/>
                <a:gd name="T8" fmla="*/ 13 w 101"/>
                <a:gd name="T9" fmla="*/ 163 h 164"/>
                <a:gd name="T10" fmla="*/ 9 w 101"/>
                <a:gd name="T11" fmla="*/ 160 h 164"/>
                <a:gd name="T12" fmla="*/ 6 w 101"/>
                <a:gd name="T13" fmla="*/ 158 h 164"/>
                <a:gd name="T14" fmla="*/ 4 w 101"/>
                <a:gd name="T15" fmla="*/ 155 h 164"/>
                <a:gd name="T16" fmla="*/ 1 w 101"/>
                <a:gd name="T17" fmla="*/ 151 h 164"/>
                <a:gd name="T18" fmla="*/ 0 w 101"/>
                <a:gd name="T19" fmla="*/ 147 h 164"/>
                <a:gd name="T20" fmla="*/ 0 w 101"/>
                <a:gd name="T21" fmla="*/ 144 h 164"/>
                <a:gd name="T22" fmla="*/ 0 w 101"/>
                <a:gd name="T23" fmla="*/ 20 h 164"/>
                <a:gd name="T24" fmla="*/ 0 w 101"/>
                <a:gd name="T25" fmla="*/ 20 h 164"/>
                <a:gd name="T26" fmla="*/ 0 w 101"/>
                <a:gd name="T27" fmla="*/ 16 h 164"/>
                <a:gd name="T28" fmla="*/ 1 w 101"/>
                <a:gd name="T29" fmla="*/ 12 h 164"/>
                <a:gd name="T30" fmla="*/ 4 w 101"/>
                <a:gd name="T31" fmla="*/ 9 h 164"/>
                <a:gd name="T32" fmla="*/ 6 w 101"/>
                <a:gd name="T33" fmla="*/ 6 h 164"/>
                <a:gd name="T34" fmla="*/ 9 w 101"/>
                <a:gd name="T35" fmla="*/ 3 h 164"/>
                <a:gd name="T36" fmla="*/ 13 w 101"/>
                <a:gd name="T37" fmla="*/ 2 h 164"/>
                <a:gd name="T38" fmla="*/ 16 w 101"/>
                <a:gd name="T39" fmla="*/ 1 h 164"/>
                <a:gd name="T40" fmla="*/ 20 w 101"/>
                <a:gd name="T41" fmla="*/ 0 h 164"/>
                <a:gd name="T42" fmla="*/ 80 w 101"/>
                <a:gd name="T43" fmla="*/ 0 h 164"/>
                <a:gd name="T44" fmla="*/ 80 w 101"/>
                <a:gd name="T45" fmla="*/ 0 h 164"/>
                <a:gd name="T46" fmla="*/ 84 w 101"/>
                <a:gd name="T47" fmla="*/ 1 h 164"/>
                <a:gd name="T48" fmla="*/ 88 w 101"/>
                <a:gd name="T49" fmla="*/ 2 h 164"/>
                <a:gd name="T50" fmla="*/ 92 w 101"/>
                <a:gd name="T51" fmla="*/ 3 h 164"/>
                <a:gd name="T52" fmla="*/ 94 w 101"/>
                <a:gd name="T53" fmla="*/ 6 h 164"/>
                <a:gd name="T54" fmla="*/ 97 w 101"/>
                <a:gd name="T55" fmla="*/ 9 h 164"/>
                <a:gd name="T56" fmla="*/ 99 w 101"/>
                <a:gd name="T57" fmla="*/ 12 h 164"/>
                <a:gd name="T58" fmla="*/ 101 w 101"/>
                <a:gd name="T59" fmla="*/ 16 h 164"/>
                <a:gd name="T60" fmla="*/ 101 w 101"/>
                <a:gd name="T61" fmla="*/ 20 h 164"/>
                <a:gd name="T62" fmla="*/ 101 w 101"/>
                <a:gd name="T63" fmla="*/ 144 h 164"/>
                <a:gd name="T64" fmla="*/ 101 w 101"/>
                <a:gd name="T65" fmla="*/ 144 h 164"/>
                <a:gd name="T66" fmla="*/ 101 w 101"/>
                <a:gd name="T67" fmla="*/ 147 h 164"/>
                <a:gd name="T68" fmla="*/ 99 w 101"/>
                <a:gd name="T69" fmla="*/ 151 h 164"/>
                <a:gd name="T70" fmla="*/ 97 w 101"/>
                <a:gd name="T71" fmla="*/ 155 h 164"/>
                <a:gd name="T72" fmla="*/ 94 w 101"/>
                <a:gd name="T73" fmla="*/ 158 h 164"/>
                <a:gd name="T74" fmla="*/ 92 w 101"/>
                <a:gd name="T75" fmla="*/ 160 h 164"/>
                <a:gd name="T76" fmla="*/ 88 w 101"/>
                <a:gd name="T77" fmla="*/ 163 h 164"/>
                <a:gd name="T78" fmla="*/ 84 w 101"/>
                <a:gd name="T79" fmla="*/ 164 h 164"/>
                <a:gd name="T80" fmla="*/ 80 w 101"/>
                <a:gd name="T81" fmla="*/ 164 h 164"/>
                <a:gd name="T82" fmla="*/ 80 w 101"/>
                <a:gd name="T83" fmla="*/ 164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01" h="164">
                  <a:moveTo>
                    <a:pt x="80" y="164"/>
                  </a:moveTo>
                  <a:lnTo>
                    <a:pt x="20" y="164"/>
                  </a:lnTo>
                  <a:lnTo>
                    <a:pt x="20" y="164"/>
                  </a:lnTo>
                  <a:lnTo>
                    <a:pt x="16" y="164"/>
                  </a:lnTo>
                  <a:lnTo>
                    <a:pt x="13" y="163"/>
                  </a:lnTo>
                  <a:lnTo>
                    <a:pt x="9" y="160"/>
                  </a:lnTo>
                  <a:lnTo>
                    <a:pt x="6" y="158"/>
                  </a:lnTo>
                  <a:lnTo>
                    <a:pt x="4" y="155"/>
                  </a:lnTo>
                  <a:lnTo>
                    <a:pt x="1" y="151"/>
                  </a:lnTo>
                  <a:lnTo>
                    <a:pt x="0" y="147"/>
                  </a:lnTo>
                  <a:lnTo>
                    <a:pt x="0" y="144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16"/>
                  </a:lnTo>
                  <a:lnTo>
                    <a:pt x="1" y="12"/>
                  </a:lnTo>
                  <a:lnTo>
                    <a:pt x="4" y="9"/>
                  </a:lnTo>
                  <a:lnTo>
                    <a:pt x="6" y="6"/>
                  </a:lnTo>
                  <a:lnTo>
                    <a:pt x="9" y="3"/>
                  </a:lnTo>
                  <a:lnTo>
                    <a:pt x="13" y="2"/>
                  </a:lnTo>
                  <a:lnTo>
                    <a:pt x="16" y="1"/>
                  </a:lnTo>
                  <a:lnTo>
                    <a:pt x="20" y="0"/>
                  </a:lnTo>
                  <a:lnTo>
                    <a:pt x="80" y="0"/>
                  </a:lnTo>
                  <a:lnTo>
                    <a:pt x="80" y="0"/>
                  </a:lnTo>
                  <a:lnTo>
                    <a:pt x="84" y="1"/>
                  </a:lnTo>
                  <a:lnTo>
                    <a:pt x="88" y="2"/>
                  </a:lnTo>
                  <a:lnTo>
                    <a:pt x="92" y="3"/>
                  </a:lnTo>
                  <a:lnTo>
                    <a:pt x="94" y="6"/>
                  </a:lnTo>
                  <a:lnTo>
                    <a:pt x="97" y="9"/>
                  </a:lnTo>
                  <a:lnTo>
                    <a:pt x="99" y="12"/>
                  </a:lnTo>
                  <a:lnTo>
                    <a:pt x="101" y="16"/>
                  </a:lnTo>
                  <a:lnTo>
                    <a:pt x="101" y="20"/>
                  </a:lnTo>
                  <a:lnTo>
                    <a:pt x="101" y="144"/>
                  </a:lnTo>
                  <a:lnTo>
                    <a:pt x="101" y="144"/>
                  </a:lnTo>
                  <a:lnTo>
                    <a:pt x="101" y="147"/>
                  </a:lnTo>
                  <a:lnTo>
                    <a:pt x="99" y="151"/>
                  </a:lnTo>
                  <a:lnTo>
                    <a:pt x="97" y="155"/>
                  </a:lnTo>
                  <a:lnTo>
                    <a:pt x="94" y="158"/>
                  </a:lnTo>
                  <a:lnTo>
                    <a:pt x="92" y="160"/>
                  </a:lnTo>
                  <a:lnTo>
                    <a:pt x="88" y="163"/>
                  </a:lnTo>
                  <a:lnTo>
                    <a:pt x="84" y="164"/>
                  </a:lnTo>
                  <a:lnTo>
                    <a:pt x="80" y="164"/>
                  </a:lnTo>
                  <a:lnTo>
                    <a:pt x="80" y="16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T America" panose="00000500000000000000" pitchFamily="2" charset="0"/>
                <a:ea typeface="+mn-ea"/>
                <a:cs typeface="+mn-cs"/>
              </a:endParaRPr>
            </a:p>
          </p:txBody>
        </p:sp>
        <p:sp>
          <p:nvSpPr>
            <p:cNvPr id="122" name="Freeform 84"/>
            <p:cNvSpPr>
              <a:spLocks/>
            </p:cNvSpPr>
            <p:nvPr/>
          </p:nvSpPr>
          <p:spPr bwMode="auto">
            <a:xfrm>
              <a:off x="1645" y="4976"/>
              <a:ext cx="101" cy="164"/>
            </a:xfrm>
            <a:custGeom>
              <a:avLst/>
              <a:gdLst>
                <a:gd name="T0" fmla="*/ 81 w 101"/>
                <a:gd name="T1" fmla="*/ 164 h 164"/>
                <a:gd name="T2" fmla="*/ 21 w 101"/>
                <a:gd name="T3" fmla="*/ 164 h 164"/>
                <a:gd name="T4" fmla="*/ 21 w 101"/>
                <a:gd name="T5" fmla="*/ 164 h 164"/>
                <a:gd name="T6" fmla="*/ 17 w 101"/>
                <a:gd name="T7" fmla="*/ 164 h 164"/>
                <a:gd name="T8" fmla="*/ 13 w 101"/>
                <a:gd name="T9" fmla="*/ 163 h 164"/>
                <a:gd name="T10" fmla="*/ 9 w 101"/>
                <a:gd name="T11" fmla="*/ 160 h 164"/>
                <a:gd name="T12" fmla="*/ 7 w 101"/>
                <a:gd name="T13" fmla="*/ 158 h 164"/>
                <a:gd name="T14" fmla="*/ 4 w 101"/>
                <a:gd name="T15" fmla="*/ 155 h 164"/>
                <a:gd name="T16" fmla="*/ 2 w 101"/>
                <a:gd name="T17" fmla="*/ 151 h 164"/>
                <a:gd name="T18" fmla="*/ 0 w 101"/>
                <a:gd name="T19" fmla="*/ 147 h 164"/>
                <a:gd name="T20" fmla="*/ 0 w 101"/>
                <a:gd name="T21" fmla="*/ 144 h 164"/>
                <a:gd name="T22" fmla="*/ 0 w 101"/>
                <a:gd name="T23" fmla="*/ 20 h 164"/>
                <a:gd name="T24" fmla="*/ 0 w 101"/>
                <a:gd name="T25" fmla="*/ 20 h 164"/>
                <a:gd name="T26" fmla="*/ 0 w 101"/>
                <a:gd name="T27" fmla="*/ 16 h 164"/>
                <a:gd name="T28" fmla="*/ 2 w 101"/>
                <a:gd name="T29" fmla="*/ 12 h 164"/>
                <a:gd name="T30" fmla="*/ 4 w 101"/>
                <a:gd name="T31" fmla="*/ 9 h 164"/>
                <a:gd name="T32" fmla="*/ 7 w 101"/>
                <a:gd name="T33" fmla="*/ 6 h 164"/>
                <a:gd name="T34" fmla="*/ 9 w 101"/>
                <a:gd name="T35" fmla="*/ 3 h 164"/>
                <a:gd name="T36" fmla="*/ 13 w 101"/>
                <a:gd name="T37" fmla="*/ 2 h 164"/>
                <a:gd name="T38" fmla="*/ 17 w 101"/>
                <a:gd name="T39" fmla="*/ 1 h 164"/>
                <a:gd name="T40" fmla="*/ 21 w 101"/>
                <a:gd name="T41" fmla="*/ 0 h 164"/>
                <a:gd name="T42" fmla="*/ 81 w 101"/>
                <a:gd name="T43" fmla="*/ 0 h 164"/>
                <a:gd name="T44" fmla="*/ 81 w 101"/>
                <a:gd name="T45" fmla="*/ 0 h 164"/>
                <a:gd name="T46" fmla="*/ 85 w 101"/>
                <a:gd name="T47" fmla="*/ 1 h 164"/>
                <a:gd name="T48" fmla="*/ 88 w 101"/>
                <a:gd name="T49" fmla="*/ 2 h 164"/>
                <a:gd name="T50" fmla="*/ 92 w 101"/>
                <a:gd name="T51" fmla="*/ 3 h 164"/>
                <a:gd name="T52" fmla="*/ 95 w 101"/>
                <a:gd name="T53" fmla="*/ 6 h 164"/>
                <a:gd name="T54" fmla="*/ 97 w 101"/>
                <a:gd name="T55" fmla="*/ 9 h 164"/>
                <a:gd name="T56" fmla="*/ 99 w 101"/>
                <a:gd name="T57" fmla="*/ 12 h 164"/>
                <a:gd name="T58" fmla="*/ 100 w 101"/>
                <a:gd name="T59" fmla="*/ 16 h 164"/>
                <a:gd name="T60" fmla="*/ 101 w 101"/>
                <a:gd name="T61" fmla="*/ 20 h 164"/>
                <a:gd name="T62" fmla="*/ 101 w 101"/>
                <a:gd name="T63" fmla="*/ 144 h 164"/>
                <a:gd name="T64" fmla="*/ 101 w 101"/>
                <a:gd name="T65" fmla="*/ 144 h 164"/>
                <a:gd name="T66" fmla="*/ 100 w 101"/>
                <a:gd name="T67" fmla="*/ 147 h 164"/>
                <a:gd name="T68" fmla="*/ 99 w 101"/>
                <a:gd name="T69" fmla="*/ 151 h 164"/>
                <a:gd name="T70" fmla="*/ 97 w 101"/>
                <a:gd name="T71" fmla="*/ 155 h 164"/>
                <a:gd name="T72" fmla="*/ 95 w 101"/>
                <a:gd name="T73" fmla="*/ 158 h 164"/>
                <a:gd name="T74" fmla="*/ 92 w 101"/>
                <a:gd name="T75" fmla="*/ 160 h 164"/>
                <a:gd name="T76" fmla="*/ 88 w 101"/>
                <a:gd name="T77" fmla="*/ 163 h 164"/>
                <a:gd name="T78" fmla="*/ 85 w 101"/>
                <a:gd name="T79" fmla="*/ 164 h 164"/>
                <a:gd name="T80" fmla="*/ 81 w 101"/>
                <a:gd name="T81" fmla="*/ 164 h 164"/>
                <a:gd name="T82" fmla="*/ 81 w 101"/>
                <a:gd name="T83" fmla="*/ 164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01" h="164">
                  <a:moveTo>
                    <a:pt x="81" y="164"/>
                  </a:moveTo>
                  <a:lnTo>
                    <a:pt x="21" y="164"/>
                  </a:lnTo>
                  <a:lnTo>
                    <a:pt x="21" y="164"/>
                  </a:lnTo>
                  <a:lnTo>
                    <a:pt x="17" y="164"/>
                  </a:lnTo>
                  <a:lnTo>
                    <a:pt x="13" y="163"/>
                  </a:lnTo>
                  <a:lnTo>
                    <a:pt x="9" y="160"/>
                  </a:lnTo>
                  <a:lnTo>
                    <a:pt x="7" y="158"/>
                  </a:lnTo>
                  <a:lnTo>
                    <a:pt x="4" y="155"/>
                  </a:lnTo>
                  <a:lnTo>
                    <a:pt x="2" y="151"/>
                  </a:lnTo>
                  <a:lnTo>
                    <a:pt x="0" y="147"/>
                  </a:lnTo>
                  <a:lnTo>
                    <a:pt x="0" y="144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16"/>
                  </a:lnTo>
                  <a:lnTo>
                    <a:pt x="2" y="12"/>
                  </a:lnTo>
                  <a:lnTo>
                    <a:pt x="4" y="9"/>
                  </a:lnTo>
                  <a:lnTo>
                    <a:pt x="7" y="6"/>
                  </a:lnTo>
                  <a:lnTo>
                    <a:pt x="9" y="3"/>
                  </a:lnTo>
                  <a:lnTo>
                    <a:pt x="13" y="2"/>
                  </a:lnTo>
                  <a:lnTo>
                    <a:pt x="17" y="1"/>
                  </a:lnTo>
                  <a:lnTo>
                    <a:pt x="21" y="0"/>
                  </a:lnTo>
                  <a:lnTo>
                    <a:pt x="81" y="0"/>
                  </a:lnTo>
                  <a:lnTo>
                    <a:pt x="81" y="0"/>
                  </a:lnTo>
                  <a:lnTo>
                    <a:pt x="85" y="1"/>
                  </a:lnTo>
                  <a:lnTo>
                    <a:pt x="88" y="2"/>
                  </a:lnTo>
                  <a:lnTo>
                    <a:pt x="92" y="3"/>
                  </a:lnTo>
                  <a:lnTo>
                    <a:pt x="95" y="6"/>
                  </a:lnTo>
                  <a:lnTo>
                    <a:pt x="97" y="9"/>
                  </a:lnTo>
                  <a:lnTo>
                    <a:pt x="99" y="12"/>
                  </a:lnTo>
                  <a:lnTo>
                    <a:pt x="100" y="16"/>
                  </a:lnTo>
                  <a:lnTo>
                    <a:pt x="101" y="20"/>
                  </a:lnTo>
                  <a:lnTo>
                    <a:pt x="101" y="144"/>
                  </a:lnTo>
                  <a:lnTo>
                    <a:pt x="101" y="144"/>
                  </a:lnTo>
                  <a:lnTo>
                    <a:pt x="100" y="147"/>
                  </a:lnTo>
                  <a:lnTo>
                    <a:pt x="99" y="151"/>
                  </a:lnTo>
                  <a:lnTo>
                    <a:pt x="97" y="155"/>
                  </a:lnTo>
                  <a:lnTo>
                    <a:pt x="95" y="158"/>
                  </a:lnTo>
                  <a:lnTo>
                    <a:pt x="92" y="160"/>
                  </a:lnTo>
                  <a:lnTo>
                    <a:pt x="88" y="163"/>
                  </a:lnTo>
                  <a:lnTo>
                    <a:pt x="85" y="164"/>
                  </a:lnTo>
                  <a:lnTo>
                    <a:pt x="81" y="164"/>
                  </a:lnTo>
                  <a:lnTo>
                    <a:pt x="81" y="16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T America" panose="00000500000000000000" pitchFamily="2" charset="0"/>
                <a:ea typeface="+mn-ea"/>
                <a:cs typeface="+mn-cs"/>
              </a:endParaRPr>
            </a:p>
          </p:txBody>
        </p:sp>
        <p:sp>
          <p:nvSpPr>
            <p:cNvPr id="123" name="Freeform 85"/>
            <p:cNvSpPr>
              <a:spLocks noEditPoints="1"/>
            </p:cNvSpPr>
            <p:nvPr/>
          </p:nvSpPr>
          <p:spPr bwMode="auto">
            <a:xfrm>
              <a:off x="1147" y="4595"/>
              <a:ext cx="599" cy="238"/>
            </a:xfrm>
            <a:custGeom>
              <a:avLst/>
              <a:gdLst>
                <a:gd name="T0" fmla="*/ 502 w 599"/>
                <a:gd name="T1" fmla="*/ 48 h 238"/>
                <a:gd name="T2" fmla="*/ 537 w 599"/>
                <a:gd name="T3" fmla="*/ 190 h 238"/>
                <a:gd name="T4" fmla="*/ 61 w 599"/>
                <a:gd name="T5" fmla="*/ 190 h 238"/>
                <a:gd name="T6" fmla="*/ 96 w 599"/>
                <a:gd name="T7" fmla="*/ 48 h 238"/>
                <a:gd name="T8" fmla="*/ 502 w 599"/>
                <a:gd name="T9" fmla="*/ 48 h 238"/>
                <a:gd name="T10" fmla="*/ 520 w 599"/>
                <a:gd name="T11" fmla="*/ 0 h 238"/>
                <a:gd name="T12" fmla="*/ 78 w 599"/>
                <a:gd name="T13" fmla="*/ 0 h 238"/>
                <a:gd name="T14" fmla="*/ 78 w 599"/>
                <a:gd name="T15" fmla="*/ 0 h 238"/>
                <a:gd name="T16" fmla="*/ 71 w 599"/>
                <a:gd name="T17" fmla="*/ 1 h 238"/>
                <a:gd name="T18" fmla="*/ 65 w 599"/>
                <a:gd name="T19" fmla="*/ 4 h 238"/>
                <a:gd name="T20" fmla="*/ 57 w 599"/>
                <a:gd name="T21" fmla="*/ 9 h 238"/>
                <a:gd name="T22" fmla="*/ 57 w 599"/>
                <a:gd name="T23" fmla="*/ 9 h 238"/>
                <a:gd name="T24" fmla="*/ 55 w 599"/>
                <a:gd name="T25" fmla="*/ 12 h 238"/>
                <a:gd name="T26" fmla="*/ 52 w 599"/>
                <a:gd name="T27" fmla="*/ 16 h 238"/>
                <a:gd name="T28" fmla="*/ 51 w 599"/>
                <a:gd name="T29" fmla="*/ 23 h 238"/>
                <a:gd name="T30" fmla="*/ 50 w 599"/>
                <a:gd name="T31" fmla="*/ 32 h 238"/>
                <a:gd name="T32" fmla="*/ 0 w 599"/>
                <a:gd name="T33" fmla="*/ 238 h 238"/>
                <a:gd name="T34" fmla="*/ 599 w 599"/>
                <a:gd name="T35" fmla="*/ 238 h 238"/>
                <a:gd name="T36" fmla="*/ 550 w 599"/>
                <a:gd name="T37" fmla="*/ 32 h 238"/>
                <a:gd name="T38" fmla="*/ 550 w 599"/>
                <a:gd name="T39" fmla="*/ 32 h 238"/>
                <a:gd name="T40" fmla="*/ 548 w 599"/>
                <a:gd name="T41" fmla="*/ 24 h 238"/>
                <a:gd name="T42" fmla="*/ 547 w 599"/>
                <a:gd name="T43" fmla="*/ 16 h 238"/>
                <a:gd name="T44" fmla="*/ 543 w 599"/>
                <a:gd name="T45" fmla="*/ 10 h 238"/>
                <a:gd name="T46" fmla="*/ 543 w 599"/>
                <a:gd name="T47" fmla="*/ 10 h 238"/>
                <a:gd name="T48" fmla="*/ 541 w 599"/>
                <a:gd name="T49" fmla="*/ 7 h 238"/>
                <a:gd name="T50" fmla="*/ 538 w 599"/>
                <a:gd name="T51" fmla="*/ 5 h 238"/>
                <a:gd name="T52" fmla="*/ 530 w 599"/>
                <a:gd name="T53" fmla="*/ 2 h 238"/>
                <a:gd name="T54" fmla="*/ 520 w 599"/>
                <a:gd name="T55" fmla="*/ 0 h 238"/>
                <a:gd name="T56" fmla="*/ 520 w 599"/>
                <a:gd name="T57" fmla="*/ 0 h 2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99" h="238">
                  <a:moveTo>
                    <a:pt x="502" y="48"/>
                  </a:moveTo>
                  <a:lnTo>
                    <a:pt x="537" y="190"/>
                  </a:lnTo>
                  <a:lnTo>
                    <a:pt x="61" y="190"/>
                  </a:lnTo>
                  <a:lnTo>
                    <a:pt x="96" y="48"/>
                  </a:lnTo>
                  <a:lnTo>
                    <a:pt x="502" y="48"/>
                  </a:lnTo>
                  <a:close/>
                  <a:moveTo>
                    <a:pt x="520" y="0"/>
                  </a:moveTo>
                  <a:lnTo>
                    <a:pt x="78" y="0"/>
                  </a:lnTo>
                  <a:lnTo>
                    <a:pt x="78" y="0"/>
                  </a:lnTo>
                  <a:lnTo>
                    <a:pt x="71" y="1"/>
                  </a:lnTo>
                  <a:lnTo>
                    <a:pt x="65" y="4"/>
                  </a:lnTo>
                  <a:lnTo>
                    <a:pt x="57" y="9"/>
                  </a:lnTo>
                  <a:lnTo>
                    <a:pt x="57" y="9"/>
                  </a:lnTo>
                  <a:lnTo>
                    <a:pt x="55" y="12"/>
                  </a:lnTo>
                  <a:lnTo>
                    <a:pt x="52" y="16"/>
                  </a:lnTo>
                  <a:lnTo>
                    <a:pt x="51" y="23"/>
                  </a:lnTo>
                  <a:lnTo>
                    <a:pt x="50" y="32"/>
                  </a:lnTo>
                  <a:lnTo>
                    <a:pt x="0" y="238"/>
                  </a:lnTo>
                  <a:lnTo>
                    <a:pt x="599" y="238"/>
                  </a:lnTo>
                  <a:lnTo>
                    <a:pt x="550" y="32"/>
                  </a:lnTo>
                  <a:lnTo>
                    <a:pt x="550" y="32"/>
                  </a:lnTo>
                  <a:lnTo>
                    <a:pt x="548" y="24"/>
                  </a:lnTo>
                  <a:lnTo>
                    <a:pt x="547" y="16"/>
                  </a:lnTo>
                  <a:lnTo>
                    <a:pt x="543" y="10"/>
                  </a:lnTo>
                  <a:lnTo>
                    <a:pt x="543" y="10"/>
                  </a:lnTo>
                  <a:lnTo>
                    <a:pt x="541" y="7"/>
                  </a:lnTo>
                  <a:lnTo>
                    <a:pt x="538" y="5"/>
                  </a:lnTo>
                  <a:lnTo>
                    <a:pt x="530" y="2"/>
                  </a:lnTo>
                  <a:lnTo>
                    <a:pt x="520" y="0"/>
                  </a:lnTo>
                  <a:lnTo>
                    <a:pt x="52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T America" panose="00000500000000000000" pitchFamily="2" charset="0"/>
                <a:ea typeface="+mn-ea"/>
                <a:cs typeface="+mn-cs"/>
              </a:endParaRPr>
            </a:p>
          </p:txBody>
        </p:sp>
        <p:sp>
          <p:nvSpPr>
            <p:cNvPr id="126" name="Freeform 88"/>
            <p:cNvSpPr>
              <a:spLocks noEditPoints="1"/>
            </p:cNvSpPr>
            <p:nvPr/>
          </p:nvSpPr>
          <p:spPr bwMode="auto">
            <a:xfrm>
              <a:off x="1147" y="4802"/>
              <a:ext cx="599" cy="235"/>
            </a:xfrm>
            <a:custGeom>
              <a:avLst/>
              <a:gdLst>
                <a:gd name="T0" fmla="*/ 24 w 599"/>
                <a:gd name="T1" fmla="*/ 0 h 235"/>
                <a:gd name="T2" fmla="*/ 13 w 599"/>
                <a:gd name="T3" fmla="*/ 4 h 235"/>
                <a:gd name="T4" fmla="*/ 1 w 599"/>
                <a:gd name="T5" fmla="*/ 21 h 235"/>
                <a:gd name="T6" fmla="*/ 599 w 599"/>
                <a:gd name="T7" fmla="*/ 235 h 235"/>
                <a:gd name="T8" fmla="*/ 598 w 599"/>
                <a:gd name="T9" fmla="*/ 21 h 235"/>
                <a:gd name="T10" fmla="*/ 588 w 599"/>
                <a:gd name="T11" fmla="*/ 4 h 235"/>
                <a:gd name="T12" fmla="*/ 575 w 599"/>
                <a:gd name="T13" fmla="*/ 0 h 235"/>
                <a:gd name="T14" fmla="*/ 180 w 599"/>
                <a:gd name="T15" fmla="*/ 129 h 235"/>
                <a:gd name="T16" fmla="*/ 173 w 599"/>
                <a:gd name="T17" fmla="*/ 147 h 235"/>
                <a:gd name="T18" fmla="*/ 155 w 599"/>
                <a:gd name="T19" fmla="*/ 166 h 235"/>
                <a:gd name="T20" fmla="*/ 129 w 599"/>
                <a:gd name="T21" fmla="*/ 174 h 235"/>
                <a:gd name="T22" fmla="*/ 110 w 599"/>
                <a:gd name="T23" fmla="*/ 170 h 235"/>
                <a:gd name="T24" fmla="*/ 88 w 599"/>
                <a:gd name="T25" fmla="*/ 155 h 235"/>
                <a:gd name="T26" fmla="*/ 78 w 599"/>
                <a:gd name="T27" fmla="*/ 129 h 235"/>
                <a:gd name="T28" fmla="*/ 76 w 599"/>
                <a:gd name="T29" fmla="*/ 123 h 235"/>
                <a:gd name="T30" fmla="*/ 78 w 599"/>
                <a:gd name="T31" fmla="*/ 116 h 235"/>
                <a:gd name="T32" fmla="*/ 88 w 599"/>
                <a:gd name="T33" fmla="*/ 91 h 235"/>
                <a:gd name="T34" fmla="*/ 110 w 599"/>
                <a:gd name="T35" fmla="*/ 74 h 235"/>
                <a:gd name="T36" fmla="*/ 129 w 599"/>
                <a:gd name="T37" fmla="*/ 70 h 235"/>
                <a:gd name="T38" fmla="*/ 155 w 599"/>
                <a:gd name="T39" fmla="*/ 78 h 235"/>
                <a:gd name="T40" fmla="*/ 173 w 599"/>
                <a:gd name="T41" fmla="*/ 98 h 235"/>
                <a:gd name="T42" fmla="*/ 180 w 599"/>
                <a:gd name="T43" fmla="*/ 116 h 235"/>
                <a:gd name="T44" fmla="*/ 386 w 599"/>
                <a:gd name="T45" fmla="*/ 137 h 235"/>
                <a:gd name="T46" fmla="*/ 384 w 599"/>
                <a:gd name="T47" fmla="*/ 147 h 235"/>
                <a:gd name="T48" fmla="*/ 375 w 599"/>
                <a:gd name="T49" fmla="*/ 157 h 235"/>
                <a:gd name="T50" fmla="*/ 361 w 599"/>
                <a:gd name="T51" fmla="*/ 161 h 235"/>
                <a:gd name="T52" fmla="*/ 236 w 599"/>
                <a:gd name="T53" fmla="*/ 161 h 235"/>
                <a:gd name="T54" fmla="*/ 222 w 599"/>
                <a:gd name="T55" fmla="*/ 153 h 235"/>
                <a:gd name="T56" fmla="*/ 214 w 599"/>
                <a:gd name="T57" fmla="*/ 139 h 235"/>
                <a:gd name="T58" fmla="*/ 214 w 599"/>
                <a:gd name="T59" fmla="*/ 123 h 235"/>
                <a:gd name="T60" fmla="*/ 219 w 599"/>
                <a:gd name="T61" fmla="*/ 107 h 235"/>
                <a:gd name="T62" fmla="*/ 231 w 599"/>
                <a:gd name="T63" fmla="*/ 97 h 235"/>
                <a:gd name="T64" fmla="*/ 359 w 599"/>
                <a:gd name="T65" fmla="*/ 95 h 235"/>
                <a:gd name="T66" fmla="*/ 370 w 599"/>
                <a:gd name="T67" fmla="*/ 97 h 235"/>
                <a:gd name="T68" fmla="*/ 381 w 599"/>
                <a:gd name="T69" fmla="*/ 106 h 235"/>
                <a:gd name="T70" fmla="*/ 386 w 599"/>
                <a:gd name="T71" fmla="*/ 121 h 235"/>
                <a:gd name="T72" fmla="*/ 521 w 599"/>
                <a:gd name="T73" fmla="*/ 123 h 235"/>
                <a:gd name="T74" fmla="*/ 520 w 599"/>
                <a:gd name="T75" fmla="*/ 138 h 235"/>
                <a:gd name="T76" fmla="*/ 505 w 599"/>
                <a:gd name="T77" fmla="*/ 161 h 235"/>
                <a:gd name="T78" fmla="*/ 481 w 599"/>
                <a:gd name="T79" fmla="*/ 174 h 235"/>
                <a:gd name="T80" fmla="*/ 460 w 599"/>
                <a:gd name="T81" fmla="*/ 174 h 235"/>
                <a:gd name="T82" fmla="*/ 436 w 599"/>
                <a:gd name="T83" fmla="*/ 161 h 235"/>
                <a:gd name="T84" fmla="*/ 421 w 599"/>
                <a:gd name="T85" fmla="*/ 138 h 235"/>
                <a:gd name="T86" fmla="*/ 419 w 599"/>
                <a:gd name="T87" fmla="*/ 123 h 235"/>
                <a:gd name="T88" fmla="*/ 419 w 599"/>
                <a:gd name="T89" fmla="*/ 116 h 235"/>
                <a:gd name="T90" fmla="*/ 425 w 599"/>
                <a:gd name="T91" fmla="*/ 98 h 235"/>
                <a:gd name="T92" fmla="*/ 444 w 599"/>
                <a:gd name="T93" fmla="*/ 78 h 235"/>
                <a:gd name="T94" fmla="*/ 470 w 599"/>
                <a:gd name="T95" fmla="*/ 70 h 235"/>
                <a:gd name="T96" fmla="*/ 490 w 599"/>
                <a:gd name="T97" fmla="*/ 74 h 235"/>
                <a:gd name="T98" fmla="*/ 511 w 599"/>
                <a:gd name="T99" fmla="*/ 91 h 235"/>
                <a:gd name="T100" fmla="*/ 521 w 599"/>
                <a:gd name="T101" fmla="*/ 116 h 235"/>
                <a:gd name="T102" fmla="*/ 521 w 599"/>
                <a:gd name="T103" fmla="*/ 123 h 2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599" h="235">
                  <a:moveTo>
                    <a:pt x="575" y="0"/>
                  </a:moveTo>
                  <a:lnTo>
                    <a:pt x="575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18" y="2"/>
                  </a:lnTo>
                  <a:lnTo>
                    <a:pt x="13" y="4"/>
                  </a:lnTo>
                  <a:lnTo>
                    <a:pt x="8" y="8"/>
                  </a:lnTo>
                  <a:lnTo>
                    <a:pt x="5" y="12"/>
                  </a:lnTo>
                  <a:lnTo>
                    <a:pt x="1" y="21"/>
                  </a:lnTo>
                  <a:lnTo>
                    <a:pt x="0" y="25"/>
                  </a:lnTo>
                  <a:lnTo>
                    <a:pt x="0" y="235"/>
                  </a:lnTo>
                  <a:lnTo>
                    <a:pt x="599" y="235"/>
                  </a:lnTo>
                  <a:lnTo>
                    <a:pt x="599" y="25"/>
                  </a:lnTo>
                  <a:lnTo>
                    <a:pt x="599" y="25"/>
                  </a:lnTo>
                  <a:lnTo>
                    <a:pt x="598" y="21"/>
                  </a:lnTo>
                  <a:lnTo>
                    <a:pt x="595" y="12"/>
                  </a:lnTo>
                  <a:lnTo>
                    <a:pt x="592" y="8"/>
                  </a:lnTo>
                  <a:lnTo>
                    <a:pt x="588" y="4"/>
                  </a:lnTo>
                  <a:lnTo>
                    <a:pt x="583" y="2"/>
                  </a:lnTo>
                  <a:lnTo>
                    <a:pt x="575" y="0"/>
                  </a:lnTo>
                  <a:lnTo>
                    <a:pt x="575" y="0"/>
                  </a:lnTo>
                  <a:close/>
                  <a:moveTo>
                    <a:pt x="180" y="123"/>
                  </a:moveTo>
                  <a:lnTo>
                    <a:pt x="180" y="123"/>
                  </a:lnTo>
                  <a:lnTo>
                    <a:pt x="180" y="129"/>
                  </a:lnTo>
                  <a:lnTo>
                    <a:pt x="180" y="129"/>
                  </a:lnTo>
                  <a:lnTo>
                    <a:pt x="177" y="138"/>
                  </a:lnTo>
                  <a:lnTo>
                    <a:pt x="173" y="147"/>
                  </a:lnTo>
                  <a:lnTo>
                    <a:pt x="169" y="155"/>
                  </a:lnTo>
                  <a:lnTo>
                    <a:pt x="163" y="161"/>
                  </a:lnTo>
                  <a:lnTo>
                    <a:pt x="155" y="166"/>
                  </a:lnTo>
                  <a:lnTo>
                    <a:pt x="147" y="170"/>
                  </a:lnTo>
                  <a:lnTo>
                    <a:pt x="138" y="174"/>
                  </a:lnTo>
                  <a:lnTo>
                    <a:pt x="129" y="174"/>
                  </a:lnTo>
                  <a:lnTo>
                    <a:pt x="129" y="174"/>
                  </a:lnTo>
                  <a:lnTo>
                    <a:pt x="118" y="174"/>
                  </a:lnTo>
                  <a:lnTo>
                    <a:pt x="110" y="170"/>
                  </a:lnTo>
                  <a:lnTo>
                    <a:pt x="102" y="166"/>
                  </a:lnTo>
                  <a:lnTo>
                    <a:pt x="94" y="161"/>
                  </a:lnTo>
                  <a:lnTo>
                    <a:pt x="88" y="155"/>
                  </a:lnTo>
                  <a:lnTo>
                    <a:pt x="83" y="147"/>
                  </a:lnTo>
                  <a:lnTo>
                    <a:pt x="79" y="138"/>
                  </a:lnTo>
                  <a:lnTo>
                    <a:pt x="78" y="129"/>
                  </a:lnTo>
                  <a:lnTo>
                    <a:pt x="78" y="129"/>
                  </a:lnTo>
                  <a:lnTo>
                    <a:pt x="76" y="123"/>
                  </a:lnTo>
                  <a:lnTo>
                    <a:pt x="76" y="123"/>
                  </a:lnTo>
                  <a:lnTo>
                    <a:pt x="76" y="123"/>
                  </a:lnTo>
                  <a:lnTo>
                    <a:pt x="78" y="116"/>
                  </a:lnTo>
                  <a:lnTo>
                    <a:pt x="78" y="116"/>
                  </a:lnTo>
                  <a:lnTo>
                    <a:pt x="79" y="107"/>
                  </a:lnTo>
                  <a:lnTo>
                    <a:pt x="83" y="98"/>
                  </a:lnTo>
                  <a:lnTo>
                    <a:pt x="88" y="91"/>
                  </a:lnTo>
                  <a:lnTo>
                    <a:pt x="94" y="84"/>
                  </a:lnTo>
                  <a:lnTo>
                    <a:pt x="102" y="78"/>
                  </a:lnTo>
                  <a:lnTo>
                    <a:pt x="110" y="74"/>
                  </a:lnTo>
                  <a:lnTo>
                    <a:pt x="118" y="72"/>
                  </a:lnTo>
                  <a:lnTo>
                    <a:pt x="129" y="70"/>
                  </a:lnTo>
                  <a:lnTo>
                    <a:pt x="129" y="70"/>
                  </a:lnTo>
                  <a:lnTo>
                    <a:pt x="138" y="72"/>
                  </a:lnTo>
                  <a:lnTo>
                    <a:pt x="147" y="74"/>
                  </a:lnTo>
                  <a:lnTo>
                    <a:pt x="155" y="78"/>
                  </a:lnTo>
                  <a:lnTo>
                    <a:pt x="163" y="84"/>
                  </a:lnTo>
                  <a:lnTo>
                    <a:pt x="169" y="91"/>
                  </a:lnTo>
                  <a:lnTo>
                    <a:pt x="173" y="98"/>
                  </a:lnTo>
                  <a:lnTo>
                    <a:pt x="177" y="107"/>
                  </a:lnTo>
                  <a:lnTo>
                    <a:pt x="180" y="116"/>
                  </a:lnTo>
                  <a:lnTo>
                    <a:pt x="180" y="116"/>
                  </a:lnTo>
                  <a:lnTo>
                    <a:pt x="180" y="123"/>
                  </a:lnTo>
                  <a:lnTo>
                    <a:pt x="180" y="123"/>
                  </a:lnTo>
                  <a:close/>
                  <a:moveTo>
                    <a:pt x="386" y="137"/>
                  </a:moveTo>
                  <a:lnTo>
                    <a:pt x="386" y="137"/>
                  </a:lnTo>
                  <a:lnTo>
                    <a:pt x="385" y="142"/>
                  </a:lnTo>
                  <a:lnTo>
                    <a:pt x="384" y="147"/>
                  </a:lnTo>
                  <a:lnTo>
                    <a:pt x="381" y="151"/>
                  </a:lnTo>
                  <a:lnTo>
                    <a:pt x="379" y="155"/>
                  </a:lnTo>
                  <a:lnTo>
                    <a:pt x="375" y="157"/>
                  </a:lnTo>
                  <a:lnTo>
                    <a:pt x="371" y="160"/>
                  </a:lnTo>
                  <a:lnTo>
                    <a:pt x="366" y="161"/>
                  </a:lnTo>
                  <a:lnTo>
                    <a:pt x="361" y="161"/>
                  </a:lnTo>
                  <a:lnTo>
                    <a:pt x="241" y="161"/>
                  </a:lnTo>
                  <a:lnTo>
                    <a:pt x="241" y="161"/>
                  </a:lnTo>
                  <a:lnTo>
                    <a:pt x="236" y="161"/>
                  </a:lnTo>
                  <a:lnTo>
                    <a:pt x="231" y="160"/>
                  </a:lnTo>
                  <a:lnTo>
                    <a:pt x="226" y="157"/>
                  </a:lnTo>
                  <a:lnTo>
                    <a:pt x="222" y="153"/>
                  </a:lnTo>
                  <a:lnTo>
                    <a:pt x="219" y="149"/>
                  </a:lnTo>
                  <a:lnTo>
                    <a:pt x="217" y="144"/>
                  </a:lnTo>
                  <a:lnTo>
                    <a:pt x="214" y="139"/>
                  </a:lnTo>
                  <a:lnTo>
                    <a:pt x="214" y="134"/>
                  </a:lnTo>
                  <a:lnTo>
                    <a:pt x="214" y="123"/>
                  </a:lnTo>
                  <a:lnTo>
                    <a:pt x="214" y="123"/>
                  </a:lnTo>
                  <a:lnTo>
                    <a:pt x="214" y="118"/>
                  </a:lnTo>
                  <a:lnTo>
                    <a:pt x="217" y="112"/>
                  </a:lnTo>
                  <a:lnTo>
                    <a:pt x="219" y="107"/>
                  </a:lnTo>
                  <a:lnTo>
                    <a:pt x="222" y="104"/>
                  </a:lnTo>
                  <a:lnTo>
                    <a:pt x="226" y="100"/>
                  </a:lnTo>
                  <a:lnTo>
                    <a:pt x="231" y="97"/>
                  </a:lnTo>
                  <a:lnTo>
                    <a:pt x="236" y="96"/>
                  </a:lnTo>
                  <a:lnTo>
                    <a:pt x="241" y="95"/>
                  </a:lnTo>
                  <a:lnTo>
                    <a:pt x="359" y="95"/>
                  </a:lnTo>
                  <a:lnTo>
                    <a:pt x="359" y="95"/>
                  </a:lnTo>
                  <a:lnTo>
                    <a:pt x="365" y="96"/>
                  </a:lnTo>
                  <a:lnTo>
                    <a:pt x="370" y="97"/>
                  </a:lnTo>
                  <a:lnTo>
                    <a:pt x="375" y="100"/>
                  </a:lnTo>
                  <a:lnTo>
                    <a:pt x="379" y="102"/>
                  </a:lnTo>
                  <a:lnTo>
                    <a:pt x="381" y="106"/>
                  </a:lnTo>
                  <a:lnTo>
                    <a:pt x="384" y="111"/>
                  </a:lnTo>
                  <a:lnTo>
                    <a:pt x="385" y="116"/>
                  </a:lnTo>
                  <a:lnTo>
                    <a:pt x="386" y="121"/>
                  </a:lnTo>
                  <a:lnTo>
                    <a:pt x="386" y="137"/>
                  </a:lnTo>
                  <a:close/>
                  <a:moveTo>
                    <a:pt x="521" y="123"/>
                  </a:moveTo>
                  <a:lnTo>
                    <a:pt x="521" y="123"/>
                  </a:lnTo>
                  <a:lnTo>
                    <a:pt x="521" y="129"/>
                  </a:lnTo>
                  <a:lnTo>
                    <a:pt x="521" y="129"/>
                  </a:lnTo>
                  <a:lnTo>
                    <a:pt x="520" y="138"/>
                  </a:lnTo>
                  <a:lnTo>
                    <a:pt x="516" y="147"/>
                  </a:lnTo>
                  <a:lnTo>
                    <a:pt x="511" y="155"/>
                  </a:lnTo>
                  <a:lnTo>
                    <a:pt x="505" y="161"/>
                  </a:lnTo>
                  <a:lnTo>
                    <a:pt x="497" y="166"/>
                  </a:lnTo>
                  <a:lnTo>
                    <a:pt x="490" y="170"/>
                  </a:lnTo>
                  <a:lnTo>
                    <a:pt x="481" y="174"/>
                  </a:lnTo>
                  <a:lnTo>
                    <a:pt x="470" y="174"/>
                  </a:lnTo>
                  <a:lnTo>
                    <a:pt x="470" y="174"/>
                  </a:lnTo>
                  <a:lnTo>
                    <a:pt x="460" y="174"/>
                  </a:lnTo>
                  <a:lnTo>
                    <a:pt x="451" y="170"/>
                  </a:lnTo>
                  <a:lnTo>
                    <a:pt x="444" y="166"/>
                  </a:lnTo>
                  <a:lnTo>
                    <a:pt x="436" y="161"/>
                  </a:lnTo>
                  <a:lnTo>
                    <a:pt x="430" y="155"/>
                  </a:lnTo>
                  <a:lnTo>
                    <a:pt x="425" y="147"/>
                  </a:lnTo>
                  <a:lnTo>
                    <a:pt x="421" y="138"/>
                  </a:lnTo>
                  <a:lnTo>
                    <a:pt x="419" y="129"/>
                  </a:lnTo>
                  <a:lnTo>
                    <a:pt x="419" y="129"/>
                  </a:lnTo>
                  <a:lnTo>
                    <a:pt x="419" y="123"/>
                  </a:lnTo>
                  <a:lnTo>
                    <a:pt x="419" y="123"/>
                  </a:lnTo>
                  <a:lnTo>
                    <a:pt x="419" y="123"/>
                  </a:lnTo>
                  <a:lnTo>
                    <a:pt x="419" y="116"/>
                  </a:lnTo>
                  <a:lnTo>
                    <a:pt x="419" y="116"/>
                  </a:lnTo>
                  <a:lnTo>
                    <a:pt x="421" y="107"/>
                  </a:lnTo>
                  <a:lnTo>
                    <a:pt x="425" y="98"/>
                  </a:lnTo>
                  <a:lnTo>
                    <a:pt x="430" y="91"/>
                  </a:lnTo>
                  <a:lnTo>
                    <a:pt x="436" y="84"/>
                  </a:lnTo>
                  <a:lnTo>
                    <a:pt x="444" y="78"/>
                  </a:lnTo>
                  <a:lnTo>
                    <a:pt x="451" y="74"/>
                  </a:lnTo>
                  <a:lnTo>
                    <a:pt x="460" y="72"/>
                  </a:lnTo>
                  <a:lnTo>
                    <a:pt x="470" y="70"/>
                  </a:lnTo>
                  <a:lnTo>
                    <a:pt x="470" y="70"/>
                  </a:lnTo>
                  <a:lnTo>
                    <a:pt x="481" y="72"/>
                  </a:lnTo>
                  <a:lnTo>
                    <a:pt x="490" y="74"/>
                  </a:lnTo>
                  <a:lnTo>
                    <a:pt x="497" y="78"/>
                  </a:lnTo>
                  <a:lnTo>
                    <a:pt x="505" y="84"/>
                  </a:lnTo>
                  <a:lnTo>
                    <a:pt x="511" y="91"/>
                  </a:lnTo>
                  <a:lnTo>
                    <a:pt x="516" y="98"/>
                  </a:lnTo>
                  <a:lnTo>
                    <a:pt x="520" y="107"/>
                  </a:lnTo>
                  <a:lnTo>
                    <a:pt x="521" y="116"/>
                  </a:lnTo>
                  <a:lnTo>
                    <a:pt x="521" y="116"/>
                  </a:lnTo>
                  <a:lnTo>
                    <a:pt x="521" y="123"/>
                  </a:lnTo>
                  <a:lnTo>
                    <a:pt x="521" y="12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T America" panose="00000500000000000000" pitchFamily="2" charset="0"/>
                <a:ea typeface="+mn-ea"/>
                <a:cs typeface="+mn-cs"/>
              </a:endParaRPr>
            </a:p>
          </p:txBody>
        </p:sp>
        <p:sp>
          <p:nvSpPr>
            <p:cNvPr id="127" name="Freeform 89"/>
            <p:cNvSpPr>
              <a:spLocks/>
            </p:cNvSpPr>
            <p:nvPr/>
          </p:nvSpPr>
          <p:spPr bwMode="auto">
            <a:xfrm>
              <a:off x="1370" y="4651"/>
              <a:ext cx="50" cy="56"/>
            </a:xfrm>
            <a:custGeom>
              <a:avLst/>
              <a:gdLst>
                <a:gd name="T0" fmla="*/ 12 w 50"/>
                <a:gd name="T1" fmla="*/ 52 h 56"/>
                <a:gd name="T2" fmla="*/ 12 w 50"/>
                <a:gd name="T3" fmla="*/ 52 h 56"/>
                <a:gd name="T4" fmla="*/ 6 w 50"/>
                <a:gd name="T5" fmla="*/ 48 h 56"/>
                <a:gd name="T6" fmla="*/ 4 w 50"/>
                <a:gd name="T7" fmla="*/ 42 h 56"/>
                <a:gd name="T8" fmla="*/ 4 w 50"/>
                <a:gd name="T9" fmla="*/ 42 h 56"/>
                <a:gd name="T10" fmla="*/ 1 w 50"/>
                <a:gd name="T11" fmla="*/ 35 h 56"/>
                <a:gd name="T12" fmla="*/ 0 w 50"/>
                <a:gd name="T13" fmla="*/ 28 h 56"/>
                <a:gd name="T14" fmla="*/ 0 w 50"/>
                <a:gd name="T15" fmla="*/ 28 h 56"/>
                <a:gd name="T16" fmla="*/ 1 w 50"/>
                <a:gd name="T17" fmla="*/ 20 h 56"/>
                <a:gd name="T18" fmla="*/ 4 w 50"/>
                <a:gd name="T19" fmla="*/ 12 h 56"/>
                <a:gd name="T20" fmla="*/ 4 w 50"/>
                <a:gd name="T21" fmla="*/ 12 h 56"/>
                <a:gd name="T22" fmla="*/ 8 w 50"/>
                <a:gd name="T23" fmla="*/ 7 h 56"/>
                <a:gd name="T24" fmla="*/ 13 w 50"/>
                <a:gd name="T25" fmla="*/ 4 h 56"/>
                <a:gd name="T26" fmla="*/ 13 w 50"/>
                <a:gd name="T27" fmla="*/ 4 h 56"/>
                <a:gd name="T28" fmla="*/ 19 w 50"/>
                <a:gd name="T29" fmla="*/ 1 h 56"/>
                <a:gd name="T30" fmla="*/ 27 w 50"/>
                <a:gd name="T31" fmla="*/ 0 h 56"/>
                <a:gd name="T32" fmla="*/ 27 w 50"/>
                <a:gd name="T33" fmla="*/ 0 h 56"/>
                <a:gd name="T34" fmla="*/ 36 w 50"/>
                <a:gd name="T35" fmla="*/ 1 h 56"/>
                <a:gd name="T36" fmla="*/ 40 w 50"/>
                <a:gd name="T37" fmla="*/ 2 h 56"/>
                <a:gd name="T38" fmla="*/ 42 w 50"/>
                <a:gd name="T39" fmla="*/ 5 h 56"/>
                <a:gd name="T40" fmla="*/ 42 w 50"/>
                <a:gd name="T41" fmla="*/ 5 h 56"/>
                <a:gd name="T42" fmla="*/ 45 w 50"/>
                <a:gd name="T43" fmla="*/ 7 h 56"/>
                <a:gd name="T44" fmla="*/ 47 w 50"/>
                <a:gd name="T45" fmla="*/ 11 h 56"/>
                <a:gd name="T46" fmla="*/ 50 w 50"/>
                <a:gd name="T47" fmla="*/ 19 h 56"/>
                <a:gd name="T48" fmla="*/ 37 w 50"/>
                <a:gd name="T49" fmla="*/ 21 h 56"/>
                <a:gd name="T50" fmla="*/ 37 w 50"/>
                <a:gd name="T51" fmla="*/ 21 h 56"/>
                <a:gd name="T52" fmla="*/ 36 w 50"/>
                <a:gd name="T53" fmla="*/ 16 h 56"/>
                <a:gd name="T54" fmla="*/ 33 w 50"/>
                <a:gd name="T55" fmla="*/ 12 h 56"/>
                <a:gd name="T56" fmla="*/ 33 w 50"/>
                <a:gd name="T57" fmla="*/ 12 h 56"/>
                <a:gd name="T58" fmla="*/ 31 w 50"/>
                <a:gd name="T59" fmla="*/ 11 h 56"/>
                <a:gd name="T60" fmla="*/ 26 w 50"/>
                <a:gd name="T61" fmla="*/ 10 h 56"/>
                <a:gd name="T62" fmla="*/ 26 w 50"/>
                <a:gd name="T63" fmla="*/ 10 h 56"/>
                <a:gd name="T64" fmla="*/ 20 w 50"/>
                <a:gd name="T65" fmla="*/ 11 h 56"/>
                <a:gd name="T66" fmla="*/ 17 w 50"/>
                <a:gd name="T67" fmla="*/ 15 h 56"/>
                <a:gd name="T68" fmla="*/ 17 w 50"/>
                <a:gd name="T69" fmla="*/ 15 h 56"/>
                <a:gd name="T70" fmla="*/ 14 w 50"/>
                <a:gd name="T71" fmla="*/ 20 h 56"/>
                <a:gd name="T72" fmla="*/ 13 w 50"/>
                <a:gd name="T73" fmla="*/ 28 h 56"/>
                <a:gd name="T74" fmla="*/ 13 w 50"/>
                <a:gd name="T75" fmla="*/ 28 h 56"/>
                <a:gd name="T76" fmla="*/ 14 w 50"/>
                <a:gd name="T77" fmla="*/ 34 h 56"/>
                <a:gd name="T78" fmla="*/ 17 w 50"/>
                <a:gd name="T79" fmla="*/ 41 h 56"/>
                <a:gd name="T80" fmla="*/ 17 w 50"/>
                <a:gd name="T81" fmla="*/ 41 h 56"/>
                <a:gd name="T82" fmla="*/ 20 w 50"/>
                <a:gd name="T83" fmla="*/ 44 h 56"/>
                <a:gd name="T84" fmla="*/ 27 w 50"/>
                <a:gd name="T85" fmla="*/ 46 h 56"/>
                <a:gd name="T86" fmla="*/ 27 w 50"/>
                <a:gd name="T87" fmla="*/ 46 h 56"/>
                <a:gd name="T88" fmla="*/ 31 w 50"/>
                <a:gd name="T89" fmla="*/ 44 h 56"/>
                <a:gd name="T90" fmla="*/ 33 w 50"/>
                <a:gd name="T91" fmla="*/ 42 h 56"/>
                <a:gd name="T92" fmla="*/ 33 w 50"/>
                <a:gd name="T93" fmla="*/ 42 h 56"/>
                <a:gd name="T94" fmla="*/ 36 w 50"/>
                <a:gd name="T95" fmla="*/ 39 h 56"/>
                <a:gd name="T96" fmla="*/ 37 w 50"/>
                <a:gd name="T97" fmla="*/ 34 h 56"/>
                <a:gd name="T98" fmla="*/ 50 w 50"/>
                <a:gd name="T99" fmla="*/ 37 h 56"/>
                <a:gd name="T100" fmla="*/ 50 w 50"/>
                <a:gd name="T101" fmla="*/ 37 h 56"/>
                <a:gd name="T102" fmla="*/ 47 w 50"/>
                <a:gd name="T103" fmla="*/ 44 h 56"/>
                <a:gd name="T104" fmla="*/ 42 w 50"/>
                <a:gd name="T105" fmla="*/ 51 h 56"/>
                <a:gd name="T106" fmla="*/ 42 w 50"/>
                <a:gd name="T107" fmla="*/ 51 h 56"/>
                <a:gd name="T108" fmla="*/ 34 w 50"/>
                <a:gd name="T109" fmla="*/ 55 h 56"/>
                <a:gd name="T110" fmla="*/ 26 w 50"/>
                <a:gd name="T111" fmla="*/ 56 h 56"/>
                <a:gd name="T112" fmla="*/ 26 w 50"/>
                <a:gd name="T113" fmla="*/ 56 h 56"/>
                <a:gd name="T114" fmla="*/ 18 w 50"/>
                <a:gd name="T115" fmla="*/ 55 h 56"/>
                <a:gd name="T116" fmla="*/ 12 w 50"/>
                <a:gd name="T117" fmla="*/ 52 h 56"/>
                <a:gd name="T118" fmla="*/ 12 w 50"/>
                <a:gd name="T119" fmla="*/ 52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0" h="56">
                  <a:moveTo>
                    <a:pt x="12" y="52"/>
                  </a:moveTo>
                  <a:lnTo>
                    <a:pt x="12" y="52"/>
                  </a:lnTo>
                  <a:lnTo>
                    <a:pt x="6" y="48"/>
                  </a:lnTo>
                  <a:lnTo>
                    <a:pt x="4" y="42"/>
                  </a:lnTo>
                  <a:lnTo>
                    <a:pt x="4" y="42"/>
                  </a:lnTo>
                  <a:lnTo>
                    <a:pt x="1" y="35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1" y="20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8" y="7"/>
                  </a:lnTo>
                  <a:lnTo>
                    <a:pt x="13" y="4"/>
                  </a:lnTo>
                  <a:lnTo>
                    <a:pt x="13" y="4"/>
                  </a:lnTo>
                  <a:lnTo>
                    <a:pt x="19" y="1"/>
                  </a:lnTo>
                  <a:lnTo>
                    <a:pt x="27" y="0"/>
                  </a:lnTo>
                  <a:lnTo>
                    <a:pt x="27" y="0"/>
                  </a:lnTo>
                  <a:lnTo>
                    <a:pt x="36" y="1"/>
                  </a:lnTo>
                  <a:lnTo>
                    <a:pt x="40" y="2"/>
                  </a:lnTo>
                  <a:lnTo>
                    <a:pt x="42" y="5"/>
                  </a:lnTo>
                  <a:lnTo>
                    <a:pt x="42" y="5"/>
                  </a:lnTo>
                  <a:lnTo>
                    <a:pt x="45" y="7"/>
                  </a:lnTo>
                  <a:lnTo>
                    <a:pt x="47" y="11"/>
                  </a:lnTo>
                  <a:lnTo>
                    <a:pt x="50" y="19"/>
                  </a:lnTo>
                  <a:lnTo>
                    <a:pt x="37" y="21"/>
                  </a:lnTo>
                  <a:lnTo>
                    <a:pt x="37" y="21"/>
                  </a:lnTo>
                  <a:lnTo>
                    <a:pt x="36" y="16"/>
                  </a:lnTo>
                  <a:lnTo>
                    <a:pt x="33" y="12"/>
                  </a:lnTo>
                  <a:lnTo>
                    <a:pt x="33" y="12"/>
                  </a:lnTo>
                  <a:lnTo>
                    <a:pt x="31" y="11"/>
                  </a:lnTo>
                  <a:lnTo>
                    <a:pt x="26" y="10"/>
                  </a:lnTo>
                  <a:lnTo>
                    <a:pt x="26" y="10"/>
                  </a:lnTo>
                  <a:lnTo>
                    <a:pt x="20" y="11"/>
                  </a:lnTo>
                  <a:lnTo>
                    <a:pt x="17" y="15"/>
                  </a:lnTo>
                  <a:lnTo>
                    <a:pt x="17" y="15"/>
                  </a:lnTo>
                  <a:lnTo>
                    <a:pt x="14" y="20"/>
                  </a:lnTo>
                  <a:lnTo>
                    <a:pt x="13" y="28"/>
                  </a:lnTo>
                  <a:lnTo>
                    <a:pt x="13" y="28"/>
                  </a:lnTo>
                  <a:lnTo>
                    <a:pt x="14" y="34"/>
                  </a:lnTo>
                  <a:lnTo>
                    <a:pt x="17" y="41"/>
                  </a:lnTo>
                  <a:lnTo>
                    <a:pt x="17" y="41"/>
                  </a:lnTo>
                  <a:lnTo>
                    <a:pt x="20" y="44"/>
                  </a:lnTo>
                  <a:lnTo>
                    <a:pt x="27" y="46"/>
                  </a:lnTo>
                  <a:lnTo>
                    <a:pt x="27" y="46"/>
                  </a:lnTo>
                  <a:lnTo>
                    <a:pt x="31" y="44"/>
                  </a:lnTo>
                  <a:lnTo>
                    <a:pt x="33" y="42"/>
                  </a:lnTo>
                  <a:lnTo>
                    <a:pt x="33" y="42"/>
                  </a:lnTo>
                  <a:lnTo>
                    <a:pt x="36" y="39"/>
                  </a:lnTo>
                  <a:lnTo>
                    <a:pt x="37" y="34"/>
                  </a:lnTo>
                  <a:lnTo>
                    <a:pt x="50" y="37"/>
                  </a:lnTo>
                  <a:lnTo>
                    <a:pt x="50" y="37"/>
                  </a:lnTo>
                  <a:lnTo>
                    <a:pt x="47" y="44"/>
                  </a:lnTo>
                  <a:lnTo>
                    <a:pt x="42" y="51"/>
                  </a:lnTo>
                  <a:lnTo>
                    <a:pt x="42" y="51"/>
                  </a:lnTo>
                  <a:lnTo>
                    <a:pt x="34" y="55"/>
                  </a:lnTo>
                  <a:lnTo>
                    <a:pt x="26" y="56"/>
                  </a:lnTo>
                  <a:lnTo>
                    <a:pt x="26" y="56"/>
                  </a:lnTo>
                  <a:lnTo>
                    <a:pt x="18" y="55"/>
                  </a:lnTo>
                  <a:lnTo>
                    <a:pt x="12" y="52"/>
                  </a:lnTo>
                  <a:lnTo>
                    <a:pt x="12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T America" panose="00000500000000000000" pitchFamily="2" charset="0"/>
                <a:ea typeface="+mn-ea"/>
                <a:cs typeface="+mn-cs"/>
              </a:endParaRPr>
            </a:p>
          </p:txBody>
        </p:sp>
        <p:sp>
          <p:nvSpPr>
            <p:cNvPr id="128" name="Freeform 90"/>
            <p:cNvSpPr>
              <a:spLocks noEditPoints="1"/>
            </p:cNvSpPr>
            <p:nvPr/>
          </p:nvSpPr>
          <p:spPr bwMode="auto">
            <a:xfrm>
              <a:off x="1421" y="4652"/>
              <a:ext cx="52" cy="54"/>
            </a:xfrm>
            <a:custGeom>
              <a:avLst/>
              <a:gdLst>
                <a:gd name="T0" fmla="*/ 36 w 52"/>
                <a:gd name="T1" fmla="*/ 41 h 54"/>
                <a:gd name="T2" fmla="*/ 17 w 52"/>
                <a:gd name="T3" fmla="*/ 41 h 54"/>
                <a:gd name="T4" fmla="*/ 13 w 52"/>
                <a:gd name="T5" fmla="*/ 54 h 54"/>
                <a:gd name="T6" fmla="*/ 0 w 52"/>
                <a:gd name="T7" fmla="*/ 54 h 54"/>
                <a:gd name="T8" fmla="*/ 19 w 52"/>
                <a:gd name="T9" fmla="*/ 0 h 54"/>
                <a:gd name="T10" fmla="*/ 33 w 52"/>
                <a:gd name="T11" fmla="*/ 0 h 54"/>
                <a:gd name="T12" fmla="*/ 52 w 52"/>
                <a:gd name="T13" fmla="*/ 54 h 54"/>
                <a:gd name="T14" fmla="*/ 40 w 52"/>
                <a:gd name="T15" fmla="*/ 54 h 54"/>
                <a:gd name="T16" fmla="*/ 36 w 52"/>
                <a:gd name="T17" fmla="*/ 41 h 54"/>
                <a:gd name="T18" fmla="*/ 33 w 52"/>
                <a:gd name="T19" fmla="*/ 32 h 54"/>
                <a:gd name="T20" fmla="*/ 28 w 52"/>
                <a:gd name="T21" fmla="*/ 17 h 54"/>
                <a:gd name="T22" fmla="*/ 28 w 52"/>
                <a:gd name="T23" fmla="*/ 17 h 54"/>
                <a:gd name="T24" fmla="*/ 27 w 52"/>
                <a:gd name="T25" fmla="*/ 14 h 54"/>
                <a:gd name="T26" fmla="*/ 27 w 52"/>
                <a:gd name="T27" fmla="*/ 14 h 54"/>
                <a:gd name="T28" fmla="*/ 27 w 52"/>
                <a:gd name="T29" fmla="*/ 10 h 54"/>
                <a:gd name="T30" fmla="*/ 26 w 52"/>
                <a:gd name="T31" fmla="*/ 10 h 54"/>
                <a:gd name="T32" fmla="*/ 26 w 52"/>
                <a:gd name="T33" fmla="*/ 10 h 54"/>
                <a:gd name="T34" fmla="*/ 26 w 52"/>
                <a:gd name="T35" fmla="*/ 14 h 54"/>
                <a:gd name="T36" fmla="*/ 26 w 52"/>
                <a:gd name="T37" fmla="*/ 14 h 54"/>
                <a:gd name="T38" fmla="*/ 24 w 52"/>
                <a:gd name="T39" fmla="*/ 17 h 54"/>
                <a:gd name="T40" fmla="*/ 19 w 52"/>
                <a:gd name="T41" fmla="*/ 32 h 54"/>
                <a:gd name="T42" fmla="*/ 33 w 52"/>
                <a:gd name="T43" fmla="*/ 3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2" h="54">
                  <a:moveTo>
                    <a:pt x="36" y="41"/>
                  </a:moveTo>
                  <a:lnTo>
                    <a:pt x="17" y="41"/>
                  </a:lnTo>
                  <a:lnTo>
                    <a:pt x="13" y="54"/>
                  </a:lnTo>
                  <a:lnTo>
                    <a:pt x="0" y="54"/>
                  </a:lnTo>
                  <a:lnTo>
                    <a:pt x="19" y="0"/>
                  </a:lnTo>
                  <a:lnTo>
                    <a:pt x="33" y="0"/>
                  </a:lnTo>
                  <a:lnTo>
                    <a:pt x="52" y="54"/>
                  </a:lnTo>
                  <a:lnTo>
                    <a:pt x="40" y="54"/>
                  </a:lnTo>
                  <a:lnTo>
                    <a:pt x="36" y="41"/>
                  </a:lnTo>
                  <a:close/>
                  <a:moveTo>
                    <a:pt x="33" y="32"/>
                  </a:moveTo>
                  <a:lnTo>
                    <a:pt x="28" y="17"/>
                  </a:lnTo>
                  <a:lnTo>
                    <a:pt x="28" y="17"/>
                  </a:lnTo>
                  <a:lnTo>
                    <a:pt x="27" y="14"/>
                  </a:lnTo>
                  <a:lnTo>
                    <a:pt x="27" y="14"/>
                  </a:lnTo>
                  <a:lnTo>
                    <a:pt x="27" y="10"/>
                  </a:lnTo>
                  <a:lnTo>
                    <a:pt x="26" y="10"/>
                  </a:lnTo>
                  <a:lnTo>
                    <a:pt x="26" y="10"/>
                  </a:lnTo>
                  <a:lnTo>
                    <a:pt x="26" y="14"/>
                  </a:lnTo>
                  <a:lnTo>
                    <a:pt x="26" y="14"/>
                  </a:lnTo>
                  <a:lnTo>
                    <a:pt x="24" y="17"/>
                  </a:lnTo>
                  <a:lnTo>
                    <a:pt x="19" y="32"/>
                  </a:lnTo>
                  <a:lnTo>
                    <a:pt x="33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T America" panose="00000500000000000000" pitchFamily="2" charset="0"/>
                <a:ea typeface="+mn-ea"/>
                <a:cs typeface="+mn-cs"/>
              </a:endParaRPr>
            </a:p>
          </p:txBody>
        </p:sp>
        <p:sp>
          <p:nvSpPr>
            <p:cNvPr id="129" name="Freeform 91"/>
            <p:cNvSpPr>
              <a:spLocks noEditPoints="1"/>
            </p:cNvSpPr>
            <p:nvPr/>
          </p:nvSpPr>
          <p:spPr bwMode="auto">
            <a:xfrm>
              <a:off x="1480" y="4652"/>
              <a:ext cx="44" cy="54"/>
            </a:xfrm>
            <a:custGeom>
              <a:avLst/>
              <a:gdLst>
                <a:gd name="T0" fmla="*/ 20 w 44"/>
                <a:gd name="T1" fmla="*/ 33 h 54"/>
                <a:gd name="T2" fmla="*/ 12 w 44"/>
                <a:gd name="T3" fmla="*/ 33 h 54"/>
                <a:gd name="T4" fmla="*/ 12 w 44"/>
                <a:gd name="T5" fmla="*/ 54 h 54"/>
                <a:gd name="T6" fmla="*/ 0 w 44"/>
                <a:gd name="T7" fmla="*/ 54 h 54"/>
                <a:gd name="T8" fmla="*/ 0 w 44"/>
                <a:gd name="T9" fmla="*/ 0 h 54"/>
                <a:gd name="T10" fmla="*/ 23 w 44"/>
                <a:gd name="T11" fmla="*/ 0 h 54"/>
                <a:gd name="T12" fmla="*/ 23 w 44"/>
                <a:gd name="T13" fmla="*/ 0 h 54"/>
                <a:gd name="T14" fmla="*/ 32 w 44"/>
                <a:gd name="T15" fmla="*/ 1 h 54"/>
                <a:gd name="T16" fmla="*/ 35 w 44"/>
                <a:gd name="T17" fmla="*/ 3 h 54"/>
                <a:gd name="T18" fmla="*/ 38 w 44"/>
                <a:gd name="T19" fmla="*/ 5 h 54"/>
                <a:gd name="T20" fmla="*/ 38 w 44"/>
                <a:gd name="T21" fmla="*/ 5 h 54"/>
                <a:gd name="T22" fmla="*/ 42 w 44"/>
                <a:gd name="T23" fmla="*/ 10 h 54"/>
                <a:gd name="T24" fmla="*/ 43 w 44"/>
                <a:gd name="T25" fmla="*/ 17 h 54"/>
                <a:gd name="T26" fmla="*/ 43 w 44"/>
                <a:gd name="T27" fmla="*/ 17 h 54"/>
                <a:gd name="T28" fmla="*/ 42 w 44"/>
                <a:gd name="T29" fmla="*/ 22 h 54"/>
                <a:gd name="T30" fmla="*/ 41 w 44"/>
                <a:gd name="T31" fmla="*/ 26 h 54"/>
                <a:gd name="T32" fmla="*/ 41 w 44"/>
                <a:gd name="T33" fmla="*/ 26 h 54"/>
                <a:gd name="T34" fmla="*/ 37 w 44"/>
                <a:gd name="T35" fmla="*/ 28 h 54"/>
                <a:gd name="T36" fmla="*/ 33 w 44"/>
                <a:gd name="T37" fmla="*/ 31 h 54"/>
                <a:gd name="T38" fmla="*/ 44 w 44"/>
                <a:gd name="T39" fmla="*/ 54 h 54"/>
                <a:gd name="T40" fmla="*/ 30 w 44"/>
                <a:gd name="T41" fmla="*/ 54 h 54"/>
                <a:gd name="T42" fmla="*/ 20 w 44"/>
                <a:gd name="T43" fmla="*/ 33 h 54"/>
                <a:gd name="T44" fmla="*/ 12 w 44"/>
                <a:gd name="T45" fmla="*/ 24 h 54"/>
                <a:gd name="T46" fmla="*/ 21 w 44"/>
                <a:gd name="T47" fmla="*/ 24 h 54"/>
                <a:gd name="T48" fmla="*/ 21 w 44"/>
                <a:gd name="T49" fmla="*/ 24 h 54"/>
                <a:gd name="T50" fmla="*/ 25 w 44"/>
                <a:gd name="T51" fmla="*/ 24 h 54"/>
                <a:gd name="T52" fmla="*/ 28 w 44"/>
                <a:gd name="T53" fmla="*/ 22 h 54"/>
                <a:gd name="T54" fmla="*/ 28 w 44"/>
                <a:gd name="T55" fmla="*/ 22 h 54"/>
                <a:gd name="T56" fmla="*/ 29 w 44"/>
                <a:gd name="T57" fmla="*/ 19 h 54"/>
                <a:gd name="T58" fmla="*/ 29 w 44"/>
                <a:gd name="T59" fmla="*/ 17 h 54"/>
                <a:gd name="T60" fmla="*/ 29 w 44"/>
                <a:gd name="T61" fmla="*/ 17 h 54"/>
                <a:gd name="T62" fmla="*/ 29 w 44"/>
                <a:gd name="T63" fmla="*/ 13 h 54"/>
                <a:gd name="T64" fmla="*/ 28 w 44"/>
                <a:gd name="T65" fmla="*/ 11 h 54"/>
                <a:gd name="T66" fmla="*/ 25 w 44"/>
                <a:gd name="T67" fmla="*/ 9 h 54"/>
                <a:gd name="T68" fmla="*/ 21 w 44"/>
                <a:gd name="T69" fmla="*/ 9 h 54"/>
                <a:gd name="T70" fmla="*/ 12 w 44"/>
                <a:gd name="T71" fmla="*/ 9 h 54"/>
                <a:gd name="T72" fmla="*/ 12 w 44"/>
                <a:gd name="T73" fmla="*/ 2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4" h="54">
                  <a:moveTo>
                    <a:pt x="20" y="33"/>
                  </a:moveTo>
                  <a:lnTo>
                    <a:pt x="12" y="33"/>
                  </a:lnTo>
                  <a:lnTo>
                    <a:pt x="12" y="54"/>
                  </a:lnTo>
                  <a:lnTo>
                    <a:pt x="0" y="54"/>
                  </a:lnTo>
                  <a:lnTo>
                    <a:pt x="0" y="0"/>
                  </a:lnTo>
                  <a:lnTo>
                    <a:pt x="23" y="0"/>
                  </a:lnTo>
                  <a:lnTo>
                    <a:pt x="23" y="0"/>
                  </a:lnTo>
                  <a:lnTo>
                    <a:pt x="32" y="1"/>
                  </a:lnTo>
                  <a:lnTo>
                    <a:pt x="35" y="3"/>
                  </a:lnTo>
                  <a:lnTo>
                    <a:pt x="38" y="5"/>
                  </a:lnTo>
                  <a:lnTo>
                    <a:pt x="38" y="5"/>
                  </a:lnTo>
                  <a:lnTo>
                    <a:pt x="42" y="10"/>
                  </a:lnTo>
                  <a:lnTo>
                    <a:pt x="43" y="17"/>
                  </a:lnTo>
                  <a:lnTo>
                    <a:pt x="43" y="17"/>
                  </a:lnTo>
                  <a:lnTo>
                    <a:pt x="42" y="22"/>
                  </a:lnTo>
                  <a:lnTo>
                    <a:pt x="41" y="26"/>
                  </a:lnTo>
                  <a:lnTo>
                    <a:pt x="41" y="26"/>
                  </a:lnTo>
                  <a:lnTo>
                    <a:pt x="37" y="28"/>
                  </a:lnTo>
                  <a:lnTo>
                    <a:pt x="33" y="31"/>
                  </a:lnTo>
                  <a:lnTo>
                    <a:pt x="44" y="54"/>
                  </a:lnTo>
                  <a:lnTo>
                    <a:pt x="30" y="54"/>
                  </a:lnTo>
                  <a:lnTo>
                    <a:pt x="20" y="33"/>
                  </a:lnTo>
                  <a:close/>
                  <a:moveTo>
                    <a:pt x="12" y="24"/>
                  </a:moveTo>
                  <a:lnTo>
                    <a:pt x="21" y="24"/>
                  </a:lnTo>
                  <a:lnTo>
                    <a:pt x="21" y="24"/>
                  </a:lnTo>
                  <a:lnTo>
                    <a:pt x="25" y="24"/>
                  </a:lnTo>
                  <a:lnTo>
                    <a:pt x="28" y="22"/>
                  </a:lnTo>
                  <a:lnTo>
                    <a:pt x="28" y="22"/>
                  </a:lnTo>
                  <a:lnTo>
                    <a:pt x="29" y="19"/>
                  </a:lnTo>
                  <a:lnTo>
                    <a:pt x="29" y="17"/>
                  </a:lnTo>
                  <a:lnTo>
                    <a:pt x="29" y="17"/>
                  </a:lnTo>
                  <a:lnTo>
                    <a:pt x="29" y="13"/>
                  </a:lnTo>
                  <a:lnTo>
                    <a:pt x="28" y="11"/>
                  </a:lnTo>
                  <a:lnTo>
                    <a:pt x="25" y="9"/>
                  </a:lnTo>
                  <a:lnTo>
                    <a:pt x="21" y="9"/>
                  </a:lnTo>
                  <a:lnTo>
                    <a:pt x="12" y="9"/>
                  </a:lnTo>
                  <a:lnTo>
                    <a:pt x="12" y="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T America" panose="00000500000000000000" pitchFamily="2" charset="0"/>
                <a:ea typeface="+mn-ea"/>
                <a:cs typeface="+mn-cs"/>
              </a:endParaRPr>
            </a:p>
          </p:txBody>
        </p:sp>
        <p:sp>
          <p:nvSpPr>
            <p:cNvPr id="130" name="Freeform 92"/>
            <p:cNvSpPr>
              <a:spLocks/>
            </p:cNvSpPr>
            <p:nvPr/>
          </p:nvSpPr>
          <p:spPr bwMode="auto">
            <a:xfrm>
              <a:off x="1274" y="4720"/>
              <a:ext cx="45" cy="54"/>
            </a:xfrm>
            <a:custGeom>
              <a:avLst/>
              <a:gdLst>
                <a:gd name="T0" fmla="*/ 9 w 45"/>
                <a:gd name="T1" fmla="*/ 52 h 54"/>
                <a:gd name="T2" fmla="*/ 0 w 45"/>
                <a:gd name="T3" fmla="*/ 42 h 54"/>
                <a:gd name="T4" fmla="*/ 9 w 45"/>
                <a:gd name="T5" fmla="*/ 35 h 54"/>
                <a:gd name="T6" fmla="*/ 16 w 45"/>
                <a:gd name="T7" fmla="*/ 43 h 54"/>
                <a:gd name="T8" fmla="*/ 20 w 45"/>
                <a:gd name="T9" fmla="*/ 44 h 54"/>
                <a:gd name="T10" fmla="*/ 25 w 45"/>
                <a:gd name="T11" fmla="*/ 44 h 54"/>
                <a:gd name="T12" fmla="*/ 31 w 45"/>
                <a:gd name="T13" fmla="*/ 43 h 54"/>
                <a:gd name="T14" fmla="*/ 32 w 45"/>
                <a:gd name="T15" fmla="*/ 42 h 54"/>
                <a:gd name="T16" fmla="*/ 34 w 45"/>
                <a:gd name="T17" fmla="*/ 39 h 54"/>
                <a:gd name="T18" fmla="*/ 31 w 45"/>
                <a:gd name="T19" fmla="*/ 34 h 54"/>
                <a:gd name="T20" fmla="*/ 26 w 45"/>
                <a:gd name="T21" fmla="*/ 33 h 54"/>
                <a:gd name="T22" fmla="*/ 18 w 45"/>
                <a:gd name="T23" fmla="*/ 30 h 54"/>
                <a:gd name="T24" fmla="*/ 8 w 45"/>
                <a:gd name="T25" fmla="*/ 25 h 54"/>
                <a:gd name="T26" fmla="*/ 4 w 45"/>
                <a:gd name="T27" fmla="*/ 15 h 54"/>
                <a:gd name="T28" fmla="*/ 4 w 45"/>
                <a:gd name="T29" fmla="*/ 10 h 54"/>
                <a:gd name="T30" fmla="*/ 7 w 45"/>
                <a:gd name="T31" fmla="*/ 6 h 54"/>
                <a:gd name="T32" fmla="*/ 13 w 45"/>
                <a:gd name="T33" fmla="*/ 1 h 54"/>
                <a:gd name="T34" fmla="*/ 18 w 45"/>
                <a:gd name="T35" fmla="*/ 0 h 54"/>
                <a:gd name="T36" fmla="*/ 25 w 45"/>
                <a:gd name="T37" fmla="*/ 0 h 54"/>
                <a:gd name="T38" fmla="*/ 37 w 45"/>
                <a:gd name="T39" fmla="*/ 2 h 54"/>
                <a:gd name="T40" fmla="*/ 42 w 45"/>
                <a:gd name="T41" fmla="*/ 5 h 54"/>
                <a:gd name="T42" fmla="*/ 37 w 45"/>
                <a:gd name="T43" fmla="*/ 16 h 54"/>
                <a:gd name="T44" fmla="*/ 35 w 45"/>
                <a:gd name="T45" fmla="*/ 14 h 54"/>
                <a:gd name="T46" fmla="*/ 32 w 45"/>
                <a:gd name="T47" fmla="*/ 11 h 54"/>
                <a:gd name="T48" fmla="*/ 23 w 45"/>
                <a:gd name="T49" fmla="*/ 8 h 54"/>
                <a:gd name="T50" fmla="*/ 21 w 45"/>
                <a:gd name="T51" fmla="*/ 8 h 54"/>
                <a:gd name="T52" fmla="*/ 18 w 45"/>
                <a:gd name="T53" fmla="*/ 10 h 54"/>
                <a:gd name="T54" fmla="*/ 16 w 45"/>
                <a:gd name="T55" fmla="*/ 14 h 54"/>
                <a:gd name="T56" fmla="*/ 16 w 45"/>
                <a:gd name="T57" fmla="*/ 16 h 54"/>
                <a:gd name="T58" fmla="*/ 17 w 45"/>
                <a:gd name="T59" fmla="*/ 17 h 54"/>
                <a:gd name="T60" fmla="*/ 31 w 45"/>
                <a:gd name="T61" fmla="*/ 22 h 54"/>
                <a:gd name="T62" fmla="*/ 37 w 45"/>
                <a:gd name="T63" fmla="*/ 24 h 54"/>
                <a:gd name="T64" fmla="*/ 41 w 45"/>
                <a:gd name="T65" fmla="*/ 28 h 54"/>
                <a:gd name="T66" fmla="*/ 45 w 45"/>
                <a:gd name="T67" fmla="*/ 38 h 54"/>
                <a:gd name="T68" fmla="*/ 45 w 45"/>
                <a:gd name="T69" fmla="*/ 43 h 54"/>
                <a:gd name="T70" fmla="*/ 42 w 45"/>
                <a:gd name="T71" fmla="*/ 47 h 54"/>
                <a:gd name="T72" fmla="*/ 35 w 45"/>
                <a:gd name="T73" fmla="*/ 52 h 54"/>
                <a:gd name="T74" fmla="*/ 30 w 45"/>
                <a:gd name="T75" fmla="*/ 54 h 54"/>
                <a:gd name="T76" fmla="*/ 23 w 45"/>
                <a:gd name="T77" fmla="*/ 54 h 54"/>
                <a:gd name="T78" fmla="*/ 9 w 45"/>
                <a:gd name="T7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45" h="54">
                  <a:moveTo>
                    <a:pt x="9" y="52"/>
                  </a:moveTo>
                  <a:lnTo>
                    <a:pt x="9" y="52"/>
                  </a:lnTo>
                  <a:lnTo>
                    <a:pt x="4" y="47"/>
                  </a:lnTo>
                  <a:lnTo>
                    <a:pt x="0" y="42"/>
                  </a:lnTo>
                  <a:lnTo>
                    <a:pt x="9" y="35"/>
                  </a:lnTo>
                  <a:lnTo>
                    <a:pt x="9" y="35"/>
                  </a:lnTo>
                  <a:lnTo>
                    <a:pt x="12" y="39"/>
                  </a:lnTo>
                  <a:lnTo>
                    <a:pt x="16" y="43"/>
                  </a:lnTo>
                  <a:lnTo>
                    <a:pt x="16" y="43"/>
                  </a:lnTo>
                  <a:lnTo>
                    <a:pt x="20" y="44"/>
                  </a:lnTo>
                  <a:lnTo>
                    <a:pt x="25" y="44"/>
                  </a:lnTo>
                  <a:lnTo>
                    <a:pt x="25" y="44"/>
                  </a:lnTo>
                  <a:lnTo>
                    <a:pt x="27" y="44"/>
                  </a:lnTo>
                  <a:lnTo>
                    <a:pt x="31" y="43"/>
                  </a:lnTo>
                  <a:lnTo>
                    <a:pt x="31" y="43"/>
                  </a:lnTo>
                  <a:lnTo>
                    <a:pt x="32" y="42"/>
                  </a:lnTo>
                  <a:lnTo>
                    <a:pt x="34" y="39"/>
                  </a:lnTo>
                  <a:lnTo>
                    <a:pt x="34" y="39"/>
                  </a:lnTo>
                  <a:lnTo>
                    <a:pt x="32" y="37"/>
                  </a:lnTo>
                  <a:lnTo>
                    <a:pt x="31" y="34"/>
                  </a:lnTo>
                  <a:lnTo>
                    <a:pt x="31" y="34"/>
                  </a:lnTo>
                  <a:lnTo>
                    <a:pt x="26" y="33"/>
                  </a:lnTo>
                  <a:lnTo>
                    <a:pt x="18" y="30"/>
                  </a:lnTo>
                  <a:lnTo>
                    <a:pt x="18" y="30"/>
                  </a:lnTo>
                  <a:lnTo>
                    <a:pt x="12" y="29"/>
                  </a:lnTo>
                  <a:lnTo>
                    <a:pt x="8" y="25"/>
                  </a:lnTo>
                  <a:lnTo>
                    <a:pt x="4" y="20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0"/>
                  </a:lnTo>
                  <a:lnTo>
                    <a:pt x="7" y="6"/>
                  </a:lnTo>
                  <a:lnTo>
                    <a:pt x="7" y="6"/>
                  </a:lnTo>
                  <a:lnTo>
                    <a:pt x="9" y="3"/>
                  </a:lnTo>
                  <a:lnTo>
                    <a:pt x="13" y="1"/>
                  </a:lnTo>
                  <a:lnTo>
                    <a:pt x="13" y="1"/>
                  </a:lnTo>
                  <a:lnTo>
                    <a:pt x="18" y="0"/>
                  </a:lnTo>
                  <a:lnTo>
                    <a:pt x="25" y="0"/>
                  </a:lnTo>
                  <a:lnTo>
                    <a:pt x="25" y="0"/>
                  </a:lnTo>
                  <a:lnTo>
                    <a:pt x="31" y="0"/>
                  </a:lnTo>
                  <a:lnTo>
                    <a:pt x="37" y="2"/>
                  </a:lnTo>
                  <a:lnTo>
                    <a:pt x="37" y="2"/>
                  </a:lnTo>
                  <a:lnTo>
                    <a:pt x="42" y="5"/>
                  </a:lnTo>
                  <a:lnTo>
                    <a:pt x="45" y="10"/>
                  </a:lnTo>
                  <a:lnTo>
                    <a:pt x="37" y="16"/>
                  </a:lnTo>
                  <a:lnTo>
                    <a:pt x="37" y="16"/>
                  </a:lnTo>
                  <a:lnTo>
                    <a:pt x="35" y="14"/>
                  </a:lnTo>
                  <a:lnTo>
                    <a:pt x="32" y="11"/>
                  </a:lnTo>
                  <a:lnTo>
                    <a:pt x="32" y="11"/>
                  </a:lnTo>
                  <a:lnTo>
                    <a:pt x="28" y="8"/>
                  </a:lnTo>
                  <a:lnTo>
                    <a:pt x="23" y="8"/>
                  </a:lnTo>
                  <a:lnTo>
                    <a:pt x="23" y="8"/>
                  </a:lnTo>
                  <a:lnTo>
                    <a:pt x="21" y="8"/>
                  </a:lnTo>
                  <a:lnTo>
                    <a:pt x="18" y="10"/>
                  </a:lnTo>
                  <a:lnTo>
                    <a:pt x="18" y="10"/>
                  </a:lnTo>
                  <a:lnTo>
                    <a:pt x="16" y="11"/>
                  </a:lnTo>
                  <a:lnTo>
                    <a:pt x="16" y="14"/>
                  </a:lnTo>
                  <a:lnTo>
                    <a:pt x="16" y="14"/>
                  </a:lnTo>
                  <a:lnTo>
                    <a:pt x="16" y="16"/>
                  </a:lnTo>
                  <a:lnTo>
                    <a:pt x="17" y="17"/>
                  </a:lnTo>
                  <a:lnTo>
                    <a:pt x="17" y="17"/>
                  </a:lnTo>
                  <a:lnTo>
                    <a:pt x="23" y="20"/>
                  </a:lnTo>
                  <a:lnTo>
                    <a:pt x="31" y="22"/>
                  </a:lnTo>
                  <a:lnTo>
                    <a:pt x="31" y="22"/>
                  </a:lnTo>
                  <a:lnTo>
                    <a:pt x="37" y="24"/>
                  </a:lnTo>
                  <a:lnTo>
                    <a:pt x="41" y="28"/>
                  </a:lnTo>
                  <a:lnTo>
                    <a:pt x="41" y="28"/>
                  </a:lnTo>
                  <a:lnTo>
                    <a:pt x="44" y="31"/>
                  </a:lnTo>
                  <a:lnTo>
                    <a:pt x="45" y="38"/>
                  </a:lnTo>
                  <a:lnTo>
                    <a:pt x="45" y="38"/>
                  </a:lnTo>
                  <a:lnTo>
                    <a:pt x="45" y="43"/>
                  </a:lnTo>
                  <a:lnTo>
                    <a:pt x="42" y="47"/>
                  </a:lnTo>
                  <a:lnTo>
                    <a:pt x="42" y="47"/>
                  </a:lnTo>
                  <a:lnTo>
                    <a:pt x="40" y="49"/>
                  </a:lnTo>
                  <a:lnTo>
                    <a:pt x="35" y="52"/>
                  </a:lnTo>
                  <a:lnTo>
                    <a:pt x="35" y="52"/>
                  </a:lnTo>
                  <a:lnTo>
                    <a:pt x="30" y="54"/>
                  </a:lnTo>
                  <a:lnTo>
                    <a:pt x="23" y="54"/>
                  </a:lnTo>
                  <a:lnTo>
                    <a:pt x="23" y="54"/>
                  </a:lnTo>
                  <a:lnTo>
                    <a:pt x="16" y="53"/>
                  </a:lnTo>
                  <a:lnTo>
                    <a:pt x="9" y="52"/>
                  </a:lnTo>
                  <a:lnTo>
                    <a:pt x="9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T America" panose="00000500000000000000" pitchFamily="2" charset="0"/>
                <a:ea typeface="+mn-ea"/>
                <a:cs typeface="+mn-cs"/>
              </a:endParaRPr>
            </a:p>
          </p:txBody>
        </p:sp>
        <p:sp>
          <p:nvSpPr>
            <p:cNvPr id="131" name="Freeform 93"/>
            <p:cNvSpPr>
              <a:spLocks/>
            </p:cNvSpPr>
            <p:nvPr/>
          </p:nvSpPr>
          <p:spPr bwMode="auto">
            <a:xfrm>
              <a:off x="1327" y="4721"/>
              <a:ext cx="46" cy="52"/>
            </a:xfrm>
            <a:custGeom>
              <a:avLst/>
              <a:gdLst>
                <a:gd name="T0" fmla="*/ 46 w 46"/>
                <a:gd name="T1" fmla="*/ 52 h 52"/>
                <a:gd name="T2" fmla="*/ 33 w 46"/>
                <a:gd name="T3" fmla="*/ 52 h 52"/>
                <a:gd name="T4" fmla="*/ 33 w 46"/>
                <a:gd name="T5" fmla="*/ 30 h 52"/>
                <a:gd name="T6" fmla="*/ 12 w 46"/>
                <a:gd name="T7" fmla="*/ 30 h 52"/>
                <a:gd name="T8" fmla="*/ 12 w 46"/>
                <a:gd name="T9" fmla="*/ 52 h 52"/>
                <a:gd name="T10" fmla="*/ 0 w 46"/>
                <a:gd name="T11" fmla="*/ 52 h 52"/>
                <a:gd name="T12" fmla="*/ 0 w 46"/>
                <a:gd name="T13" fmla="*/ 0 h 52"/>
                <a:gd name="T14" fmla="*/ 12 w 46"/>
                <a:gd name="T15" fmla="*/ 0 h 52"/>
                <a:gd name="T16" fmla="*/ 12 w 46"/>
                <a:gd name="T17" fmla="*/ 20 h 52"/>
                <a:gd name="T18" fmla="*/ 33 w 46"/>
                <a:gd name="T19" fmla="*/ 20 h 52"/>
                <a:gd name="T20" fmla="*/ 33 w 46"/>
                <a:gd name="T21" fmla="*/ 0 h 52"/>
                <a:gd name="T22" fmla="*/ 46 w 46"/>
                <a:gd name="T23" fmla="*/ 0 h 52"/>
                <a:gd name="T24" fmla="*/ 46 w 46"/>
                <a:gd name="T2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6" h="52">
                  <a:moveTo>
                    <a:pt x="46" y="52"/>
                  </a:moveTo>
                  <a:lnTo>
                    <a:pt x="33" y="52"/>
                  </a:lnTo>
                  <a:lnTo>
                    <a:pt x="33" y="30"/>
                  </a:lnTo>
                  <a:lnTo>
                    <a:pt x="12" y="30"/>
                  </a:lnTo>
                  <a:lnTo>
                    <a:pt x="12" y="52"/>
                  </a:lnTo>
                  <a:lnTo>
                    <a:pt x="0" y="52"/>
                  </a:lnTo>
                  <a:lnTo>
                    <a:pt x="0" y="0"/>
                  </a:lnTo>
                  <a:lnTo>
                    <a:pt x="12" y="0"/>
                  </a:lnTo>
                  <a:lnTo>
                    <a:pt x="12" y="20"/>
                  </a:lnTo>
                  <a:lnTo>
                    <a:pt x="33" y="20"/>
                  </a:lnTo>
                  <a:lnTo>
                    <a:pt x="33" y="0"/>
                  </a:lnTo>
                  <a:lnTo>
                    <a:pt x="46" y="0"/>
                  </a:lnTo>
                  <a:lnTo>
                    <a:pt x="46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T America" panose="00000500000000000000" pitchFamily="2" charset="0"/>
                <a:ea typeface="+mn-ea"/>
                <a:cs typeface="+mn-cs"/>
              </a:endParaRPr>
            </a:p>
          </p:txBody>
        </p:sp>
        <p:sp>
          <p:nvSpPr>
            <p:cNvPr id="132" name="Freeform 94"/>
            <p:cNvSpPr>
              <a:spLocks noEditPoints="1"/>
            </p:cNvSpPr>
            <p:nvPr/>
          </p:nvSpPr>
          <p:spPr bwMode="auto">
            <a:xfrm>
              <a:off x="1379" y="4721"/>
              <a:ext cx="52" cy="52"/>
            </a:xfrm>
            <a:custGeom>
              <a:avLst/>
              <a:gdLst>
                <a:gd name="T0" fmla="*/ 36 w 52"/>
                <a:gd name="T1" fmla="*/ 39 h 52"/>
                <a:gd name="T2" fmla="*/ 17 w 52"/>
                <a:gd name="T3" fmla="*/ 39 h 52"/>
                <a:gd name="T4" fmla="*/ 13 w 52"/>
                <a:gd name="T5" fmla="*/ 52 h 52"/>
                <a:gd name="T6" fmla="*/ 0 w 52"/>
                <a:gd name="T7" fmla="*/ 52 h 52"/>
                <a:gd name="T8" fmla="*/ 19 w 52"/>
                <a:gd name="T9" fmla="*/ 0 h 52"/>
                <a:gd name="T10" fmla="*/ 33 w 52"/>
                <a:gd name="T11" fmla="*/ 0 h 52"/>
                <a:gd name="T12" fmla="*/ 52 w 52"/>
                <a:gd name="T13" fmla="*/ 52 h 52"/>
                <a:gd name="T14" fmla="*/ 39 w 52"/>
                <a:gd name="T15" fmla="*/ 52 h 52"/>
                <a:gd name="T16" fmla="*/ 36 w 52"/>
                <a:gd name="T17" fmla="*/ 39 h 52"/>
                <a:gd name="T18" fmla="*/ 33 w 52"/>
                <a:gd name="T19" fmla="*/ 30 h 52"/>
                <a:gd name="T20" fmla="*/ 28 w 52"/>
                <a:gd name="T21" fmla="*/ 16 h 52"/>
                <a:gd name="T22" fmla="*/ 28 w 52"/>
                <a:gd name="T23" fmla="*/ 16 h 52"/>
                <a:gd name="T24" fmla="*/ 27 w 52"/>
                <a:gd name="T25" fmla="*/ 13 h 52"/>
                <a:gd name="T26" fmla="*/ 27 w 52"/>
                <a:gd name="T27" fmla="*/ 13 h 52"/>
                <a:gd name="T28" fmla="*/ 27 w 52"/>
                <a:gd name="T29" fmla="*/ 9 h 52"/>
                <a:gd name="T30" fmla="*/ 25 w 52"/>
                <a:gd name="T31" fmla="*/ 9 h 52"/>
                <a:gd name="T32" fmla="*/ 25 w 52"/>
                <a:gd name="T33" fmla="*/ 9 h 52"/>
                <a:gd name="T34" fmla="*/ 25 w 52"/>
                <a:gd name="T35" fmla="*/ 13 h 52"/>
                <a:gd name="T36" fmla="*/ 25 w 52"/>
                <a:gd name="T37" fmla="*/ 13 h 52"/>
                <a:gd name="T38" fmla="*/ 24 w 52"/>
                <a:gd name="T39" fmla="*/ 16 h 52"/>
                <a:gd name="T40" fmla="*/ 19 w 52"/>
                <a:gd name="T41" fmla="*/ 30 h 52"/>
                <a:gd name="T42" fmla="*/ 33 w 52"/>
                <a:gd name="T43" fmla="*/ 3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2" h="52">
                  <a:moveTo>
                    <a:pt x="36" y="39"/>
                  </a:moveTo>
                  <a:lnTo>
                    <a:pt x="17" y="39"/>
                  </a:lnTo>
                  <a:lnTo>
                    <a:pt x="13" y="52"/>
                  </a:lnTo>
                  <a:lnTo>
                    <a:pt x="0" y="52"/>
                  </a:lnTo>
                  <a:lnTo>
                    <a:pt x="19" y="0"/>
                  </a:lnTo>
                  <a:lnTo>
                    <a:pt x="33" y="0"/>
                  </a:lnTo>
                  <a:lnTo>
                    <a:pt x="52" y="52"/>
                  </a:lnTo>
                  <a:lnTo>
                    <a:pt x="39" y="52"/>
                  </a:lnTo>
                  <a:lnTo>
                    <a:pt x="36" y="39"/>
                  </a:lnTo>
                  <a:close/>
                  <a:moveTo>
                    <a:pt x="33" y="30"/>
                  </a:moveTo>
                  <a:lnTo>
                    <a:pt x="28" y="16"/>
                  </a:lnTo>
                  <a:lnTo>
                    <a:pt x="28" y="16"/>
                  </a:lnTo>
                  <a:lnTo>
                    <a:pt x="27" y="13"/>
                  </a:lnTo>
                  <a:lnTo>
                    <a:pt x="27" y="13"/>
                  </a:lnTo>
                  <a:lnTo>
                    <a:pt x="27" y="9"/>
                  </a:lnTo>
                  <a:lnTo>
                    <a:pt x="25" y="9"/>
                  </a:lnTo>
                  <a:lnTo>
                    <a:pt x="25" y="9"/>
                  </a:lnTo>
                  <a:lnTo>
                    <a:pt x="25" y="13"/>
                  </a:lnTo>
                  <a:lnTo>
                    <a:pt x="25" y="13"/>
                  </a:lnTo>
                  <a:lnTo>
                    <a:pt x="24" y="16"/>
                  </a:lnTo>
                  <a:lnTo>
                    <a:pt x="19" y="30"/>
                  </a:lnTo>
                  <a:lnTo>
                    <a:pt x="33" y="3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T America" panose="00000500000000000000" pitchFamily="2" charset="0"/>
                <a:ea typeface="+mn-ea"/>
                <a:cs typeface="+mn-cs"/>
              </a:endParaRPr>
            </a:p>
          </p:txBody>
        </p:sp>
        <p:sp>
          <p:nvSpPr>
            <p:cNvPr id="133" name="Freeform 95"/>
            <p:cNvSpPr>
              <a:spLocks noEditPoints="1"/>
            </p:cNvSpPr>
            <p:nvPr/>
          </p:nvSpPr>
          <p:spPr bwMode="auto">
            <a:xfrm>
              <a:off x="1438" y="4721"/>
              <a:ext cx="44" cy="52"/>
            </a:xfrm>
            <a:custGeom>
              <a:avLst/>
              <a:gdLst>
                <a:gd name="T0" fmla="*/ 20 w 44"/>
                <a:gd name="T1" fmla="*/ 32 h 52"/>
                <a:gd name="T2" fmla="*/ 12 w 44"/>
                <a:gd name="T3" fmla="*/ 32 h 52"/>
                <a:gd name="T4" fmla="*/ 12 w 44"/>
                <a:gd name="T5" fmla="*/ 52 h 52"/>
                <a:gd name="T6" fmla="*/ 0 w 44"/>
                <a:gd name="T7" fmla="*/ 52 h 52"/>
                <a:gd name="T8" fmla="*/ 0 w 44"/>
                <a:gd name="T9" fmla="*/ 0 h 52"/>
                <a:gd name="T10" fmla="*/ 24 w 44"/>
                <a:gd name="T11" fmla="*/ 0 h 52"/>
                <a:gd name="T12" fmla="*/ 24 w 44"/>
                <a:gd name="T13" fmla="*/ 0 h 52"/>
                <a:gd name="T14" fmla="*/ 32 w 44"/>
                <a:gd name="T15" fmla="*/ 0 h 52"/>
                <a:gd name="T16" fmla="*/ 35 w 44"/>
                <a:gd name="T17" fmla="*/ 2 h 52"/>
                <a:gd name="T18" fmla="*/ 38 w 44"/>
                <a:gd name="T19" fmla="*/ 4 h 52"/>
                <a:gd name="T20" fmla="*/ 38 w 44"/>
                <a:gd name="T21" fmla="*/ 4 h 52"/>
                <a:gd name="T22" fmla="*/ 42 w 44"/>
                <a:gd name="T23" fmla="*/ 9 h 52"/>
                <a:gd name="T24" fmla="*/ 43 w 44"/>
                <a:gd name="T25" fmla="*/ 15 h 52"/>
                <a:gd name="T26" fmla="*/ 43 w 44"/>
                <a:gd name="T27" fmla="*/ 15 h 52"/>
                <a:gd name="T28" fmla="*/ 42 w 44"/>
                <a:gd name="T29" fmla="*/ 20 h 52"/>
                <a:gd name="T30" fmla="*/ 40 w 44"/>
                <a:gd name="T31" fmla="*/ 24 h 52"/>
                <a:gd name="T32" fmla="*/ 40 w 44"/>
                <a:gd name="T33" fmla="*/ 24 h 52"/>
                <a:gd name="T34" fmla="*/ 37 w 44"/>
                <a:gd name="T35" fmla="*/ 28 h 52"/>
                <a:gd name="T36" fmla="*/ 33 w 44"/>
                <a:gd name="T37" fmla="*/ 30 h 52"/>
                <a:gd name="T38" fmla="*/ 44 w 44"/>
                <a:gd name="T39" fmla="*/ 52 h 52"/>
                <a:gd name="T40" fmla="*/ 30 w 44"/>
                <a:gd name="T41" fmla="*/ 52 h 52"/>
                <a:gd name="T42" fmla="*/ 20 w 44"/>
                <a:gd name="T43" fmla="*/ 32 h 52"/>
                <a:gd name="T44" fmla="*/ 12 w 44"/>
                <a:gd name="T45" fmla="*/ 23 h 52"/>
                <a:gd name="T46" fmla="*/ 21 w 44"/>
                <a:gd name="T47" fmla="*/ 23 h 52"/>
                <a:gd name="T48" fmla="*/ 21 w 44"/>
                <a:gd name="T49" fmla="*/ 23 h 52"/>
                <a:gd name="T50" fmla="*/ 25 w 44"/>
                <a:gd name="T51" fmla="*/ 23 h 52"/>
                <a:gd name="T52" fmla="*/ 28 w 44"/>
                <a:gd name="T53" fmla="*/ 21 h 52"/>
                <a:gd name="T54" fmla="*/ 28 w 44"/>
                <a:gd name="T55" fmla="*/ 21 h 52"/>
                <a:gd name="T56" fmla="*/ 29 w 44"/>
                <a:gd name="T57" fmla="*/ 19 h 52"/>
                <a:gd name="T58" fmla="*/ 29 w 44"/>
                <a:gd name="T59" fmla="*/ 15 h 52"/>
                <a:gd name="T60" fmla="*/ 29 w 44"/>
                <a:gd name="T61" fmla="*/ 15 h 52"/>
                <a:gd name="T62" fmla="*/ 29 w 44"/>
                <a:gd name="T63" fmla="*/ 13 h 52"/>
                <a:gd name="T64" fmla="*/ 28 w 44"/>
                <a:gd name="T65" fmla="*/ 10 h 52"/>
                <a:gd name="T66" fmla="*/ 25 w 44"/>
                <a:gd name="T67" fmla="*/ 9 h 52"/>
                <a:gd name="T68" fmla="*/ 21 w 44"/>
                <a:gd name="T69" fmla="*/ 9 h 52"/>
                <a:gd name="T70" fmla="*/ 12 w 44"/>
                <a:gd name="T71" fmla="*/ 9 h 52"/>
                <a:gd name="T72" fmla="*/ 12 w 44"/>
                <a:gd name="T73" fmla="*/ 23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4" h="52">
                  <a:moveTo>
                    <a:pt x="20" y="32"/>
                  </a:moveTo>
                  <a:lnTo>
                    <a:pt x="12" y="32"/>
                  </a:lnTo>
                  <a:lnTo>
                    <a:pt x="12" y="52"/>
                  </a:lnTo>
                  <a:lnTo>
                    <a:pt x="0" y="52"/>
                  </a:lnTo>
                  <a:lnTo>
                    <a:pt x="0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32" y="0"/>
                  </a:lnTo>
                  <a:lnTo>
                    <a:pt x="35" y="2"/>
                  </a:lnTo>
                  <a:lnTo>
                    <a:pt x="38" y="4"/>
                  </a:lnTo>
                  <a:lnTo>
                    <a:pt x="38" y="4"/>
                  </a:lnTo>
                  <a:lnTo>
                    <a:pt x="42" y="9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2" y="20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37" y="28"/>
                  </a:lnTo>
                  <a:lnTo>
                    <a:pt x="33" y="30"/>
                  </a:lnTo>
                  <a:lnTo>
                    <a:pt x="44" y="52"/>
                  </a:lnTo>
                  <a:lnTo>
                    <a:pt x="30" y="52"/>
                  </a:lnTo>
                  <a:lnTo>
                    <a:pt x="20" y="32"/>
                  </a:lnTo>
                  <a:close/>
                  <a:moveTo>
                    <a:pt x="12" y="23"/>
                  </a:moveTo>
                  <a:lnTo>
                    <a:pt x="21" y="23"/>
                  </a:lnTo>
                  <a:lnTo>
                    <a:pt x="21" y="23"/>
                  </a:lnTo>
                  <a:lnTo>
                    <a:pt x="25" y="23"/>
                  </a:lnTo>
                  <a:lnTo>
                    <a:pt x="28" y="21"/>
                  </a:lnTo>
                  <a:lnTo>
                    <a:pt x="28" y="21"/>
                  </a:lnTo>
                  <a:lnTo>
                    <a:pt x="29" y="19"/>
                  </a:lnTo>
                  <a:lnTo>
                    <a:pt x="29" y="15"/>
                  </a:lnTo>
                  <a:lnTo>
                    <a:pt x="29" y="15"/>
                  </a:lnTo>
                  <a:lnTo>
                    <a:pt x="29" y="13"/>
                  </a:lnTo>
                  <a:lnTo>
                    <a:pt x="28" y="10"/>
                  </a:lnTo>
                  <a:lnTo>
                    <a:pt x="25" y="9"/>
                  </a:lnTo>
                  <a:lnTo>
                    <a:pt x="21" y="9"/>
                  </a:lnTo>
                  <a:lnTo>
                    <a:pt x="12" y="9"/>
                  </a:lnTo>
                  <a:lnTo>
                    <a:pt x="12" y="2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T America" panose="00000500000000000000" pitchFamily="2" charset="0"/>
                <a:ea typeface="+mn-ea"/>
                <a:cs typeface="+mn-cs"/>
              </a:endParaRPr>
            </a:p>
          </p:txBody>
        </p:sp>
        <p:sp>
          <p:nvSpPr>
            <p:cNvPr id="134" name="Rectangle 96"/>
            <p:cNvSpPr>
              <a:spLocks noChangeArrowheads="1"/>
            </p:cNvSpPr>
            <p:nvPr/>
          </p:nvSpPr>
          <p:spPr bwMode="auto">
            <a:xfrm>
              <a:off x="1490" y="4721"/>
              <a:ext cx="13" cy="5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T America" panose="00000500000000000000" pitchFamily="2" charset="0"/>
                <a:ea typeface="+mn-ea"/>
                <a:cs typeface="+mn-cs"/>
              </a:endParaRPr>
            </a:p>
          </p:txBody>
        </p:sp>
        <p:sp>
          <p:nvSpPr>
            <p:cNvPr id="135" name="Freeform 97"/>
            <p:cNvSpPr>
              <a:spLocks/>
            </p:cNvSpPr>
            <p:nvPr/>
          </p:nvSpPr>
          <p:spPr bwMode="auto">
            <a:xfrm>
              <a:off x="1513" y="4721"/>
              <a:ext cx="46" cy="52"/>
            </a:xfrm>
            <a:custGeom>
              <a:avLst/>
              <a:gdLst>
                <a:gd name="T0" fmla="*/ 0 w 46"/>
                <a:gd name="T1" fmla="*/ 0 h 52"/>
                <a:gd name="T2" fmla="*/ 14 w 46"/>
                <a:gd name="T3" fmla="*/ 0 h 52"/>
                <a:gd name="T4" fmla="*/ 30 w 46"/>
                <a:gd name="T5" fmla="*/ 29 h 52"/>
                <a:gd name="T6" fmla="*/ 30 w 46"/>
                <a:gd name="T7" fmla="*/ 29 h 52"/>
                <a:gd name="T8" fmla="*/ 34 w 46"/>
                <a:gd name="T9" fmla="*/ 37 h 52"/>
                <a:gd name="T10" fmla="*/ 34 w 46"/>
                <a:gd name="T11" fmla="*/ 37 h 52"/>
                <a:gd name="T12" fmla="*/ 34 w 46"/>
                <a:gd name="T13" fmla="*/ 29 h 52"/>
                <a:gd name="T14" fmla="*/ 34 w 46"/>
                <a:gd name="T15" fmla="*/ 0 h 52"/>
                <a:gd name="T16" fmla="*/ 46 w 46"/>
                <a:gd name="T17" fmla="*/ 0 h 52"/>
                <a:gd name="T18" fmla="*/ 46 w 46"/>
                <a:gd name="T19" fmla="*/ 52 h 52"/>
                <a:gd name="T20" fmla="*/ 33 w 46"/>
                <a:gd name="T21" fmla="*/ 52 h 52"/>
                <a:gd name="T22" fmla="*/ 15 w 46"/>
                <a:gd name="T23" fmla="*/ 21 h 52"/>
                <a:gd name="T24" fmla="*/ 15 w 46"/>
                <a:gd name="T25" fmla="*/ 21 h 52"/>
                <a:gd name="T26" fmla="*/ 13 w 46"/>
                <a:gd name="T27" fmla="*/ 19 h 52"/>
                <a:gd name="T28" fmla="*/ 13 w 46"/>
                <a:gd name="T29" fmla="*/ 19 h 52"/>
                <a:gd name="T30" fmla="*/ 11 w 46"/>
                <a:gd name="T31" fmla="*/ 15 h 52"/>
                <a:gd name="T32" fmla="*/ 11 w 46"/>
                <a:gd name="T33" fmla="*/ 15 h 52"/>
                <a:gd name="T34" fmla="*/ 11 w 46"/>
                <a:gd name="T35" fmla="*/ 23 h 52"/>
                <a:gd name="T36" fmla="*/ 11 w 46"/>
                <a:gd name="T37" fmla="*/ 52 h 52"/>
                <a:gd name="T38" fmla="*/ 0 w 46"/>
                <a:gd name="T39" fmla="*/ 52 h 52"/>
                <a:gd name="T40" fmla="*/ 0 w 46"/>
                <a:gd name="T41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6" h="52">
                  <a:moveTo>
                    <a:pt x="0" y="0"/>
                  </a:moveTo>
                  <a:lnTo>
                    <a:pt x="14" y="0"/>
                  </a:lnTo>
                  <a:lnTo>
                    <a:pt x="30" y="29"/>
                  </a:lnTo>
                  <a:lnTo>
                    <a:pt x="30" y="29"/>
                  </a:lnTo>
                  <a:lnTo>
                    <a:pt x="34" y="37"/>
                  </a:lnTo>
                  <a:lnTo>
                    <a:pt x="34" y="37"/>
                  </a:lnTo>
                  <a:lnTo>
                    <a:pt x="34" y="29"/>
                  </a:lnTo>
                  <a:lnTo>
                    <a:pt x="34" y="0"/>
                  </a:lnTo>
                  <a:lnTo>
                    <a:pt x="46" y="0"/>
                  </a:lnTo>
                  <a:lnTo>
                    <a:pt x="46" y="52"/>
                  </a:lnTo>
                  <a:lnTo>
                    <a:pt x="33" y="52"/>
                  </a:lnTo>
                  <a:lnTo>
                    <a:pt x="15" y="21"/>
                  </a:lnTo>
                  <a:lnTo>
                    <a:pt x="15" y="21"/>
                  </a:lnTo>
                  <a:lnTo>
                    <a:pt x="13" y="19"/>
                  </a:lnTo>
                  <a:lnTo>
                    <a:pt x="13" y="19"/>
                  </a:lnTo>
                  <a:lnTo>
                    <a:pt x="11" y="15"/>
                  </a:lnTo>
                  <a:lnTo>
                    <a:pt x="11" y="15"/>
                  </a:lnTo>
                  <a:lnTo>
                    <a:pt x="11" y="23"/>
                  </a:lnTo>
                  <a:lnTo>
                    <a:pt x="11" y="52"/>
                  </a:lnTo>
                  <a:lnTo>
                    <a:pt x="0" y="5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T America" panose="00000500000000000000" pitchFamily="2" charset="0"/>
                <a:ea typeface="+mn-ea"/>
                <a:cs typeface="+mn-cs"/>
              </a:endParaRPr>
            </a:p>
          </p:txBody>
        </p:sp>
        <p:sp>
          <p:nvSpPr>
            <p:cNvPr id="136" name="Freeform 98"/>
            <p:cNvSpPr>
              <a:spLocks/>
            </p:cNvSpPr>
            <p:nvPr/>
          </p:nvSpPr>
          <p:spPr bwMode="auto">
            <a:xfrm>
              <a:off x="1566" y="4720"/>
              <a:ext cx="50" cy="54"/>
            </a:xfrm>
            <a:custGeom>
              <a:avLst/>
              <a:gdLst>
                <a:gd name="T0" fmla="*/ 12 w 50"/>
                <a:gd name="T1" fmla="*/ 51 h 54"/>
                <a:gd name="T2" fmla="*/ 3 w 50"/>
                <a:gd name="T3" fmla="*/ 42 h 54"/>
                <a:gd name="T4" fmla="*/ 2 w 50"/>
                <a:gd name="T5" fmla="*/ 35 h 54"/>
                <a:gd name="T6" fmla="*/ 0 w 50"/>
                <a:gd name="T7" fmla="*/ 26 h 54"/>
                <a:gd name="T8" fmla="*/ 4 w 50"/>
                <a:gd name="T9" fmla="*/ 12 h 54"/>
                <a:gd name="T10" fmla="*/ 8 w 50"/>
                <a:gd name="T11" fmla="*/ 7 h 54"/>
                <a:gd name="T12" fmla="*/ 13 w 50"/>
                <a:gd name="T13" fmla="*/ 2 h 54"/>
                <a:gd name="T14" fmla="*/ 27 w 50"/>
                <a:gd name="T15" fmla="*/ 0 h 54"/>
                <a:gd name="T16" fmla="*/ 34 w 50"/>
                <a:gd name="T17" fmla="*/ 0 h 54"/>
                <a:gd name="T18" fmla="*/ 39 w 50"/>
                <a:gd name="T19" fmla="*/ 1 h 54"/>
                <a:gd name="T20" fmla="*/ 46 w 50"/>
                <a:gd name="T21" fmla="*/ 7 h 54"/>
                <a:gd name="T22" fmla="*/ 49 w 50"/>
                <a:gd name="T23" fmla="*/ 11 h 54"/>
                <a:gd name="T24" fmla="*/ 37 w 50"/>
                <a:gd name="T25" fmla="*/ 17 h 54"/>
                <a:gd name="T26" fmla="*/ 36 w 50"/>
                <a:gd name="T27" fmla="*/ 14 h 54"/>
                <a:gd name="T28" fmla="*/ 34 w 50"/>
                <a:gd name="T29" fmla="*/ 11 h 54"/>
                <a:gd name="T30" fmla="*/ 27 w 50"/>
                <a:gd name="T31" fmla="*/ 8 h 54"/>
                <a:gd name="T32" fmla="*/ 21 w 50"/>
                <a:gd name="T33" fmla="*/ 10 h 54"/>
                <a:gd name="T34" fmla="*/ 17 w 50"/>
                <a:gd name="T35" fmla="*/ 14 h 54"/>
                <a:gd name="T36" fmla="*/ 13 w 50"/>
                <a:gd name="T37" fmla="*/ 26 h 54"/>
                <a:gd name="T38" fmla="*/ 14 w 50"/>
                <a:gd name="T39" fmla="*/ 34 h 54"/>
                <a:gd name="T40" fmla="*/ 17 w 50"/>
                <a:gd name="T41" fmla="*/ 40 h 54"/>
                <a:gd name="T42" fmla="*/ 27 w 50"/>
                <a:gd name="T43" fmla="*/ 45 h 54"/>
                <a:gd name="T44" fmla="*/ 30 w 50"/>
                <a:gd name="T45" fmla="*/ 44 h 54"/>
                <a:gd name="T46" fmla="*/ 34 w 50"/>
                <a:gd name="T47" fmla="*/ 43 h 54"/>
                <a:gd name="T48" fmla="*/ 37 w 50"/>
                <a:gd name="T49" fmla="*/ 39 h 54"/>
                <a:gd name="T50" fmla="*/ 39 w 50"/>
                <a:gd name="T51" fmla="*/ 34 h 54"/>
                <a:gd name="T52" fmla="*/ 26 w 50"/>
                <a:gd name="T53" fmla="*/ 33 h 54"/>
                <a:gd name="T54" fmla="*/ 50 w 50"/>
                <a:gd name="T55" fmla="*/ 24 h 54"/>
                <a:gd name="T56" fmla="*/ 41 w 50"/>
                <a:gd name="T57" fmla="*/ 53 h 54"/>
                <a:gd name="T58" fmla="*/ 40 w 50"/>
                <a:gd name="T59" fmla="*/ 45 h 54"/>
                <a:gd name="T60" fmla="*/ 35 w 50"/>
                <a:gd name="T61" fmla="*/ 52 h 54"/>
                <a:gd name="T62" fmla="*/ 30 w 50"/>
                <a:gd name="T63" fmla="*/ 54 h 54"/>
                <a:gd name="T64" fmla="*/ 25 w 50"/>
                <a:gd name="T65" fmla="*/ 54 h 54"/>
                <a:gd name="T66" fmla="*/ 12 w 50"/>
                <a:gd name="T67" fmla="*/ 51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50" h="54">
                  <a:moveTo>
                    <a:pt x="12" y="51"/>
                  </a:moveTo>
                  <a:lnTo>
                    <a:pt x="12" y="51"/>
                  </a:lnTo>
                  <a:lnTo>
                    <a:pt x="7" y="47"/>
                  </a:lnTo>
                  <a:lnTo>
                    <a:pt x="3" y="42"/>
                  </a:lnTo>
                  <a:lnTo>
                    <a:pt x="3" y="42"/>
                  </a:lnTo>
                  <a:lnTo>
                    <a:pt x="2" y="35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2" y="19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8" y="7"/>
                  </a:lnTo>
                  <a:lnTo>
                    <a:pt x="13" y="2"/>
                  </a:lnTo>
                  <a:lnTo>
                    <a:pt x="13" y="2"/>
                  </a:lnTo>
                  <a:lnTo>
                    <a:pt x="20" y="0"/>
                  </a:lnTo>
                  <a:lnTo>
                    <a:pt x="27" y="0"/>
                  </a:lnTo>
                  <a:lnTo>
                    <a:pt x="27" y="0"/>
                  </a:lnTo>
                  <a:lnTo>
                    <a:pt x="34" y="0"/>
                  </a:lnTo>
                  <a:lnTo>
                    <a:pt x="39" y="1"/>
                  </a:lnTo>
                  <a:lnTo>
                    <a:pt x="39" y="1"/>
                  </a:lnTo>
                  <a:lnTo>
                    <a:pt x="43" y="3"/>
                  </a:lnTo>
                  <a:lnTo>
                    <a:pt x="46" y="7"/>
                  </a:lnTo>
                  <a:lnTo>
                    <a:pt x="46" y="7"/>
                  </a:lnTo>
                  <a:lnTo>
                    <a:pt x="49" y="11"/>
                  </a:lnTo>
                  <a:lnTo>
                    <a:pt x="50" y="15"/>
                  </a:lnTo>
                  <a:lnTo>
                    <a:pt x="37" y="17"/>
                  </a:lnTo>
                  <a:lnTo>
                    <a:pt x="37" y="17"/>
                  </a:lnTo>
                  <a:lnTo>
                    <a:pt x="36" y="14"/>
                  </a:lnTo>
                  <a:lnTo>
                    <a:pt x="34" y="11"/>
                  </a:lnTo>
                  <a:lnTo>
                    <a:pt x="34" y="11"/>
                  </a:lnTo>
                  <a:lnTo>
                    <a:pt x="31" y="10"/>
                  </a:lnTo>
                  <a:lnTo>
                    <a:pt x="27" y="8"/>
                  </a:lnTo>
                  <a:lnTo>
                    <a:pt x="27" y="8"/>
                  </a:lnTo>
                  <a:lnTo>
                    <a:pt x="21" y="10"/>
                  </a:lnTo>
                  <a:lnTo>
                    <a:pt x="17" y="14"/>
                  </a:lnTo>
                  <a:lnTo>
                    <a:pt x="17" y="14"/>
                  </a:lnTo>
                  <a:lnTo>
                    <a:pt x="14" y="19"/>
                  </a:lnTo>
                  <a:lnTo>
                    <a:pt x="13" y="26"/>
                  </a:lnTo>
                  <a:lnTo>
                    <a:pt x="13" y="26"/>
                  </a:lnTo>
                  <a:lnTo>
                    <a:pt x="14" y="34"/>
                  </a:lnTo>
                  <a:lnTo>
                    <a:pt x="17" y="40"/>
                  </a:lnTo>
                  <a:lnTo>
                    <a:pt x="17" y="40"/>
                  </a:lnTo>
                  <a:lnTo>
                    <a:pt x="21" y="44"/>
                  </a:lnTo>
                  <a:lnTo>
                    <a:pt x="27" y="45"/>
                  </a:lnTo>
                  <a:lnTo>
                    <a:pt x="27" y="45"/>
                  </a:lnTo>
                  <a:lnTo>
                    <a:pt x="30" y="44"/>
                  </a:lnTo>
                  <a:lnTo>
                    <a:pt x="34" y="43"/>
                  </a:lnTo>
                  <a:lnTo>
                    <a:pt x="34" y="43"/>
                  </a:lnTo>
                  <a:lnTo>
                    <a:pt x="36" y="42"/>
                  </a:lnTo>
                  <a:lnTo>
                    <a:pt x="37" y="39"/>
                  </a:lnTo>
                  <a:lnTo>
                    <a:pt x="37" y="39"/>
                  </a:lnTo>
                  <a:lnTo>
                    <a:pt x="39" y="34"/>
                  </a:lnTo>
                  <a:lnTo>
                    <a:pt x="39" y="33"/>
                  </a:lnTo>
                  <a:lnTo>
                    <a:pt x="26" y="33"/>
                  </a:lnTo>
                  <a:lnTo>
                    <a:pt x="26" y="24"/>
                  </a:lnTo>
                  <a:lnTo>
                    <a:pt x="50" y="24"/>
                  </a:lnTo>
                  <a:lnTo>
                    <a:pt x="50" y="53"/>
                  </a:lnTo>
                  <a:lnTo>
                    <a:pt x="41" y="53"/>
                  </a:lnTo>
                  <a:lnTo>
                    <a:pt x="40" y="45"/>
                  </a:lnTo>
                  <a:lnTo>
                    <a:pt x="40" y="45"/>
                  </a:lnTo>
                  <a:lnTo>
                    <a:pt x="37" y="49"/>
                  </a:lnTo>
                  <a:lnTo>
                    <a:pt x="35" y="52"/>
                  </a:lnTo>
                  <a:lnTo>
                    <a:pt x="35" y="52"/>
                  </a:lnTo>
                  <a:lnTo>
                    <a:pt x="30" y="54"/>
                  </a:lnTo>
                  <a:lnTo>
                    <a:pt x="25" y="54"/>
                  </a:lnTo>
                  <a:lnTo>
                    <a:pt x="25" y="54"/>
                  </a:lnTo>
                  <a:lnTo>
                    <a:pt x="17" y="53"/>
                  </a:lnTo>
                  <a:lnTo>
                    <a:pt x="12" y="51"/>
                  </a:lnTo>
                  <a:lnTo>
                    <a:pt x="12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T America" panose="00000500000000000000" pitchFamily="2" charset="0"/>
                <a:ea typeface="+mn-ea"/>
                <a:cs typeface="+mn-cs"/>
              </a:endParaRPr>
            </a:p>
          </p:txBody>
        </p:sp>
        <p:sp>
          <p:nvSpPr>
            <p:cNvPr id="137" name="Freeform 99"/>
            <p:cNvSpPr>
              <a:spLocks/>
            </p:cNvSpPr>
            <p:nvPr/>
          </p:nvSpPr>
          <p:spPr bwMode="auto">
            <a:xfrm>
              <a:off x="1572" y="4652"/>
              <a:ext cx="85" cy="59"/>
            </a:xfrm>
            <a:custGeom>
              <a:avLst/>
              <a:gdLst>
                <a:gd name="T0" fmla="*/ 80 w 85"/>
                <a:gd name="T1" fmla="*/ 59 h 59"/>
                <a:gd name="T2" fmla="*/ 80 w 85"/>
                <a:gd name="T3" fmla="*/ 59 h 59"/>
                <a:gd name="T4" fmla="*/ 77 w 85"/>
                <a:gd name="T5" fmla="*/ 57 h 59"/>
                <a:gd name="T6" fmla="*/ 76 w 85"/>
                <a:gd name="T7" fmla="*/ 55 h 59"/>
                <a:gd name="T8" fmla="*/ 62 w 85"/>
                <a:gd name="T9" fmla="*/ 10 h 59"/>
                <a:gd name="T10" fmla="*/ 5 w 85"/>
                <a:gd name="T11" fmla="*/ 10 h 59"/>
                <a:gd name="T12" fmla="*/ 5 w 85"/>
                <a:gd name="T13" fmla="*/ 10 h 59"/>
                <a:gd name="T14" fmla="*/ 3 w 85"/>
                <a:gd name="T15" fmla="*/ 10 h 59"/>
                <a:gd name="T16" fmla="*/ 2 w 85"/>
                <a:gd name="T17" fmla="*/ 9 h 59"/>
                <a:gd name="T18" fmla="*/ 1 w 85"/>
                <a:gd name="T19" fmla="*/ 8 h 59"/>
                <a:gd name="T20" fmla="*/ 0 w 85"/>
                <a:gd name="T21" fmla="*/ 5 h 59"/>
                <a:gd name="T22" fmla="*/ 0 w 85"/>
                <a:gd name="T23" fmla="*/ 5 h 59"/>
                <a:gd name="T24" fmla="*/ 1 w 85"/>
                <a:gd name="T25" fmla="*/ 4 h 59"/>
                <a:gd name="T26" fmla="*/ 2 w 85"/>
                <a:gd name="T27" fmla="*/ 1 h 59"/>
                <a:gd name="T28" fmla="*/ 3 w 85"/>
                <a:gd name="T29" fmla="*/ 0 h 59"/>
                <a:gd name="T30" fmla="*/ 5 w 85"/>
                <a:gd name="T31" fmla="*/ 0 h 59"/>
                <a:gd name="T32" fmla="*/ 70 w 85"/>
                <a:gd name="T33" fmla="*/ 0 h 59"/>
                <a:gd name="T34" fmla="*/ 85 w 85"/>
                <a:gd name="T35" fmla="*/ 51 h 59"/>
                <a:gd name="T36" fmla="*/ 85 w 85"/>
                <a:gd name="T37" fmla="*/ 51 h 59"/>
                <a:gd name="T38" fmla="*/ 85 w 85"/>
                <a:gd name="T39" fmla="*/ 54 h 59"/>
                <a:gd name="T40" fmla="*/ 85 w 85"/>
                <a:gd name="T41" fmla="*/ 55 h 59"/>
                <a:gd name="T42" fmla="*/ 84 w 85"/>
                <a:gd name="T43" fmla="*/ 57 h 59"/>
                <a:gd name="T44" fmla="*/ 82 w 85"/>
                <a:gd name="T45" fmla="*/ 57 h 59"/>
                <a:gd name="T46" fmla="*/ 82 w 85"/>
                <a:gd name="T47" fmla="*/ 57 h 59"/>
                <a:gd name="T48" fmla="*/ 80 w 85"/>
                <a:gd name="T49" fmla="*/ 59 h 59"/>
                <a:gd name="T50" fmla="*/ 80 w 85"/>
                <a:gd name="T51" fmla="*/ 59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85" h="59">
                  <a:moveTo>
                    <a:pt x="80" y="59"/>
                  </a:moveTo>
                  <a:lnTo>
                    <a:pt x="80" y="59"/>
                  </a:lnTo>
                  <a:lnTo>
                    <a:pt x="77" y="57"/>
                  </a:lnTo>
                  <a:lnTo>
                    <a:pt x="76" y="55"/>
                  </a:lnTo>
                  <a:lnTo>
                    <a:pt x="62" y="10"/>
                  </a:lnTo>
                  <a:lnTo>
                    <a:pt x="5" y="10"/>
                  </a:lnTo>
                  <a:lnTo>
                    <a:pt x="5" y="10"/>
                  </a:lnTo>
                  <a:lnTo>
                    <a:pt x="3" y="10"/>
                  </a:lnTo>
                  <a:lnTo>
                    <a:pt x="2" y="9"/>
                  </a:lnTo>
                  <a:lnTo>
                    <a:pt x="1" y="8"/>
                  </a:lnTo>
                  <a:lnTo>
                    <a:pt x="0" y="5"/>
                  </a:lnTo>
                  <a:lnTo>
                    <a:pt x="0" y="5"/>
                  </a:lnTo>
                  <a:lnTo>
                    <a:pt x="1" y="4"/>
                  </a:lnTo>
                  <a:lnTo>
                    <a:pt x="2" y="1"/>
                  </a:lnTo>
                  <a:lnTo>
                    <a:pt x="3" y="0"/>
                  </a:lnTo>
                  <a:lnTo>
                    <a:pt x="5" y="0"/>
                  </a:lnTo>
                  <a:lnTo>
                    <a:pt x="70" y="0"/>
                  </a:lnTo>
                  <a:lnTo>
                    <a:pt x="85" y="51"/>
                  </a:lnTo>
                  <a:lnTo>
                    <a:pt x="85" y="51"/>
                  </a:lnTo>
                  <a:lnTo>
                    <a:pt x="85" y="54"/>
                  </a:lnTo>
                  <a:lnTo>
                    <a:pt x="85" y="55"/>
                  </a:lnTo>
                  <a:lnTo>
                    <a:pt x="84" y="57"/>
                  </a:lnTo>
                  <a:lnTo>
                    <a:pt x="82" y="57"/>
                  </a:lnTo>
                  <a:lnTo>
                    <a:pt x="82" y="57"/>
                  </a:lnTo>
                  <a:lnTo>
                    <a:pt x="80" y="59"/>
                  </a:lnTo>
                  <a:lnTo>
                    <a:pt x="80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T America" panose="00000500000000000000" pitchFamily="2" charset="0"/>
                <a:ea typeface="+mn-ea"/>
                <a:cs typeface="+mn-cs"/>
              </a:endParaRPr>
            </a:p>
          </p:txBody>
        </p:sp>
        <p:sp>
          <p:nvSpPr>
            <p:cNvPr id="138" name="Freeform 100"/>
            <p:cNvSpPr>
              <a:spLocks/>
            </p:cNvSpPr>
            <p:nvPr/>
          </p:nvSpPr>
          <p:spPr bwMode="auto">
            <a:xfrm>
              <a:off x="1269" y="4881"/>
              <a:ext cx="47" cy="49"/>
            </a:xfrm>
            <a:custGeom>
              <a:avLst/>
              <a:gdLst>
                <a:gd name="T0" fmla="*/ 42 w 47"/>
                <a:gd name="T1" fmla="*/ 49 h 49"/>
                <a:gd name="T2" fmla="*/ 42 w 47"/>
                <a:gd name="T3" fmla="*/ 49 h 49"/>
                <a:gd name="T4" fmla="*/ 39 w 47"/>
                <a:gd name="T5" fmla="*/ 46 h 49"/>
                <a:gd name="T6" fmla="*/ 37 w 47"/>
                <a:gd name="T7" fmla="*/ 44 h 49"/>
                <a:gd name="T8" fmla="*/ 37 w 47"/>
                <a:gd name="T9" fmla="*/ 44 h 49"/>
                <a:gd name="T10" fmla="*/ 37 w 47"/>
                <a:gd name="T11" fmla="*/ 37 h 49"/>
                <a:gd name="T12" fmla="*/ 35 w 47"/>
                <a:gd name="T13" fmla="*/ 31 h 49"/>
                <a:gd name="T14" fmla="*/ 32 w 47"/>
                <a:gd name="T15" fmla="*/ 25 h 49"/>
                <a:gd name="T16" fmla="*/ 28 w 47"/>
                <a:gd name="T17" fmla="*/ 19 h 49"/>
                <a:gd name="T18" fmla="*/ 23 w 47"/>
                <a:gd name="T19" fmla="*/ 16 h 49"/>
                <a:gd name="T20" fmla="*/ 18 w 47"/>
                <a:gd name="T21" fmla="*/ 12 h 49"/>
                <a:gd name="T22" fmla="*/ 12 w 47"/>
                <a:gd name="T23" fmla="*/ 11 h 49"/>
                <a:gd name="T24" fmla="*/ 5 w 47"/>
                <a:gd name="T25" fmla="*/ 9 h 49"/>
                <a:gd name="T26" fmla="*/ 5 w 47"/>
                <a:gd name="T27" fmla="*/ 9 h 49"/>
                <a:gd name="T28" fmla="*/ 2 w 47"/>
                <a:gd name="T29" fmla="*/ 8 h 49"/>
                <a:gd name="T30" fmla="*/ 0 w 47"/>
                <a:gd name="T31" fmla="*/ 5 h 49"/>
                <a:gd name="T32" fmla="*/ 0 w 47"/>
                <a:gd name="T33" fmla="*/ 5 h 49"/>
                <a:gd name="T34" fmla="*/ 2 w 47"/>
                <a:gd name="T35" fmla="*/ 2 h 49"/>
                <a:gd name="T36" fmla="*/ 5 w 47"/>
                <a:gd name="T37" fmla="*/ 0 h 49"/>
                <a:gd name="T38" fmla="*/ 5 w 47"/>
                <a:gd name="T39" fmla="*/ 0 h 49"/>
                <a:gd name="T40" fmla="*/ 14 w 47"/>
                <a:gd name="T41" fmla="*/ 2 h 49"/>
                <a:gd name="T42" fmla="*/ 22 w 47"/>
                <a:gd name="T43" fmla="*/ 4 h 49"/>
                <a:gd name="T44" fmla="*/ 28 w 47"/>
                <a:gd name="T45" fmla="*/ 8 h 49"/>
                <a:gd name="T46" fmla="*/ 35 w 47"/>
                <a:gd name="T47" fmla="*/ 13 h 49"/>
                <a:gd name="T48" fmla="*/ 40 w 47"/>
                <a:gd name="T49" fmla="*/ 19 h 49"/>
                <a:gd name="T50" fmla="*/ 44 w 47"/>
                <a:gd name="T51" fmla="*/ 27 h 49"/>
                <a:gd name="T52" fmla="*/ 46 w 47"/>
                <a:gd name="T53" fmla="*/ 35 h 49"/>
                <a:gd name="T54" fmla="*/ 47 w 47"/>
                <a:gd name="T55" fmla="*/ 44 h 49"/>
                <a:gd name="T56" fmla="*/ 47 w 47"/>
                <a:gd name="T57" fmla="*/ 44 h 49"/>
                <a:gd name="T58" fmla="*/ 46 w 47"/>
                <a:gd name="T59" fmla="*/ 46 h 49"/>
                <a:gd name="T60" fmla="*/ 42 w 47"/>
                <a:gd name="T61" fmla="*/ 49 h 49"/>
                <a:gd name="T62" fmla="*/ 42 w 47"/>
                <a:gd name="T63" fmla="*/ 4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7" h="49">
                  <a:moveTo>
                    <a:pt x="42" y="49"/>
                  </a:moveTo>
                  <a:lnTo>
                    <a:pt x="42" y="49"/>
                  </a:lnTo>
                  <a:lnTo>
                    <a:pt x="39" y="46"/>
                  </a:lnTo>
                  <a:lnTo>
                    <a:pt x="37" y="44"/>
                  </a:lnTo>
                  <a:lnTo>
                    <a:pt x="37" y="44"/>
                  </a:lnTo>
                  <a:lnTo>
                    <a:pt x="37" y="37"/>
                  </a:lnTo>
                  <a:lnTo>
                    <a:pt x="35" y="31"/>
                  </a:lnTo>
                  <a:lnTo>
                    <a:pt x="32" y="25"/>
                  </a:lnTo>
                  <a:lnTo>
                    <a:pt x="28" y="19"/>
                  </a:lnTo>
                  <a:lnTo>
                    <a:pt x="23" y="16"/>
                  </a:lnTo>
                  <a:lnTo>
                    <a:pt x="18" y="12"/>
                  </a:lnTo>
                  <a:lnTo>
                    <a:pt x="12" y="11"/>
                  </a:lnTo>
                  <a:lnTo>
                    <a:pt x="5" y="9"/>
                  </a:lnTo>
                  <a:lnTo>
                    <a:pt x="5" y="9"/>
                  </a:lnTo>
                  <a:lnTo>
                    <a:pt x="2" y="8"/>
                  </a:lnTo>
                  <a:lnTo>
                    <a:pt x="0" y="5"/>
                  </a:lnTo>
                  <a:lnTo>
                    <a:pt x="0" y="5"/>
                  </a:lnTo>
                  <a:lnTo>
                    <a:pt x="2" y="2"/>
                  </a:lnTo>
                  <a:lnTo>
                    <a:pt x="5" y="0"/>
                  </a:lnTo>
                  <a:lnTo>
                    <a:pt x="5" y="0"/>
                  </a:lnTo>
                  <a:lnTo>
                    <a:pt x="14" y="2"/>
                  </a:lnTo>
                  <a:lnTo>
                    <a:pt x="22" y="4"/>
                  </a:lnTo>
                  <a:lnTo>
                    <a:pt x="28" y="8"/>
                  </a:lnTo>
                  <a:lnTo>
                    <a:pt x="35" y="13"/>
                  </a:lnTo>
                  <a:lnTo>
                    <a:pt x="40" y="19"/>
                  </a:lnTo>
                  <a:lnTo>
                    <a:pt x="44" y="27"/>
                  </a:lnTo>
                  <a:lnTo>
                    <a:pt x="46" y="35"/>
                  </a:lnTo>
                  <a:lnTo>
                    <a:pt x="47" y="44"/>
                  </a:lnTo>
                  <a:lnTo>
                    <a:pt x="47" y="44"/>
                  </a:lnTo>
                  <a:lnTo>
                    <a:pt x="46" y="46"/>
                  </a:lnTo>
                  <a:lnTo>
                    <a:pt x="42" y="49"/>
                  </a:lnTo>
                  <a:lnTo>
                    <a:pt x="42" y="4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T America" panose="00000500000000000000" pitchFamily="2" charset="0"/>
                <a:ea typeface="+mn-ea"/>
                <a:cs typeface="+mn-cs"/>
              </a:endParaRPr>
            </a:p>
          </p:txBody>
        </p:sp>
        <p:sp>
          <p:nvSpPr>
            <p:cNvPr id="139" name="Freeform 101"/>
            <p:cNvSpPr>
              <a:spLocks/>
            </p:cNvSpPr>
            <p:nvPr/>
          </p:nvSpPr>
          <p:spPr bwMode="auto">
            <a:xfrm>
              <a:off x="1612" y="4881"/>
              <a:ext cx="48" cy="49"/>
            </a:xfrm>
            <a:custGeom>
              <a:avLst/>
              <a:gdLst>
                <a:gd name="T0" fmla="*/ 42 w 48"/>
                <a:gd name="T1" fmla="*/ 49 h 49"/>
                <a:gd name="T2" fmla="*/ 42 w 48"/>
                <a:gd name="T3" fmla="*/ 49 h 49"/>
                <a:gd name="T4" fmla="*/ 39 w 48"/>
                <a:gd name="T5" fmla="*/ 46 h 49"/>
                <a:gd name="T6" fmla="*/ 37 w 48"/>
                <a:gd name="T7" fmla="*/ 44 h 49"/>
                <a:gd name="T8" fmla="*/ 37 w 48"/>
                <a:gd name="T9" fmla="*/ 44 h 49"/>
                <a:gd name="T10" fmla="*/ 37 w 48"/>
                <a:gd name="T11" fmla="*/ 37 h 49"/>
                <a:gd name="T12" fmla="*/ 35 w 48"/>
                <a:gd name="T13" fmla="*/ 31 h 49"/>
                <a:gd name="T14" fmla="*/ 32 w 48"/>
                <a:gd name="T15" fmla="*/ 25 h 49"/>
                <a:gd name="T16" fmla="*/ 28 w 48"/>
                <a:gd name="T17" fmla="*/ 19 h 49"/>
                <a:gd name="T18" fmla="*/ 23 w 48"/>
                <a:gd name="T19" fmla="*/ 16 h 49"/>
                <a:gd name="T20" fmla="*/ 18 w 48"/>
                <a:gd name="T21" fmla="*/ 12 h 49"/>
                <a:gd name="T22" fmla="*/ 12 w 48"/>
                <a:gd name="T23" fmla="*/ 11 h 49"/>
                <a:gd name="T24" fmla="*/ 5 w 48"/>
                <a:gd name="T25" fmla="*/ 9 h 49"/>
                <a:gd name="T26" fmla="*/ 5 w 48"/>
                <a:gd name="T27" fmla="*/ 9 h 49"/>
                <a:gd name="T28" fmla="*/ 2 w 48"/>
                <a:gd name="T29" fmla="*/ 8 h 49"/>
                <a:gd name="T30" fmla="*/ 0 w 48"/>
                <a:gd name="T31" fmla="*/ 5 h 49"/>
                <a:gd name="T32" fmla="*/ 0 w 48"/>
                <a:gd name="T33" fmla="*/ 5 h 49"/>
                <a:gd name="T34" fmla="*/ 2 w 48"/>
                <a:gd name="T35" fmla="*/ 2 h 49"/>
                <a:gd name="T36" fmla="*/ 5 w 48"/>
                <a:gd name="T37" fmla="*/ 0 h 49"/>
                <a:gd name="T38" fmla="*/ 5 w 48"/>
                <a:gd name="T39" fmla="*/ 0 h 49"/>
                <a:gd name="T40" fmla="*/ 14 w 48"/>
                <a:gd name="T41" fmla="*/ 2 h 49"/>
                <a:gd name="T42" fmla="*/ 22 w 48"/>
                <a:gd name="T43" fmla="*/ 4 h 49"/>
                <a:gd name="T44" fmla="*/ 28 w 48"/>
                <a:gd name="T45" fmla="*/ 8 h 49"/>
                <a:gd name="T46" fmla="*/ 35 w 48"/>
                <a:gd name="T47" fmla="*/ 13 h 49"/>
                <a:gd name="T48" fmla="*/ 40 w 48"/>
                <a:gd name="T49" fmla="*/ 19 h 49"/>
                <a:gd name="T50" fmla="*/ 44 w 48"/>
                <a:gd name="T51" fmla="*/ 27 h 49"/>
                <a:gd name="T52" fmla="*/ 46 w 48"/>
                <a:gd name="T53" fmla="*/ 35 h 49"/>
                <a:gd name="T54" fmla="*/ 48 w 48"/>
                <a:gd name="T55" fmla="*/ 44 h 49"/>
                <a:gd name="T56" fmla="*/ 48 w 48"/>
                <a:gd name="T57" fmla="*/ 44 h 49"/>
                <a:gd name="T58" fmla="*/ 46 w 48"/>
                <a:gd name="T59" fmla="*/ 46 h 49"/>
                <a:gd name="T60" fmla="*/ 42 w 48"/>
                <a:gd name="T61" fmla="*/ 49 h 49"/>
                <a:gd name="T62" fmla="*/ 42 w 48"/>
                <a:gd name="T63" fmla="*/ 4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8" h="49">
                  <a:moveTo>
                    <a:pt x="42" y="49"/>
                  </a:moveTo>
                  <a:lnTo>
                    <a:pt x="42" y="49"/>
                  </a:lnTo>
                  <a:lnTo>
                    <a:pt x="39" y="46"/>
                  </a:lnTo>
                  <a:lnTo>
                    <a:pt x="37" y="44"/>
                  </a:lnTo>
                  <a:lnTo>
                    <a:pt x="37" y="44"/>
                  </a:lnTo>
                  <a:lnTo>
                    <a:pt x="37" y="37"/>
                  </a:lnTo>
                  <a:lnTo>
                    <a:pt x="35" y="31"/>
                  </a:lnTo>
                  <a:lnTo>
                    <a:pt x="32" y="25"/>
                  </a:lnTo>
                  <a:lnTo>
                    <a:pt x="28" y="19"/>
                  </a:lnTo>
                  <a:lnTo>
                    <a:pt x="23" y="16"/>
                  </a:lnTo>
                  <a:lnTo>
                    <a:pt x="18" y="12"/>
                  </a:lnTo>
                  <a:lnTo>
                    <a:pt x="12" y="11"/>
                  </a:lnTo>
                  <a:lnTo>
                    <a:pt x="5" y="9"/>
                  </a:lnTo>
                  <a:lnTo>
                    <a:pt x="5" y="9"/>
                  </a:lnTo>
                  <a:lnTo>
                    <a:pt x="2" y="8"/>
                  </a:lnTo>
                  <a:lnTo>
                    <a:pt x="0" y="5"/>
                  </a:lnTo>
                  <a:lnTo>
                    <a:pt x="0" y="5"/>
                  </a:lnTo>
                  <a:lnTo>
                    <a:pt x="2" y="2"/>
                  </a:lnTo>
                  <a:lnTo>
                    <a:pt x="5" y="0"/>
                  </a:lnTo>
                  <a:lnTo>
                    <a:pt x="5" y="0"/>
                  </a:lnTo>
                  <a:lnTo>
                    <a:pt x="14" y="2"/>
                  </a:lnTo>
                  <a:lnTo>
                    <a:pt x="22" y="4"/>
                  </a:lnTo>
                  <a:lnTo>
                    <a:pt x="28" y="8"/>
                  </a:lnTo>
                  <a:lnTo>
                    <a:pt x="35" y="13"/>
                  </a:lnTo>
                  <a:lnTo>
                    <a:pt x="40" y="19"/>
                  </a:lnTo>
                  <a:lnTo>
                    <a:pt x="44" y="27"/>
                  </a:lnTo>
                  <a:lnTo>
                    <a:pt x="46" y="35"/>
                  </a:lnTo>
                  <a:lnTo>
                    <a:pt x="48" y="44"/>
                  </a:lnTo>
                  <a:lnTo>
                    <a:pt x="48" y="44"/>
                  </a:lnTo>
                  <a:lnTo>
                    <a:pt x="46" y="46"/>
                  </a:lnTo>
                  <a:lnTo>
                    <a:pt x="42" y="49"/>
                  </a:lnTo>
                  <a:lnTo>
                    <a:pt x="42" y="4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T America" panose="00000500000000000000" pitchFamily="2" charset="0"/>
                <a:ea typeface="+mn-ea"/>
                <a:cs typeface="+mn-cs"/>
              </a:endParaRPr>
            </a:p>
          </p:txBody>
        </p:sp>
      </p:grpSp>
      <p:grpSp>
        <p:nvGrpSpPr>
          <p:cNvPr id="141" name="Group 104"/>
          <p:cNvGrpSpPr>
            <a:grpSpLocks noChangeAspect="1"/>
          </p:cNvGrpSpPr>
          <p:nvPr/>
        </p:nvGrpSpPr>
        <p:grpSpPr bwMode="auto">
          <a:xfrm>
            <a:off x="7928619" y="1757123"/>
            <a:ext cx="819150" cy="796948"/>
            <a:chOff x="2781" y="2105"/>
            <a:chExt cx="701" cy="682"/>
          </a:xfrm>
          <a:solidFill>
            <a:schemeClr val="bg1"/>
          </a:solidFill>
        </p:grpSpPr>
        <p:sp>
          <p:nvSpPr>
            <p:cNvPr id="143" name="Freeform 105"/>
            <p:cNvSpPr>
              <a:spLocks noEditPoints="1"/>
            </p:cNvSpPr>
            <p:nvPr/>
          </p:nvSpPr>
          <p:spPr bwMode="auto">
            <a:xfrm>
              <a:off x="2931" y="2105"/>
              <a:ext cx="393" cy="534"/>
            </a:xfrm>
            <a:custGeom>
              <a:avLst/>
              <a:gdLst>
                <a:gd name="T0" fmla="*/ 359 w 393"/>
                <a:gd name="T1" fmla="*/ 305 h 534"/>
                <a:gd name="T2" fmla="*/ 373 w 393"/>
                <a:gd name="T3" fmla="*/ 281 h 534"/>
                <a:gd name="T4" fmla="*/ 383 w 393"/>
                <a:gd name="T5" fmla="*/ 255 h 534"/>
                <a:gd name="T6" fmla="*/ 390 w 393"/>
                <a:gd name="T7" fmla="*/ 227 h 534"/>
                <a:gd name="T8" fmla="*/ 393 w 393"/>
                <a:gd name="T9" fmla="*/ 200 h 534"/>
                <a:gd name="T10" fmla="*/ 392 w 393"/>
                <a:gd name="T11" fmla="*/ 186 h 534"/>
                <a:gd name="T12" fmla="*/ 390 w 393"/>
                <a:gd name="T13" fmla="*/ 160 h 534"/>
                <a:gd name="T14" fmla="*/ 383 w 393"/>
                <a:gd name="T15" fmla="*/ 133 h 534"/>
                <a:gd name="T16" fmla="*/ 373 w 393"/>
                <a:gd name="T17" fmla="*/ 108 h 534"/>
                <a:gd name="T18" fmla="*/ 366 w 393"/>
                <a:gd name="T19" fmla="*/ 96 h 534"/>
                <a:gd name="T20" fmla="*/ 342 w 393"/>
                <a:gd name="T21" fmla="*/ 65 h 534"/>
                <a:gd name="T22" fmla="*/ 322 w 393"/>
                <a:gd name="T23" fmla="*/ 45 h 534"/>
                <a:gd name="T24" fmla="*/ 302 w 393"/>
                <a:gd name="T25" fmla="*/ 29 h 534"/>
                <a:gd name="T26" fmla="*/ 290 w 393"/>
                <a:gd name="T27" fmla="*/ 23 h 534"/>
                <a:gd name="T28" fmla="*/ 264 w 393"/>
                <a:gd name="T29" fmla="*/ 11 h 534"/>
                <a:gd name="T30" fmla="*/ 238 w 393"/>
                <a:gd name="T31" fmla="*/ 4 h 534"/>
                <a:gd name="T32" fmla="*/ 212 w 393"/>
                <a:gd name="T33" fmla="*/ 1 h 534"/>
                <a:gd name="T34" fmla="*/ 184 w 393"/>
                <a:gd name="T35" fmla="*/ 0 h 534"/>
                <a:gd name="T36" fmla="*/ 172 w 393"/>
                <a:gd name="T37" fmla="*/ 1 h 534"/>
                <a:gd name="T38" fmla="*/ 145 w 393"/>
                <a:gd name="T39" fmla="*/ 5 h 534"/>
                <a:gd name="T40" fmla="*/ 120 w 393"/>
                <a:gd name="T41" fmla="*/ 14 h 534"/>
                <a:gd name="T42" fmla="*/ 96 w 393"/>
                <a:gd name="T43" fmla="*/ 27 h 534"/>
                <a:gd name="T44" fmla="*/ 73 w 393"/>
                <a:gd name="T45" fmla="*/ 42 h 534"/>
                <a:gd name="T46" fmla="*/ 53 w 393"/>
                <a:gd name="T47" fmla="*/ 60 h 534"/>
                <a:gd name="T48" fmla="*/ 37 w 393"/>
                <a:gd name="T49" fmla="*/ 81 h 534"/>
                <a:gd name="T50" fmla="*/ 22 w 393"/>
                <a:gd name="T51" fmla="*/ 103 h 534"/>
                <a:gd name="T52" fmla="*/ 17 w 393"/>
                <a:gd name="T53" fmla="*/ 116 h 534"/>
                <a:gd name="T54" fmla="*/ 9 w 393"/>
                <a:gd name="T55" fmla="*/ 141 h 534"/>
                <a:gd name="T56" fmla="*/ 3 w 393"/>
                <a:gd name="T57" fmla="*/ 168 h 534"/>
                <a:gd name="T58" fmla="*/ 0 w 393"/>
                <a:gd name="T59" fmla="*/ 195 h 534"/>
                <a:gd name="T60" fmla="*/ 2 w 393"/>
                <a:gd name="T61" fmla="*/ 222 h 534"/>
                <a:gd name="T62" fmla="*/ 5 w 393"/>
                <a:gd name="T63" fmla="*/ 236 h 534"/>
                <a:gd name="T64" fmla="*/ 14 w 393"/>
                <a:gd name="T65" fmla="*/ 262 h 534"/>
                <a:gd name="T66" fmla="*/ 25 w 393"/>
                <a:gd name="T67" fmla="*/ 288 h 534"/>
                <a:gd name="T68" fmla="*/ 48 w 393"/>
                <a:gd name="T69" fmla="*/ 323 h 534"/>
                <a:gd name="T70" fmla="*/ 193 w 393"/>
                <a:gd name="T71" fmla="*/ 526 h 534"/>
                <a:gd name="T72" fmla="*/ 198 w 393"/>
                <a:gd name="T73" fmla="*/ 534 h 534"/>
                <a:gd name="T74" fmla="*/ 339 w 393"/>
                <a:gd name="T75" fmla="*/ 333 h 534"/>
                <a:gd name="T76" fmla="*/ 359 w 393"/>
                <a:gd name="T77" fmla="*/ 305 h 534"/>
                <a:gd name="T78" fmla="*/ 196 w 393"/>
                <a:gd name="T79" fmla="*/ 135 h 534"/>
                <a:gd name="T80" fmla="*/ 205 w 393"/>
                <a:gd name="T81" fmla="*/ 136 h 534"/>
                <a:gd name="T82" fmla="*/ 221 w 393"/>
                <a:gd name="T83" fmla="*/ 141 h 534"/>
                <a:gd name="T84" fmla="*/ 229 w 393"/>
                <a:gd name="T85" fmla="*/ 146 h 534"/>
                <a:gd name="T86" fmla="*/ 244 w 393"/>
                <a:gd name="T87" fmla="*/ 159 h 534"/>
                <a:gd name="T88" fmla="*/ 253 w 393"/>
                <a:gd name="T89" fmla="*/ 176 h 534"/>
                <a:gd name="T90" fmla="*/ 255 w 393"/>
                <a:gd name="T91" fmla="*/ 184 h 534"/>
                <a:gd name="T92" fmla="*/ 256 w 393"/>
                <a:gd name="T93" fmla="*/ 203 h 534"/>
                <a:gd name="T94" fmla="*/ 251 w 393"/>
                <a:gd name="T95" fmla="*/ 221 h 534"/>
                <a:gd name="T96" fmla="*/ 240 w 393"/>
                <a:gd name="T97" fmla="*/ 237 h 534"/>
                <a:gd name="T98" fmla="*/ 234 w 393"/>
                <a:gd name="T99" fmla="*/ 243 h 534"/>
                <a:gd name="T100" fmla="*/ 216 w 393"/>
                <a:gd name="T101" fmla="*/ 252 h 534"/>
                <a:gd name="T102" fmla="*/ 196 w 393"/>
                <a:gd name="T103" fmla="*/ 256 h 534"/>
                <a:gd name="T104" fmla="*/ 186 w 393"/>
                <a:gd name="T105" fmla="*/ 255 h 534"/>
                <a:gd name="T106" fmla="*/ 169 w 393"/>
                <a:gd name="T107" fmla="*/ 249 h 534"/>
                <a:gd name="T108" fmla="*/ 154 w 393"/>
                <a:gd name="T109" fmla="*/ 238 h 534"/>
                <a:gd name="T110" fmla="*/ 144 w 393"/>
                <a:gd name="T111" fmla="*/ 223 h 534"/>
                <a:gd name="T112" fmla="*/ 138 w 393"/>
                <a:gd name="T113" fmla="*/ 207 h 534"/>
                <a:gd name="T114" fmla="*/ 137 w 393"/>
                <a:gd name="T115" fmla="*/ 189 h 534"/>
                <a:gd name="T116" fmla="*/ 141 w 393"/>
                <a:gd name="T117" fmla="*/ 172 h 534"/>
                <a:gd name="T118" fmla="*/ 151 w 393"/>
                <a:gd name="T119" fmla="*/ 156 h 534"/>
                <a:gd name="T120" fmla="*/ 158 w 393"/>
                <a:gd name="T121" fmla="*/ 150 h 534"/>
                <a:gd name="T122" fmla="*/ 176 w 393"/>
                <a:gd name="T123" fmla="*/ 139 h 534"/>
                <a:gd name="T124" fmla="*/ 196 w 393"/>
                <a:gd name="T125" fmla="*/ 135 h 5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93" h="534">
                  <a:moveTo>
                    <a:pt x="359" y="305"/>
                  </a:moveTo>
                  <a:lnTo>
                    <a:pt x="359" y="305"/>
                  </a:lnTo>
                  <a:lnTo>
                    <a:pt x="367" y="293"/>
                  </a:lnTo>
                  <a:lnTo>
                    <a:pt x="373" y="281"/>
                  </a:lnTo>
                  <a:lnTo>
                    <a:pt x="379" y="267"/>
                  </a:lnTo>
                  <a:lnTo>
                    <a:pt x="383" y="255"/>
                  </a:lnTo>
                  <a:lnTo>
                    <a:pt x="387" y="242"/>
                  </a:lnTo>
                  <a:lnTo>
                    <a:pt x="390" y="227"/>
                  </a:lnTo>
                  <a:lnTo>
                    <a:pt x="392" y="214"/>
                  </a:lnTo>
                  <a:lnTo>
                    <a:pt x="393" y="200"/>
                  </a:lnTo>
                  <a:lnTo>
                    <a:pt x="393" y="200"/>
                  </a:lnTo>
                  <a:lnTo>
                    <a:pt x="392" y="186"/>
                  </a:lnTo>
                  <a:lnTo>
                    <a:pt x="391" y="173"/>
                  </a:lnTo>
                  <a:lnTo>
                    <a:pt x="390" y="160"/>
                  </a:lnTo>
                  <a:lnTo>
                    <a:pt x="387" y="146"/>
                  </a:lnTo>
                  <a:lnTo>
                    <a:pt x="383" y="133"/>
                  </a:lnTo>
                  <a:lnTo>
                    <a:pt x="378" y="120"/>
                  </a:lnTo>
                  <a:lnTo>
                    <a:pt x="373" y="108"/>
                  </a:lnTo>
                  <a:lnTo>
                    <a:pt x="366" y="96"/>
                  </a:lnTo>
                  <a:lnTo>
                    <a:pt x="366" y="96"/>
                  </a:lnTo>
                  <a:lnTo>
                    <a:pt x="350" y="75"/>
                  </a:lnTo>
                  <a:lnTo>
                    <a:pt x="342" y="65"/>
                  </a:lnTo>
                  <a:lnTo>
                    <a:pt x="333" y="54"/>
                  </a:lnTo>
                  <a:lnTo>
                    <a:pt x="322" y="45"/>
                  </a:lnTo>
                  <a:lnTo>
                    <a:pt x="312" y="37"/>
                  </a:lnTo>
                  <a:lnTo>
                    <a:pt x="302" y="29"/>
                  </a:lnTo>
                  <a:lnTo>
                    <a:pt x="290" y="23"/>
                  </a:lnTo>
                  <a:lnTo>
                    <a:pt x="290" y="23"/>
                  </a:lnTo>
                  <a:lnTo>
                    <a:pt x="277" y="16"/>
                  </a:lnTo>
                  <a:lnTo>
                    <a:pt x="264" y="11"/>
                  </a:lnTo>
                  <a:lnTo>
                    <a:pt x="252" y="8"/>
                  </a:lnTo>
                  <a:lnTo>
                    <a:pt x="238" y="4"/>
                  </a:lnTo>
                  <a:lnTo>
                    <a:pt x="225" y="2"/>
                  </a:lnTo>
                  <a:lnTo>
                    <a:pt x="212" y="1"/>
                  </a:lnTo>
                  <a:lnTo>
                    <a:pt x="198" y="0"/>
                  </a:lnTo>
                  <a:lnTo>
                    <a:pt x="184" y="0"/>
                  </a:lnTo>
                  <a:lnTo>
                    <a:pt x="184" y="0"/>
                  </a:lnTo>
                  <a:lnTo>
                    <a:pt x="172" y="1"/>
                  </a:lnTo>
                  <a:lnTo>
                    <a:pt x="158" y="3"/>
                  </a:lnTo>
                  <a:lnTo>
                    <a:pt x="145" y="5"/>
                  </a:lnTo>
                  <a:lnTo>
                    <a:pt x="133" y="9"/>
                  </a:lnTo>
                  <a:lnTo>
                    <a:pt x="120" y="14"/>
                  </a:lnTo>
                  <a:lnTo>
                    <a:pt x="107" y="19"/>
                  </a:lnTo>
                  <a:lnTo>
                    <a:pt x="96" y="27"/>
                  </a:lnTo>
                  <a:lnTo>
                    <a:pt x="85" y="34"/>
                  </a:lnTo>
                  <a:lnTo>
                    <a:pt x="73" y="42"/>
                  </a:lnTo>
                  <a:lnTo>
                    <a:pt x="63" y="50"/>
                  </a:lnTo>
                  <a:lnTo>
                    <a:pt x="53" y="60"/>
                  </a:lnTo>
                  <a:lnTo>
                    <a:pt x="45" y="70"/>
                  </a:lnTo>
                  <a:lnTo>
                    <a:pt x="37" y="81"/>
                  </a:lnTo>
                  <a:lnTo>
                    <a:pt x="29" y="92"/>
                  </a:lnTo>
                  <a:lnTo>
                    <a:pt x="22" y="103"/>
                  </a:lnTo>
                  <a:lnTo>
                    <a:pt x="17" y="116"/>
                  </a:lnTo>
                  <a:lnTo>
                    <a:pt x="17" y="116"/>
                  </a:lnTo>
                  <a:lnTo>
                    <a:pt x="13" y="128"/>
                  </a:lnTo>
                  <a:lnTo>
                    <a:pt x="9" y="141"/>
                  </a:lnTo>
                  <a:lnTo>
                    <a:pt x="5" y="155"/>
                  </a:lnTo>
                  <a:lnTo>
                    <a:pt x="3" y="168"/>
                  </a:lnTo>
                  <a:lnTo>
                    <a:pt x="1" y="181"/>
                  </a:lnTo>
                  <a:lnTo>
                    <a:pt x="0" y="195"/>
                  </a:lnTo>
                  <a:lnTo>
                    <a:pt x="1" y="209"/>
                  </a:lnTo>
                  <a:lnTo>
                    <a:pt x="2" y="222"/>
                  </a:lnTo>
                  <a:lnTo>
                    <a:pt x="2" y="222"/>
                  </a:lnTo>
                  <a:lnTo>
                    <a:pt x="5" y="236"/>
                  </a:lnTo>
                  <a:lnTo>
                    <a:pt x="9" y="249"/>
                  </a:lnTo>
                  <a:lnTo>
                    <a:pt x="14" y="262"/>
                  </a:lnTo>
                  <a:lnTo>
                    <a:pt x="19" y="275"/>
                  </a:lnTo>
                  <a:lnTo>
                    <a:pt x="25" y="288"/>
                  </a:lnTo>
                  <a:lnTo>
                    <a:pt x="32" y="300"/>
                  </a:lnTo>
                  <a:lnTo>
                    <a:pt x="48" y="323"/>
                  </a:lnTo>
                  <a:lnTo>
                    <a:pt x="48" y="323"/>
                  </a:lnTo>
                  <a:lnTo>
                    <a:pt x="193" y="526"/>
                  </a:lnTo>
                  <a:lnTo>
                    <a:pt x="193" y="526"/>
                  </a:lnTo>
                  <a:lnTo>
                    <a:pt x="198" y="534"/>
                  </a:lnTo>
                  <a:lnTo>
                    <a:pt x="198" y="534"/>
                  </a:lnTo>
                  <a:lnTo>
                    <a:pt x="339" y="333"/>
                  </a:lnTo>
                  <a:lnTo>
                    <a:pt x="339" y="333"/>
                  </a:lnTo>
                  <a:lnTo>
                    <a:pt x="359" y="305"/>
                  </a:lnTo>
                  <a:lnTo>
                    <a:pt x="359" y="305"/>
                  </a:lnTo>
                  <a:close/>
                  <a:moveTo>
                    <a:pt x="196" y="135"/>
                  </a:moveTo>
                  <a:lnTo>
                    <a:pt x="196" y="135"/>
                  </a:lnTo>
                  <a:lnTo>
                    <a:pt x="205" y="136"/>
                  </a:lnTo>
                  <a:lnTo>
                    <a:pt x="214" y="138"/>
                  </a:lnTo>
                  <a:lnTo>
                    <a:pt x="221" y="141"/>
                  </a:lnTo>
                  <a:lnTo>
                    <a:pt x="229" y="146"/>
                  </a:lnTo>
                  <a:lnTo>
                    <a:pt x="229" y="146"/>
                  </a:lnTo>
                  <a:lnTo>
                    <a:pt x="237" y="152"/>
                  </a:lnTo>
                  <a:lnTo>
                    <a:pt x="244" y="159"/>
                  </a:lnTo>
                  <a:lnTo>
                    <a:pt x="249" y="167"/>
                  </a:lnTo>
                  <a:lnTo>
                    <a:pt x="253" y="176"/>
                  </a:lnTo>
                  <a:lnTo>
                    <a:pt x="253" y="176"/>
                  </a:lnTo>
                  <a:lnTo>
                    <a:pt x="255" y="184"/>
                  </a:lnTo>
                  <a:lnTo>
                    <a:pt x="256" y="194"/>
                  </a:lnTo>
                  <a:lnTo>
                    <a:pt x="256" y="203"/>
                  </a:lnTo>
                  <a:lnTo>
                    <a:pt x="254" y="212"/>
                  </a:lnTo>
                  <a:lnTo>
                    <a:pt x="251" y="221"/>
                  </a:lnTo>
                  <a:lnTo>
                    <a:pt x="247" y="229"/>
                  </a:lnTo>
                  <a:lnTo>
                    <a:pt x="240" y="237"/>
                  </a:lnTo>
                  <a:lnTo>
                    <a:pt x="234" y="243"/>
                  </a:lnTo>
                  <a:lnTo>
                    <a:pt x="234" y="243"/>
                  </a:lnTo>
                  <a:lnTo>
                    <a:pt x="225" y="248"/>
                  </a:lnTo>
                  <a:lnTo>
                    <a:pt x="216" y="252"/>
                  </a:lnTo>
                  <a:lnTo>
                    <a:pt x="207" y="255"/>
                  </a:lnTo>
                  <a:lnTo>
                    <a:pt x="196" y="256"/>
                  </a:lnTo>
                  <a:lnTo>
                    <a:pt x="196" y="256"/>
                  </a:lnTo>
                  <a:lnTo>
                    <a:pt x="186" y="255"/>
                  </a:lnTo>
                  <a:lnTo>
                    <a:pt x="177" y="252"/>
                  </a:lnTo>
                  <a:lnTo>
                    <a:pt x="169" y="249"/>
                  </a:lnTo>
                  <a:lnTo>
                    <a:pt x="162" y="244"/>
                  </a:lnTo>
                  <a:lnTo>
                    <a:pt x="154" y="238"/>
                  </a:lnTo>
                  <a:lnTo>
                    <a:pt x="149" y="230"/>
                  </a:lnTo>
                  <a:lnTo>
                    <a:pt x="144" y="223"/>
                  </a:lnTo>
                  <a:lnTo>
                    <a:pt x="141" y="215"/>
                  </a:lnTo>
                  <a:lnTo>
                    <a:pt x="138" y="207"/>
                  </a:lnTo>
                  <a:lnTo>
                    <a:pt x="137" y="198"/>
                  </a:lnTo>
                  <a:lnTo>
                    <a:pt x="137" y="189"/>
                  </a:lnTo>
                  <a:lnTo>
                    <a:pt x="138" y="180"/>
                  </a:lnTo>
                  <a:lnTo>
                    <a:pt x="141" y="172"/>
                  </a:lnTo>
                  <a:lnTo>
                    <a:pt x="145" y="164"/>
                  </a:lnTo>
                  <a:lnTo>
                    <a:pt x="151" y="156"/>
                  </a:lnTo>
                  <a:lnTo>
                    <a:pt x="158" y="150"/>
                  </a:lnTo>
                  <a:lnTo>
                    <a:pt x="158" y="150"/>
                  </a:lnTo>
                  <a:lnTo>
                    <a:pt x="168" y="143"/>
                  </a:lnTo>
                  <a:lnTo>
                    <a:pt x="176" y="139"/>
                  </a:lnTo>
                  <a:lnTo>
                    <a:pt x="186" y="137"/>
                  </a:lnTo>
                  <a:lnTo>
                    <a:pt x="196" y="135"/>
                  </a:lnTo>
                  <a:lnTo>
                    <a:pt x="196" y="13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T America" panose="00000500000000000000" pitchFamily="2" charset="0"/>
                <a:ea typeface="+mn-ea"/>
                <a:cs typeface="+mn-cs"/>
              </a:endParaRPr>
            </a:p>
          </p:txBody>
        </p:sp>
        <p:sp>
          <p:nvSpPr>
            <p:cNvPr id="144" name="Freeform 106"/>
            <p:cNvSpPr>
              <a:spLocks/>
            </p:cNvSpPr>
            <p:nvPr/>
          </p:nvSpPr>
          <p:spPr bwMode="auto">
            <a:xfrm>
              <a:off x="3297" y="2444"/>
              <a:ext cx="185" cy="323"/>
            </a:xfrm>
            <a:custGeom>
              <a:avLst/>
              <a:gdLst>
                <a:gd name="T0" fmla="*/ 111 w 185"/>
                <a:gd name="T1" fmla="*/ 29 h 323"/>
                <a:gd name="T2" fmla="*/ 0 w 185"/>
                <a:gd name="T3" fmla="*/ 0 h 323"/>
                <a:gd name="T4" fmla="*/ 35 w 185"/>
                <a:gd name="T5" fmla="*/ 263 h 323"/>
                <a:gd name="T6" fmla="*/ 185 w 185"/>
                <a:gd name="T7" fmla="*/ 323 h 323"/>
                <a:gd name="T8" fmla="*/ 111 w 185"/>
                <a:gd name="T9" fmla="*/ 29 h 323"/>
                <a:gd name="T10" fmla="*/ 111 w 185"/>
                <a:gd name="T11" fmla="*/ 29 h 3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5" h="323">
                  <a:moveTo>
                    <a:pt x="111" y="29"/>
                  </a:moveTo>
                  <a:lnTo>
                    <a:pt x="0" y="0"/>
                  </a:lnTo>
                  <a:lnTo>
                    <a:pt x="35" y="263"/>
                  </a:lnTo>
                  <a:lnTo>
                    <a:pt x="185" y="323"/>
                  </a:lnTo>
                  <a:lnTo>
                    <a:pt x="111" y="29"/>
                  </a:lnTo>
                  <a:lnTo>
                    <a:pt x="111" y="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T America" panose="00000500000000000000" pitchFamily="2" charset="0"/>
                <a:ea typeface="+mn-ea"/>
                <a:cs typeface="+mn-cs"/>
              </a:endParaRPr>
            </a:p>
          </p:txBody>
        </p:sp>
        <p:sp>
          <p:nvSpPr>
            <p:cNvPr id="145" name="Freeform 107"/>
            <p:cNvSpPr>
              <a:spLocks/>
            </p:cNvSpPr>
            <p:nvPr/>
          </p:nvSpPr>
          <p:spPr bwMode="auto">
            <a:xfrm>
              <a:off x="3140" y="2455"/>
              <a:ext cx="176" cy="332"/>
            </a:xfrm>
            <a:custGeom>
              <a:avLst/>
              <a:gdLst>
                <a:gd name="T0" fmla="*/ 0 w 176"/>
                <a:gd name="T1" fmla="*/ 200 h 332"/>
                <a:gd name="T2" fmla="*/ 0 w 176"/>
                <a:gd name="T3" fmla="*/ 332 h 332"/>
                <a:gd name="T4" fmla="*/ 176 w 176"/>
                <a:gd name="T5" fmla="*/ 249 h 332"/>
                <a:gd name="T6" fmla="*/ 176 w 176"/>
                <a:gd name="T7" fmla="*/ 249 h 332"/>
                <a:gd name="T8" fmla="*/ 140 w 176"/>
                <a:gd name="T9" fmla="*/ 0 h 332"/>
                <a:gd name="T10" fmla="*/ 0 w 176"/>
                <a:gd name="T11" fmla="*/ 200 h 332"/>
                <a:gd name="T12" fmla="*/ 0 w 176"/>
                <a:gd name="T13" fmla="*/ 200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6" h="332">
                  <a:moveTo>
                    <a:pt x="0" y="200"/>
                  </a:moveTo>
                  <a:lnTo>
                    <a:pt x="0" y="332"/>
                  </a:lnTo>
                  <a:lnTo>
                    <a:pt x="176" y="249"/>
                  </a:lnTo>
                  <a:lnTo>
                    <a:pt x="176" y="249"/>
                  </a:lnTo>
                  <a:lnTo>
                    <a:pt x="140" y="0"/>
                  </a:lnTo>
                  <a:lnTo>
                    <a:pt x="0" y="200"/>
                  </a:lnTo>
                  <a:lnTo>
                    <a:pt x="0" y="20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T America" panose="00000500000000000000" pitchFamily="2" charset="0"/>
                <a:ea typeface="+mn-ea"/>
                <a:cs typeface="+mn-cs"/>
              </a:endParaRPr>
            </a:p>
          </p:txBody>
        </p:sp>
        <p:sp>
          <p:nvSpPr>
            <p:cNvPr id="146" name="Freeform 108"/>
            <p:cNvSpPr>
              <a:spLocks/>
            </p:cNvSpPr>
            <p:nvPr/>
          </p:nvSpPr>
          <p:spPr bwMode="auto">
            <a:xfrm>
              <a:off x="2781" y="2448"/>
              <a:ext cx="185" cy="319"/>
            </a:xfrm>
            <a:custGeom>
              <a:avLst/>
              <a:gdLst>
                <a:gd name="T0" fmla="*/ 72 w 185"/>
                <a:gd name="T1" fmla="*/ 25 h 319"/>
                <a:gd name="T2" fmla="*/ 0 w 185"/>
                <a:gd name="T3" fmla="*/ 319 h 319"/>
                <a:gd name="T4" fmla="*/ 148 w 185"/>
                <a:gd name="T5" fmla="*/ 259 h 319"/>
                <a:gd name="T6" fmla="*/ 185 w 185"/>
                <a:gd name="T7" fmla="*/ 0 h 319"/>
                <a:gd name="T8" fmla="*/ 72 w 185"/>
                <a:gd name="T9" fmla="*/ 25 h 319"/>
                <a:gd name="T10" fmla="*/ 72 w 185"/>
                <a:gd name="T11" fmla="*/ 25 h 3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5" h="319">
                  <a:moveTo>
                    <a:pt x="72" y="25"/>
                  </a:moveTo>
                  <a:lnTo>
                    <a:pt x="0" y="319"/>
                  </a:lnTo>
                  <a:lnTo>
                    <a:pt x="148" y="259"/>
                  </a:lnTo>
                  <a:lnTo>
                    <a:pt x="185" y="0"/>
                  </a:lnTo>
                  <a:lnTo>
                    <a:pt x="72" y="25"/>
                  </a:lnTo>
                  <a:lnTo>
                    <a:pt x="72" y="2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T America" panose="00000500000000000000" pitchFamily="2" charset="0"/>
                <a:ea typeface="+mn-ea"/>
                <a:cs typeface="+mn-cs"/>
              </a:endParaRPr>
            </a:p>
          </p:txBody>
        </p:sp>
        <p:sp>
          <p:nvSpPr>
            <p:cNvPr id="147" name="Freeform 109"/>
            <p:cNvSpPr>
              <a:spLocks/>
            </p:cNvSpPr>
            <p:nvPr/>
          </p:nvSpPr>
          <p:spPr bwMode="auto">
            <a:xfrm>
              <a:off x="2947" y="2458"/>
              <a:ext cx="176" cy="329"/>
            </a:xfrm>
            <a:custGeom>
              <a:avLst/>
              <a:gdLst>
                <a:gd name="T0" fmla="*/ 0 w 176"/>
                <a:gd name="T1" fmla="*/ 246 h 329"/>
                <a:gd name="T2" fmla="*/ 0 w 176"/>
                <a:gd name="T3" fmla="*/ 246 h 329"/>
                <a:gd name="T4" fmla="*/ 176 w 176"/>
                <a:gd name="T5" fmla="*/ 329 h 329"/>
                <a:gd name="T6" fmla="*/ 176 w 176"/>
                <a:gd name="T7" fmla="*/ 195 h 329"/>
                <a:gd name="T8" fmla="*/ 36 w 176"/>
                <a:gd name="T9" fmla="*/ 0 h 329"/>
                <a:gd name="T10" fmla="*/ 0 w 176"/>
                <a:gd name="T11" fmla="*/ 246 h 329"/>
                <a:gd name="T12" fmla="*/ 0 w 176"/>
                <a:gd name="T13" fmla="*/ 246 h 3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6" h="329">
                  <a:moveTo>
                    <a:pt x="0" y="246"/>
                  </a:moveTo>
                  <a:lnTo>
                    <a:pt x="0" y="246"/>
                  </a:lnTo>
                  <a:lnTo>
                    <a:pt x="176" y="329"/>
                  </a:lnTo>
                  <a:lnTo>
                    <a:pt x="176" y="195"/>
                  </a:lnTo>
                  <a:lnTo>
                    <a:pt x="36" y="0"/>
                  </a:lnTo>
                  <a:lnTo>
                    <a:pt x="0" y="246"/>
                  </a:lnTo>
                  <a:lnTo>
                    <a:pt x="0" y="24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T America" panose="00000500000000000000" pitchFamily="2" charset="0"/>
                <a:ea typeface="+mn-ea"/>
                <a:cs typeface="+mn-cs"/>
              </a:endParaRPr>
            </a:p>
          </p:txBody>
        </p:sp>
      </p:grpSp>
      <p:sp>
        <p:nvSpPr>
          <p:cNvPr id="25" name="Rechteck 24"/>
          <p:cNvSpPr/>
          <p:nvPr/>
        </p:nvSpPr>
        <p:spPr>
          <a:xfrm>
            <a:off x="9669822" y="2932863"/>
            <a:ext cx="2042753" cy="1620001"/>
          </a:xfrm>
          <a:prstGeom prst="rect">
            <a:avLst/>
          </a:prstGeom>
          <a:solidFill>
            <a:schemeClr val="accent3"/>
          </a:solidFill>
        </p:spPr>
        <p:txBody>
          <a:bodyPr wrap="square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T America" panose="00000500000000000000" pitchFamily="2" charset="0"/>
                <a:ea typeface="+mn-ea"/>
                <a:cs typeface="+mn-cs"/>
              </a:rPr>
              <a:t>Legislativberatung</a:t>
            </a:r>
          </a:p>
        </p:txBody>
      </p:sp>
      <p:grpSp>
        <p:nvGrpSpPr>
          <p:cNvPr id="163" name="Group 121"/>
          <p:cNvGrpSpPr>
            <a:grpSpLocks noChangeAspect="1"/>
          </p:cNvGrpSpPr>
          <p:nvPr/>
        </p:nvGrpSpPr>
        <p:grpSpPr bwMode="auto">
          <a:xfrm>
            <a:off x="10327337" y="3433765"/>
            <a:ext cx="727723" cy="966162"/>
            <a:chOff x="3296" y="3288"/>
            <a:chExt cx="1056" cy="1402"/>
          </a:xfrm>
          <a:solidFill>
            <a:schemeClr val="bg1"/>
          </a:solidFill>
        </p:grpSpPr>
        <p:sp>
          <p:nvSpPr>
            <p:cNvPr id="165" name="Freeform 122"/>
            <p:cNvSpPr>
              <a:spLocks/>
            </p:cNvSpPr>
            <p:nvPr/>
          </p:nvSpPr>
          <p:spPr bwMode="auto">
            <a:xfrm>
              <a:off x="3296" y="3288"/>
              <a:ext cx="1052" cy="1402"/>
            </a:xfrm>
            <a:custGeom>
              <a:avLst/>
              <a:gdLst>
                <a:gd name="T0" fmla="*/ 114 w 1052"/>
                <a:gd name="T1" fmla="*/ 184 h 1402"/>
                <a:gd name="T2" fmla="*/ 114 w 1052"/>
                <a:gd name="T3" fmla="*/ 184 h 1402"/>
                <a:gd name="T4" fmla="*/ 98 w 1052"/>
                <a:gd name="T5" fmla="*/ 182 h 1402"/>
                <a:gd name="T6" fmla="*/ 84 w 1052"/>
                <a:gd name="T7" fmla="*/ 178 h 1402"/>
                <a:gd name="T8" fmla="*/ 72 w 1052"/>
                <a:gd name="T9" fmla="*/ 170 h 1402"/>
                <a:gd name="T10" fmla="*/ 60 w 1052"/>
                <a:gd name="T11" fmla="*/ 160 h 1402"/>
                <a:gd name="T12" fmla="*/ 50 w 1052"/>
                <a:gd name="T13" fmla="*/ 150 h 1402"/>
                <a:gd name="T14" fmla="*/ 44 w 1052"/>
                <a:gd name="T15" fmla="*/ 136 h 1402"/>
                <a:gd name="T16" fmla="*/ 40 w 1052"/>
                <a:gd name="T17" fmla="*/ 122 h 1402"/>
                <a:gd name="T18" fmla="*/ 38 w 1052"/>
                <a:gd name="T19" fmla="*/ 106 h 1402"/>
                <a:gd name="T20" fmla="*/ 38 w 1052"/>
                <a:gd name="T21" fmla="*/ 106 h 1402"/>
                <a:gd name="T22" fmla="*/ 40 w 1052"/>
                <a:gd name="T23" fmla="*/ 92 h 1402"/>
                <a:gd name="T24" fmla="*/ 46 w 1052"/>
                <a:gd name="T25" fmla="*/ 78 h 1402"/>
                <a:gd name="T26" fmla="*/ 54 w 1052"/>
                <a:gd name="T27" fmla="*/ 66 h 1402"/>
                <a:gd name="T28" fmla="*/ 64 w 1052"/>
                <a:gd name="T29" fmla="*/ 54 h 1402"/>
                <a:gd name="T30" fmla="*/ 74 w 1052"/>
                <a:gd name="T31" fmla="*/ 46 h 1402"/>
                <a:gd name="T32" fmla="*/ 88 w 1052"/>
                <a:gd name="T33" fmla="*/ 38 h 1402"/>
                <a:gd name="T34" fmla="*/ 102 w 1052"/>
                <a:gd name="T35" fmla="*/ 34 h 1402"/>
                <a:gd name="T36" fmla="*/ 118 w 1052"/>
                <a:gd name="T37" fmla="*/ 34 h 1402"/>
                <a:gd name="T38" fmla="*/ 1036 w 1052"/>
                <a:gd name="T39" fmla="*/ 34 h 1402"/>
                <a:gd name="T40" fmla="*/ 1036 w 1052"/>
                <a:gd name="T41" fmla="*/ 34 h 1402"/>
                <a:gd name="T42" fmla="*/ 1042 w 1052"/>
                <a:gd name="T43" fmla="*/ 32 h 1402"/>
                <a:gd name="T44" fmla="*/ 1048 w 1052"/>
                <a:gd name="T45" fmla="*/ 28 h 1402"/>
                <a:gd name="T46" fmla="*/ 1052 w 1052"/>
                <a:gd name="T47" fmla="*/ 22 h 1402"/>
                <a:gd name="T48" fmla="*/ 1052 w 1052"/>
                <a:gd name="T49" fmla="*/ 16 h 1402"/>
                <a:gd name="T50" fmla="*/ 1052 w 1052"/>
                <a:gd name="T51" fmla="*/ 16 h 1402"/>
                <a:gd name="T52" fmla="*/ 1052 w 1052"/>
                <a:gd name="T53" fmla="*/ 16 h 1402"/>
                <a:gd name="T54" fmla="*/ 1052 w 1052"/>
                <a:gd name="T55" fmla="*/ 10 h 1402"/>
                <a:gd name="T56" fmla="*/ 1048 w 1052"/>
                <a:gd name="T57" fmla="*/ 4 h 1402"/>
                <a:gd name="T58" fmla="*/ 1042 w 1052"/>
                <a:gd name="T59" fmla="*/ 0 h 1402"/>
                <a:gd name="T60" fmla="*/ 1036 w 1052"/>
                <a:gd name="T61" fmla="*/ 0 h 1402"/>
                <a:gd name="T62" fmla="*/ 100 w 1052"/>
                <a:gd name="T63" fmla="*/ 0 h 1402"/>
                <a:gd name="T64" fmla="*/ 100 w 1052"/>
                <a:gd name="T65" fmla="*/ 0 h 1402"/>
                <a:gd name="T66" fmla="*/ 80 w 1052"/>
                <a:gd name="T67" fmla="*/ 2 h 1402"/>
                <a:gd name="T68" fmla="*/ 60 w 1052"/>
                <a:gd name="T69" fmla="*/ 8 h 1402"/>
                <a:gd name="T70" fmla="*/ 44 w 1052"/>
                <a:gd name="T71" fmla="*/ 16 h 1402"/>
                <a:gd name="T72" fmla="*/ 28 w 1052"/>
                <a:gd name="T73" fmla="*/ 28 h 1402"/>
                <a:gd name="T74" fmla="*/ 16 w 1052"/>
                <a:gd name="T75" fmla="*/ 44 h 1402"/>
                <a:gd name="T76" fmla="*/ 8 w 1052"/>
                <a:gd name="T77" fmla="*/ 60 h 1402"/>
                <a:gd name="T78" fmla="*/ 2 w 1052"/>
                <a:gd name="T79" fmla="*/ 78 h 1402"/>
                <a:gd name="T80" fmla="*/ 0 w 1052"/>
                <a:gd name="T81" fmla="*/ 98 h 1402"/>
                <a:gd name="T82" fmla="*/ 0 w 1052"/>
                <a:gd name="T83" fmla="*/ 1216 h 1402"/>
                <a:gd name="T84" fmla="*/ 0 w 1052"/>
                <a:gd name="T85" fmla="*/ 1216 h 1402"/>
                <a:gd name="T86" fmla="*/ 0 w 1052"/>
                <a:gd name="T87" fmla="*/ 1236 h 1402"/>
                <a:gd name="T88" fmla="*/ 4 w 1052"/>
                <a:gd name="T89" fmla="*/ 1254 h 1402"/>
                <a:gd name="T90" fmla="*/ 8 w 1052"/>
                <a:gd name="T91" fmla="*/ 1272 h 1402"/>
                <a:gd name="T92" fmla="*/ 14 w 1052"/>
                <a:gd name="T93" fmla="*/ 1290 h 1402"/>
                <a:gd name="T94" fmla="*/ 22 w 1052"/>
                <a:gd name="T95" fmla="*/ 1306 h 1402"/>
                <a:gd name="T96" fmla="*/ 32 w 1052"/>
                <a:gd name="T97" fmla="*/ 1320 h 1402"/>
                <a:gd name="T98" fmla="*/ 42 w 1052"/>
                <a:gd name="T99" fmla="*/ 1334 h 1402"/>
                <a:gd name="T100" fmla="*/ 54 w 1052"/>
                <a:gd name="T101" fmla="*/ 1348 h 1402"/>
                <a:gd name="T102" fmla="*/ 68 w 1052"/>
                <a:gd name="T103" fmla="*/ 1360 h 1402"/>
                <a:gd name="T104" fmla="*/ 82 w 1052"/>
                <a:gd name="T105" fmla="*/ 1370 h 1402"/>
                <a:gd name="T106" fmla="*/ 98 w 1052"/>
                <a:gd name="T107" fmla="*/ 1380 h 1402"/>
                <a:gd name="T108" fmla="*/ 114 w 1052"/>
                <a:gd name="T109" fmla="*/ 1388 h 1402"/>
                <a:gd name="T110" fmla="*/ 130 w 1052"/>
                <a:gd name="T111" fmla="*/ 1394 h 1402"/>
                <a:gd name="T112" fmla="*/ 148 w 1052"/>
                <a:gd name="T113" fmla="*/ 1398 h 1402"/>
                <a:gd name="T114" fmla="*/ 166 w 1052"/>
                <a:gd name="T115" fmla="*/ 1402 h 1402"/>
                <a:gd name="T116" fmla="*/ 186 w 1052"/>
                <a:gd name="T117" fmla="*/ 1402 h 1402"/>
                <a:gd name="T118" fmla="*/ 186 w 1052"/>
                <a:gd name="T119" fmla="*/ 184 h 1402"/>
                <a:gd name="T120" fmla="*/ 114 w 1052"/>
                <a:gd name="T121" fmla="*/ 184 h 14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052" h="1402">
                  <a:moveTo>
                    <a:pt x="114" y="184"/>
                  </a:moveTo>
                  <a:lnTo>
                    <a:pt x="114" y="184"/>
                  </a:lnTo>
                  <a:lnTo>
                    <a:pt x="98" y="182"/>
                  </a:lnTo>
                  <a:lnTo>
                    <a:pt x="84" y="178"/>
                  </a:lnTo>
                  <a:lnTo>
                    <a:pt x="72" y="170"/>
                  </a:lnTo>
                  <a:lnTo>
                    <a:pt x="60" y="160"/>
                  </a:lnTo>
                  <a:lnTo>
                    <a:pt x="50" y="150"/>
                  </a:lnTo>
                  <a:lnTo>
                    <a:pt x="44" y="136"/>
                  </a:lnTo>
                  <a:lnTo>
                    <a:pt x="40" y="122"/>
                  </a:lnTo>
                  <a:lnTo>
                    <a:pt x="38" y="106"/>
                  </a:lnTo>
                  <a:lnTo>
                    <a:pt x="38" y="106"/>
                  </a:lnTo>
                  <a:lnTo>
                    <a:pt x="40" y="92"/>
                  </a:lnTo>
                  <a:lnTo>
                    <a:pt x="46" y="78"/>
                  </a:lnTo>
                  <a:lnTo>
                    <a:pt x="54" y="66"/>
                  </a:lnTo>
                  <a:lnTo>
                    <a:pt x="64" y="54"/>
                  </a:lnTo>
                  <a:lnTo>
                    <a:pt x="74" y="46"/>
                  </a:lnTo>
                  <a:lnTo>
                    <a:pt x="88" y="38"/>
                  </a:lnTo>
                  <a:lnTo>
                    <a:pt x="102" y="34"/>
                  </a:lnTo>
                  <a:lnTo>
                    <a:pt x="118" y="34"/>
                  </a:lnTo>
                  <a:lnTo>
                    <a:pt x="1036" y="34"/>
                  </a:lnTo>
                  <a:lnTo>
                    <a:pt x="1036" y="34"/>
                  </a:lnTo>
                  <a:lnTo>
                    <a:pt x="1042" y="32"/>
                  </a:lnTo>
                  <a:lnTo>
                    <a:pt x="1048" y="28"/>
                  </a:lnTo>
                  <a:lnTo>
                    <a:pt x="1052" y="22"/>
                  </a:lnTo>
                  <a:lnTo>
                    <a:pt x="1052" y="16"/>
                  </a:lnTo>
                  <a:lnTo>
                    <a:pt x="1052" y="16"/>
                  </a:lnTo>
                  <a:lnTo>
                    <a:pt x="1052" y="16"/>
                  </a:lnTo>
                  <a:lnTo>
                    <a:pt x="1052" y="10"/>
                  </a:lnTo>
                  <a:lnTo>
                    <a:pt x="1048" y="4"/>
                  </a:lnTo>
                  <a:lnTo>
                    <a:pt x="1042" y="0"/>
                  </a:lnTo>
                  <a:lnTo>
                    <a:pt x="1036" y="0"/>
                  </a:lnTo>
                  <a:lnTo>
                    <a:pt x="100" y="0"/>
                  </a:lnTo>
                  <a:lnTo>
                    <a:pt x="100" y="0"/>
                  </a:lnTo>
                  <a:lnTo>
                    <a:pt x="80" y="2"/>
                  </a:lnTo>
                  <a:lnTo>
                    <a:pt x="60" y="8"/>
                  </a:lnTo>
                  <a:lnTo>
                    <a:pt x="44" y="16"/>
                  </a:lnTo>
                  <a:lnTo>
                    <a:pt x="28" y="28"/>
                  </a:lnTo>
                  <a:lnTo>
                    <a:pt x="16" y="44"/>
                  </a:lnTo>
                  <a:lnTo>
                    <a:pt x="8" y="60"/>
                  </a:lnTo>
                  <a:lnTo>
                    <a:pt x="2" y="78"/>
                  </a:lnTo>
                  <a:lnTo>
                    <a:pt x="0" y="98"/>
                  </a:lnTo>
                  <a:lnTo>
                    <a:pt x="0" y="1216"/>
                  </a:lnTo>
                  <a:lnTo>
                    <a:pt x="0" y="1216"/>
                  </a:lnTo>
                  <a:lnTo>
                    <a:pt x="0" y="1236"/>
                  </a:lnTo>
                  <a:lnTo>
                    <a:pt x="4" y="1254"/>
                  </a:lnTo>
                  <a:lnTo>
                    <a:pt x="8" y="1272"/>
                  </a:lnTo>
                  <a:lnTo>
                    <a:pt x="14" y="1290"/>
                  </a:lnTo>
                  <a:lnTo>
                    <a:pt x="22" y="1306"/>
                  </a:lnTo>
                  <a:lnTo>
                    <a:pt x="32" y="1320"/>
                  </a:lnTo>
                  <a:lnTo>
                    <a:pt x="42" y="1334"/>
                  </a:lnTo>
                  <a:lnTo>
                    <a:pt x="54" y="1348"/>
                  </a:lnTo>
                  <a:lnTo>
                    <a:pt x="68" y="1360"/>
                  </a:lnTo>
                  <a:lnTo>
                    <a:pt x="82" y="1370"/>
                  </a:lnTo>
                  <a:lnTo>
                    <a:pt x="98" y="1380"/>
                  </a:lnTo>
                  <a:lnTo>
                    <a:pt x="114" y="1388"/>
                  </a:lnTo>
                  <a:lnTo>
                    <a:pt x="130" y="1394"/>
                  </a:lnTo>
                  <a:lnTo>
                    <a:pt x="148" y="1398"/>
                  </a:lnTo>
                  <a:lnTo>
                    <a:pt x="166" y="1402"/>
                  </a:lnTo>
                  <a:lnTo>
                    <a:pt x="186" y="1402"/>
                  </a:lnTo>
                  <a:lnTo>
                    <a:pt x="186" y="184"/>
                  </a:lnTo>
                  <a:lnTo>
                    <a:pt x="114" y="18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T America" panose="00000500000000000000" pitchFamily="2" charset="0"/>
                <a:ea typeface="+mn-ea"/>
                <a:cs typeface="+mn-cs"/>
              </a:endParaRPr>
            </a:p>
          </p:txBody>
        </p:sp>
        <p:sp>
          <p:nvSpPr>
            <p:cNvPr id="166" name="Freeform 123"/>
            <p:cNvSpPr>
              <a:spLocks noEditPoints="1"/>
            </p:cNvSpPr>
            <p:nvPr/>
          </p:nvSpPr>
          <p:spPr bwMode="auto">
            <a:xfrm>
              <a:off x="3374" y="3350"/>
              <a:ext cx="974" cy="94"/>
            </a:xfrm>
            <a:custGeom>
              <a:avLst/>
              <a:gdLst>
                <a:gd name="T0" fmla="*/ 928 w 974"/>
                <a:gd name="T1" fmla="*/ 32 h 94"/>
                <a:gd name="T2" fmla="*/ 928 w 974"/>
                <a:gd name="T3" fmla="*/ 32 h 94"/>
                <a:gd name="T4" fmla="*/ 934 w 974"/>
                <a:gd name="T5" fmla="*/ 34 h 94"/>
                <a:gd name="T6" fmla="*/ 938 w 974"/>
                <a:gd name="T7" fmla="*/ 36 h 94"/>
                <a:gd name="T8" fmla="*/ 942 w 974"/>
                <a:gd name="T9" fmla="*/ 40 h 94"/>
                <a:gd name="T10" fmla="*/ 942 w 974"/>
                <a:gd name="T11" fmla="*/ 46 h 94"/>
                <a:gd name="T12" fmla="*/ 942 w 974"/>
                <a:gd name="T13" fmla="*/ 46 h 94"/>
                <a:gd name="T14" fmla="*/ 942 w 974"/>
                <a:gd name="T15" fmla="*/ 52 h 94"/>
                <a:gd name="T16" fmla="*/ 938 w 974"/>
                <a:gd name="T17" fmla="*/ 56 h 94"/>
                <a:gd name="T18" fmla="*/ 934 w 974"/>
                <a:gd name="T19" fmla="*/ 60 h 94"/>
                <a:gd name="T20" fmla="*/ 928 w 974"/>
                <a:gd name="T21" fmla="*/ 62 h 94"/>
                <a:gd name="T22" fmla="*/ 46 w 974"/>
                <a:gd name="T23" fmla="*/ 62 h 94"/>
                <a:gd name="T24" fmla="*/ 46 w 974"/>
                <a:gd name="T25" fmla="*/ 62 h 94"/>
                <a:gd name="T26" fmla="*/ 42 w 974"/>
                <a:gd name="T27" fmla="*/ 60 h 94"/>
                <a:gd name="T28" fmla="*/ 36 w 974"/>
                <a:gd name="T29" fmla="*/ 56 h 94"/>
                <a:gd name="T30" fmla="*/ 34 w 974"/>
                <a:gd name="T31" fmla="*/ 52 h 94"/>
                <a:gd name="T32" fmla="*/ 32 w 974"/>
                <a:gd name="T33" fmla="*/ 46 h 94"/>
                <a:gd name="T34" fmla="*/ 32 w 974"/>
                <a:gd name="T35" fmla="*/ 46 h 94"/>
                <a:gd name="T36" fmla="*/ 34 w 974"/>
                <a:gd name="T37" fmla="*/ 40 h 94"/>
                <a:gd name="T38" fmla="*/ 36 w 974"/>
                <a:gd name="T39" fmla="*/ 36 h 94"/>
                <a:gd name="T40" fmla="*/ 42 w 974"/>
                <a:gd name="T41" fmla="*/ 34 h 94"/>
                <a:gd name="T42" fmla="*/ 46 w 974"/>
                <a:gd name="T43" fmla="*/ 32 h 94"/>
                <a:gd name="T44" fmla="*/ 928 w 974"/>
                <a:gd name="T45" fmla="*/ 32 h 94"/>
                <a:gd name="T46" fmla="*/ 928 w 974"/>
                <a:gd name="T47" fmla="*/ 0 h 94"/>
                <a:gd name="T48" fmla="*/ 46 w 974"/>
                <a:gd name="T49" fmla="*/ 0 h 94"/>
                <a:gd name="T50" fmla="*/ 46 w 974"/>
                <a:gd name="T51" fmla="*/ 0 h 94"/>
                <a:gd name="T52" fmla="*/ 38 w 974"/>
                <a:gd name="T53" fmla="*/ 0 h 94"/>
                <a:gd name="T54" fmla="*/ 28 w 974"/>
                <a:gd name="T55" fmla="*/ 4 h 94"/>
                <a:gd name="T56" fmla="*/ 20 w 974"/>
                <a:gd name="T57" fmla="*/ 8 h 94"/>
                <a:gd name="T58" fmla="*/ 14 w 974"/>
                <a:gd name="T59" fmla="*/ 14 h 94"/>
                <a:gd name="T60" fmla="*/ 8 w 974"/>
                <a:gd name="T61" fmla="*/ 20 h 94"/>
                <a:gd name="T62" fmla="*/ 4 w 974"/>
                <a:gd name="T63" fmla="*/ 28 h 94"/>
                <a:gd name="T64" fmla="*/ 0 w 974"/>
                <a:gd name="T65" fmla="*/ 38 h 94"/>
                <a:gd name="T66" fmla="*/ 0 w 974"/>
                <a:gd name="T67" fmla="*/ 46 h 94"/>
                <a:gd name="T68" fmla="*/ 0 w 974"/>
                <a:gd name="T69" fmla="*/ 46 h 94"/>
                <a:gd name="T70" fmla="*/ 0 w 974"/>
                <a:gd name="T71" fmla="*/ 56 h 94"/>
                <a:gd name="T72" fmla="*/ 4 w 974"/>
                <a:gd name="T73" fmla="*/ 64 h 94"/>
                <a:gd name="T74" fmla="*/ 8 w 974"/>
                <a:gd name="T75" fmla="*/ 72 h 94"/>
                <a:gd name="T76" fmla="*/ 14 w 974"/>
                <a:gd name="T77" fmla="*/ 80 h 94"/>
                <a:gd name="T78" fmla="*/ 20 w 974"/>
                <a:gd name="T79" fmla="*/ 86 h 94"/>
                <a:gd name="T80" fmla="*/ 28 w 974"/>
                <a:gd name="T81" fmla="*/ 90 h 94"/>
                <a:gd name="T82" fmla="*/ 38 w 974"/>
                <a:gd name="T83" fmla="*/ 92 h 94"/>
                <a:gd name="T84" fmla="*/ 46 w 974"/>
                <a:gd name="T85" fmla="*/ 94 h 94"/>
                <a:gd name="T86" fmla="*/ 928 w 974"/>
                <a:gd name="T87" fmla="*/ 94 h 94"/>
                <a:gd name="T88" fmla="*/ 928 w 974"/>
                <a:gd name="T89" fmla="*/ 94 h 94"/>
                <a:gd name="T90" fmla="*/ 938 w 974"/>
                <a:gd name="T91" fmla="*/ 92 h 94"/>
                <a:gd name="T92" fmla="*/ 946 w 974"/>
                <a:gd name="T93" fmla="*/ 90 h 94"/>
                <a:gd name="T94" fmla="*/ 954 w 974"/>
                <a:gd name="T95" fmla="*/ 86 h 94"/>
                <a:gd name="T96" fmla="*/ 962 w 974"/>
                <a:gd name="T97" fmla="*/ 80 h 94"/>
                <a:gd name="T98" fmla="*/ 966 w 974"/>
                <a:gd name="T99" fmla="*/ 72 h 94"/>
                <a:gd name="T100" fmla="*/ 972 w 974"/>
                <a:gd name="T101" fmla="*/ 64 h 94"/>
                <a:gd name="T102" fmla="*/ 974 w 974"/>
                <a:gd name="T103" fmla="*/ 56 h 94"/>
                <a:gd name="T104" fmla="*/ 974 w 974"/>
                <a:gd name="T105" fmla="*/ 46 h 94"/>
                <a:gd name="T106" fmla="*/ 974 w 974"/>
                <a:gd name="T107" fmla="*/ 46 h 94"/>
                <a:gd name="T108" fmla="*/ 974 w 974"/>
                <a:gd name="T109" fmla="*/ 38 h 94"/>
                <a:gd name="T110" fmla="*/ 972 w 974"/>
                <a:gd name="T111" fmla="*/ 28 h 94"/>
                <a:gd name="T112" fmla="*/ 966 w 974"/>
                <a:gd name="T113" fmla="*/ 20 h 94"/>
                <a:gd name="T114" fmla="*/ 962 w 974"/>
                <a:gd name="T115" fmla="*/ 14 h 94"/>
                <a:gd name="T116" fmla="*/ 954 w 974"/>
                <a:gd name="T117" fmla="*/ 8 h 94"/>
                <a:gd name="T118" fmla="*/ 946 w 974"/>
                <a:gd name="T119" fmla="*/ 4 h 94"/>
                <a:gd name="T120" fmla="*/ 938 w 974"/>
                <a:gd name="T121" fmla="*/ 0 h 94"/>
                <a:gd name="T122" fmla="*/ 928 w 974"/>
                <a:gd name="T123" fmla="*/ 0 h 94"/>
                <a:gd name="T124" fmla="*/ 928 w 974"/>
                <a:gd name="T125" fmla="*/ 0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974" h="94">
                  <a:moveTo>
                    <a:pt x="928" y="32"/>
                  </a:moveTo>
                  <a:lnTo>
                    <a:pt x="928" y="32"/>
                  </a:lnTo>
                  <a:lnTo>
                    <a:pt x="934" y="34"/>
                  </a:lnTo>
                  <a:lnTo>
                    <a:pt x="938" y="36"/>
                  </a:lnTo>
                  <a:lnTo>
                    <a:pt x="942" y="40"/>
                  </a:lnTo>
                  <a:lnTo>
                    <a:pt x="942" y="46"/>
                  </a:lnTo>
                  <a:lnTo>
                    <a:pt x="942" y="46"/>
                  </a:lnTo>
                  <a:lnTo>
                    <a:pt x="942" y="52"/>
                  </a:lnTo>
                  <a:lnTo>
                    <a:pt x="938" y="56"/>
                  </a:lnTo>
                  <a:lnTo>
                    <a:pt x="934" y="60"/>
                  </a:lnTo>
                  <a:lnTo>
                    <a:pt x="928" y="62"/>
                  </a:lnTo>
                  <a:lnTo>
                    <a:pt x="46" y="62"/>
                  </a:lnTo>
                  <a:lnTo>
                    <a:pt x="46" y="62"/>
                  </a:lnTo>
                  <a:lnTo>
                    <a:pt x="42" y="60"/>
                  </a:lnTo>
                  <a:lnTo>
                    <a:pt x="36" y="56"/>
                  </a:lnTo>
                  <a:lnTo>
                    <a:pt x="34" y="52"/>
                  </a:lnTo>
                  <a:lnTo>
                    <a:pt x="32" y="46"/>
                  </a:lnTo>
                  <a:lnTo>
                    <a:pt x="32" y="46"/>
                  </a:lnTo>
                  <a:lnTo>
                    <a:pt x="34" y="40"/>
                  </a:lnTo>
                  <a:lnTo>
                    <a:pt x="36" y="36"/>
                  </a:lnTo>
                  <a:lnTo>
                    <a:pt x="42" y="34"/>
                  </a:lnTo>
                  <a:lnTo>
                    <a:pt x="46" y="32"/>
                  </a:lnTo>
                  <a:lnTo>
                    <a:pt x="928" y="32"/>
                  </a:lnTo>
                  <a:close/>
                  <a:moveTo>
                    <a:pt x="928" y="0"/>
                  </a:moveTo>
                  <a:lnTo>
                    <a:pt x="46" y="0"/>
                  </a:lnTo>
                  <a:lnTo>
                    <a:pt x="46" y="0"/>
                  </a:lnTo>
                  <a:lnTo>
                    <a:pt x="38" y="0"/>
                  </a:lnTo>
                  <a:lnTo>
                    <a:pt x="28" y="4"/>
                  </a:lnTo>
                  <a:lnTo>
                    <a:pt x="20" y="8"/>
                  </a:lnTo>
                  <a:lnTo>
                    <a:pt x="14" y="14"/>
                  </a:lnTo>
                  <a:lnTo>
                    <a:pt x="8" y="20"/>
                  </a:lnTo>
                  <a:lnTo>
                    <a:pt x="4" y="28"/>
                  </a:lnTo>
                  <a:lnTo>
                    <a:pt x="0" y="38"/>
                  </a:lnTo>
                  <a:lnTo>
                    <a:pt x="0" y="46"/>
                  </a:lnTo>
                  <a:lnTo>
                    <a:pt x="0" y="46"/>
                  </a:lnTo>
                  <a:lnTo>
                    <a:pt x="0" y="56"/>
                  </a:lnTo>
                  <a:lnTo>
                    <a:pt x="4" y="64"/>
                  </a:lnTo>
                  <a:lnTo>
                    <a:pt x="8" y="72"/>
                  </a:lnTo>
                  <a:lnTo>
                    <a:pt x="14" y="80"/>
                  </a:lnTo>
                  <a:lnTo>
                    <a:pt x="20" y="86"/>
                  </a:lnTo>
                  <a:lnTo>
                    <a:pt x="28" y="90"/>
                  </a:lnTo>
                  <a:lnTo>
                    <a:pt x="38" y="92"/>
                  </a:lnTo>
                  <a:lnTo>
                    <a:pt x="46" y="94"/>
                  </a:lnTo>
                  <a:lnTo>
                    <a:pt x="928" y="94"/>
                  </a:lnTo>
                  <a:lnTo>
                    <a:pt x="928" y="94"/>
                  </a:lnTo>
                  <a:lnTo>
                    <a:pt x="938" y="92"/>
                  </a:lnTo>
                  <a:lnTo>
                    <a:pt x="946" y="90"/>
                  </a:lnTo>
                  <a:lnTo>
                    <a:pt x="954" y="86"/>
                  </a:lnTo>
                  <a:lnTo>
                    <a:pt x="962" y="80"/>
                  </a:lnTo>
                  <a:lnTo>
                    <a:pt x="966" y="72"/>
                  </a:lnTo>
                  <a:lnTo>
                    <a:pt x="972" y="64"/>
                  </a:lnTo>
                  <a:lnTo>
                    <a:pt x="974" y="56"/>
                  </a:lnTo>
                  <a:lnTo>
                    <a:pt x="974" y="46"/>
                  </a:lnTo>
                  <a:lnTo>
                    <a:pt x="974" y="46"/>
                  </a:lnTo>
                  <a:lnTo>
                    <a:pt x="974" y="38"/>
                  </a:lnTo>
                  <a:lnTo>
                    <a:pt x="972" y="28"/>
                  </a:lnTo>
                  <a:lnTo>
                    <a:pt x="966" y="20"/>
                  </a:lnTo>
                  <a:lnTo>
                    <a:pt x="962" y="14"/>
                  </a:lnTo>
                  <a:lnTo>
                    <a:pt x="954" y="8"/>
                  </a:lnTo>
                  <a:lnTo>
                    <a:pt x="946" y="4"/>
                  </a:lnTo>
                  <a:lnTo>
                    <a:pt x="938" y="0"/>
                  </a:lnTo>
                  <a:lnTo>
                    <a:pt x="928" y="0"/>
                  </a:lnTo>
                  <a:lnTo>
                    <a:pt x="92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T America" panose="00000500000000000000" pitchFamily="2" charset="0"/>
                <a:ea typeface="+mn-ea"/>
                <a:cs typeface="+mn-cs"/>
              </a:endParaRPr>
            </a:p>
          </p:txBody>
        </p:sp>
        <p:sp>
          <p:nvSpPr>
            <p:cNvPr id="169" name="Freeform 126"/>
            <p:cNvSpPr>
              <a:spLocks/>
            </p:cNvSpPr>
            <p:nvPr/>
          </p:nvSpPr>
          <p:spPr bwMode="auto">
            <a:xfrm>
              <a:off x="3842" y="4003"/>
              <a:ext cx="182" cy="156"/>
            </a:xfrm>
            <a:custGeom>
              <a:avLst/>
              <a:gdLst>
                <a:gd name="T0" fmla="*/ 132 w 182"/>
                <a:gd name="T1" fmla="*/ 40 h 156"/>
                <a:gd name="T2" fmla="*/ 132 w 182"/>
                <a:gd name="T3" fmla="*/ 40 h 156"/>
                <a:gd name="T4" fmla="*/ 106 w 182"/>
                <a:gd name="T5" fmla="*/ 30 h 156"/>
                <a:gd name="T6" fmla="*/ 80 w 182"/>
                <a:gd name="T7" fmla="*/ 22 h 156"/>
                <a:gd name="T8" fmla="*/ 80 w 182"/>
                <a:gd name="T9" fmla="*/ 22 h 156"/>
                <a:gd name="T10" fmla="*/ 52 w 182"/>
                <a:gd name="T11" fmla="*/ 12 h 156"/>
                <a:gd name="T12" fmla="*/ 26 w 182"/>
                <a:gd name="T13" fmla="*/ 0 h 156"/>
                <a:gd name="T14" fmla="*/ 26 w 182"/>
                <a:gd name="T15" fmla="*/ 0 h 156"/>
                <a:gd name="T16" fmla="*/ 18 w 182"/>
                <a:gd name="T17" fmla="*/ 10 h 156"/>
                <a:gd name="T18" fmla="*/ 10 w 182"/>
                <a:gd name="T19" fmla="*/ 22 h 156"/>
                <a:gd name="T20" fmla="*/ 10 w 182"/>
                <a:gd name="T21" fmla="*/ 22 h 156"/>
                <a:gd name="T22" fmla="*/ 6 w 182"/>
                <a:gd name="T23" fmla="*/ 30 h 156"/>
                <a:gd name="T24" fmla="*/ 2 w 182"/>
                <a:gd name="T25" fmla="*/ 40 h 156"/>
                <a:gd name="T26" fmla="*/ 0 w 182"/>
                <a:gd name="T27" fmla="*/ 58 h 156"/>
                <a:gd name="T28" fmla="*/ 0 w 182"/>
                <a:gd name="T29" fmla="*/ 58 h 156"/>
                <a:gd name="T30" fmla="*/ 2 w 182"/>
                <a:gd name="T31" fmla="*/ 68 h 156"/>
                <a:gd name="T32" fmla="*/ 4 w 182"/>
                <a:gd name="T33" fmla="*/ 76 h 156"/>
                <a:gd name="T34" fmla="*/ 10 w 182"/>
                <a:gd name="T35" fmla="*/ 82 h 156"/>
                <a:gd name="T36" fmla="*/ 16 w 182"/>
                <a:gd name="T37" fmla="*/ 90 h 156"/>
                <a:gd name="T38" fmla="*/ 16 w 182"/>
                <a:gd name="T39" fmla="*/ 90 h 156"/>
                <a:gd name="T40" fmla="*/ 16 w 182"/>
                <a:gd name="T41" fmla="*/ 90 h 156"/>
                <a:gd name="T42" fmla="*/ 36 w 182"/>
                <a:gd name="T43" fmla="*/ 104 h 156"/>
                <a:gd name="T44" fmla="*/ 60 w 182"/>
                <a:gd name="T45" fmla="*/ 116 h 156"/>
                <a:gd name="T46" fmla="*/ 60 w 182"/>
                <a:gd name="T47" fmla="*/ 116 h 156"/>
                <a:gd name="T48" fmla="*/ 88 w 182"/>
                <a:gd name="T49" fmla="*/ 128 h 156"/>
                <a:gd name="T50" fmla="*/ 114 w 182"/>
                <a:gd name="T51" fmla="*/ 138 h 156"/>
                <a:gd name="T52" fmla="*/ 114 w 182"/>
                <a:gd name="T53" fmla="*/ 138 h 156"/>
                <a:gd name="T54" fmla="*/ 136 w 182"/>
                <a:gd name="T55" fmla="*/ 146 h 156"/>
                <a:gd name="T56" fmla="*/ 156 w 182"/>
                <a:gd name="T57" fmla="*/ 156 h 156"/>
                <a:gd name="T58" fmla="*/ 156 w 182"/>
                <a:gd name="T59" fmla="*/ 156 h 156"/>
                <a:gd name="T60" fmla="*/ 166 w 182"/>
                <a:gd name="T61" fmla="*/ 144 h 156"/>
                <a:gd name="T62" fmla="*/ 174 w 182"/>
                <a:gd name="T63" fmla="*/ 132 h 156"/>
                <a:gd name="T64" fmla="*/ 174 w 182"/>
                <a:gd name="T65" fmla="*/ 132 h 156"/>
                <a:gd name="T66" fmla="*/ 180 w 182"/>
                <a:gd name="T67" fmla="*/ 116 h 156"/>
                <a:gd name="T68" fmla="*/ 182 w 182"/>
                <a:gd name="T69" fmla="*/ 98 h 156"/>
                <a:gd name="T70" fmla="*/ 182 w 182"/>
                <a:gd name="T71" fmla="*/ 98 h 156"/>
                <a:gd name="T72" fmla="*/ 180 w 182"/>
                <a:gd name="T73" fmla="*/ 88 h 156"/>
                <a:gd name="T74" fmla="*/ 178 w 182"/>
                <a:gd name="T75" fmla="*/ 78 h 156"/>
                <a:gd name="T76" fmla="*/ 174 w 182"/>
                <a:gd name="T77" fmla="*/ 72 h 156"/>
                <a:gd name="T78" fmla="*/ 168 w 182"/>
                <a:gd name="T79" fmla="*/ 64 h 156"/>
                <a:gd name="T80" fmla="*/ 168 w 182"/>
                <a:gd name="T81" fmla="*/ 64 h 156"/>
                <a:gd name="T82" fmla="*/ 152 w 182"/>
                <a:gd name="T83" fmla="*/ 52 h 156"/>
                <a:gd name="T84" fmla="*/ 132 w 182"/>
                <a:gd name="T85" fmla="*/ 40 h 156"/>
                <a:gd name="T86" fmla="*/ 132 w 182"/>
                <a:gd name="T87" fmla="*/ 40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82" h="156">
                  <a:moveTo>
                    <a:pt x="132" y="40"/>
                  </a:moveTo>
                  <a:lnTo>
                    <a:pt x="132" y="40"/>
                  </a:lnTo>
                  <a:lnTo>
                    <a:pt x="106" y="30"/>
                  </a:lnTo>
                  <a:lnTo>
                    <a:pt x="80" y="22"/>
                  </a:lnTo>
                  <a:lnTo>
                    <a:pt x="80" y="22"/>
                  </a:lnTo>
                  <a:lnTo>
                    <a:pt x="52" y="12"/>
                  </a:lnTo>
                  <a:lnTo>
                    <a:pt x="26" y="0"/>
                  </a:lnTo>
                  <a:lnTo>
                    <a:pt x="26" y="0"/>
                  </a:lnTo>
                  <a:lnTo>
                    <a:pt x="18" y="10"/>
                  </a:lnTo>
                  <a:lnTo>
                    <a:pt x="10" y="22"/>
                  </a:lnTo>
                  <a:lnTo>
                    <a:pt x="10" y="22"/>
                  </a:lnTo>
                  <a:lnTo>
                    <a:pt x="6" y="30"/>
                  </a:lnTo>
                  <a:lnTo>
                    <a:pt x="2" y="40"/>
                  </a:lnTo>
                  <a:lnTo>
                    <a:pt x="0" y="58"/>
                  </a:lnTo>
                  <a:lnTo>
                    <a:pt x="0" y="58"/>
                  </a:lnTo>
                  <a:lnTo>
                    <a:pt x="2" y="68"/>
                  </a:lnTo>
                  <a:lnTo>
                    <a:pt x="4" y="76"/>
                  </a:lnTo>
                  <a:lnTo>
                    <a:pt x="10" y="82"/>
                  </a:lnTo>
                  <a:lnTo>
                    <a:pt x="16" y="90"/>
                  </a:lnTo>
                  <a:lnTo>
                    <a:pt x="16" y="90"/>
                  </a:lnTo>
                  <a:lnTo>
                    <a:pt x="16" y="90"/>
                  </a:lnTo>
                  <a:lnTo>
                    <a:pt x="36" y="104"/>
                  </a:lnTo>
                  <a:lnTo>
                    <a:pt x="60" y="116"/>
                  </a:lnTo>
                  <a:lnTo>
                    <a:pt x="60" y="116"/>
                  </a:lnTo>
                  <a:lnTo>
                    <a:pt x="88" y="128"/>
                  </a:lnTo>
                  <a:lnTo>
                    <a:pt x="114" y="138"/>
                  </a:lnTo>
                  <a:lnTo>
                    <a:pt x="114" y="138"/>
                  </a:lnTo>
                  <a:lnTo>
                    <a:pt x="136" y="146"/>
                  </a:lnTo>
                  <a:lnTo>
                    <a:pt x="156" y="156"/>
                  </a:lnTo>
                  <a:lnTo>
                    <a:pt x="156" y="156"/>
                  </a:lnTo>
                  <a:lnTo>
                    <a:pt x="166" y="144"/>
                  </a:lnTo>
                  <a:lnTo>
                    <a:pt x="174" y="132"/>
                  </a:lnTo>
                  <a:lnTo>
                    <a:pt x="174" y="132"/>
                  </a:lnTo>
                  <a:lnTo>
                    <a:pt x="180" y="116"/>
                  </a:lnTo>
                  <a:lnTo>
                    <a:pt x="182" y="98"/>
                  </a:lnTo>
                  <a:lnTo>
                    <a:pt x="182" y="98"/>
                  </a:lnTo>
                  <a:lnTo>
                    <a:pt x="180" y="88"/>
                  </a:lnTo>
                  <a:lnTo>
                    <a:pt x="178" y="78"/>
                  </a:lnTo>
                  <a:lnTo>
                    <a:pt x="174" y="72"/>
                  </a:lnTo>
                  <a:lnTo>
                    <a:pt x="168" y="64"/>
                  </a:lnTo>
                  <a:lnTo>
                    <a:pt x="168" y="64"/>
                  </a:lnTo>
                  <a:lnTo>
                    <a:pt x="152" y="52"/>
                  </a:lnTo>
                  <a:lnTo>
                    <a:pt x="132" y="40"/>
                  </a:lnTo>
                  <a:lnTo>
                    <a:pt x="132" y="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T America" panose="00000500000000000000" pitchFamily="2" charset="0"/>
                <a:ea typeface="+mn-ea"/>
                <a:cs typeface="+mn-cs"/>
              </a:endParaRPr>
            </a:p>
          </p:txBody>
        </p:sp>
        <p:sp>
          <p:nvSpPr>
            <p:cNvPr id="170" name="Freeform 127"/>
            <p:cNvSpPr>
              <a:spLocks noEditPoints="1"/>
            </p:cNvSpPr>
            <p:nvPr/>
          </p:nvSpPr>
          <p:spPr bwMode="auto">
            <a:xfrm>
              <a:off x="3514" y="3472"/>
              <a:ext cx="838" cy="1218"/>
            </a:xfrm>
            <a:custGeom>
              <a:avLst/>
              <a:gdLst>
                <a:gd name="T0" fmla="*/ 798 w 838"/>
                <a:gd name="T1" fmla="*/ 1218 h 1218"/>
                <a:gd name="T2" fmla="*/ 820 w 838"/>
                <a:gd name="T3" fmla="*/ 1212 h 1218"/>
                <a:gd name="T4" fmla="*/ 836 w 838"/>
                <a:gd name="T5" fmla="*/ 1186 h 1218"/>
                <a:gd name="T6" fmla="*/ 836 w 838"/>
                <a:gd name="T7" fmla="*/ 32 h 1218"/>
                <a:gd name="T8" fmla="*/ 820 w 838"/>
                <a:gd name="T9" fmla="*/ 6 h 1218"/>
                <a:gd name="T10" fmla="*/ 798 w 838"/>
                <a:gd name="T11" fmla="*/ 0 h 1218"/>
                <a:gd name="T12" fmla="*/ 608 w 838"/>
                <a:gd name="T13" fmla="*/ 795 h 1218"/>
                <a:gd name="T14" fmla="*/ 612 w 838"/>
                <a:gd name="T15" fmla="*/ 849 h 1218"/>
                <a:gd name="T16" fmla="*/ 594 w 838"/>
                <a:gd name="T17" fmla="*/ 904 h 1218"/>
                <a:gd name="T18" fmla="*/ 546 w 838"/>
                <a:gd name="T19" fmla="*/ 956 h 1218"/>
                <a:gd name="T20" fmla="*/ 498 w 838"/>
                <a:gd name="T21" fmla="*/ 984 h 1218"/>
                <a:gd name="T22" fmla="*/ 442 w 838"/>
                <a:gd name="T23" fmla="*/ 998 h 1218"/>
                <a:gd name="T24" fmla="*/ 362 w 838"/>
                <a:gd name="T25" fmla="*/ 998 h 1218"/>
                <a:gd name="T26" fmla="*/ 236 w 838"/>
                <a:gd name="T27" fmla="*/ 974 h 1218"/>
                <a:gd name="T28" fmla="*/ 240 w 838"/>
                <a:gd name="T29" fmla="*/ 861 h 1218"/>
                <a:gd name="T30" fmla="*/ 246 w 838"/>
                <a:gd name="T31" fmla="*/ 855 h 1218"/>
                <a:gd name="T32" fmla="*/ 322 w 838"/>
                <a:gd name="T33" fmla="*/ 880 h 1218"/>
                <a:gd name="T34" fmla="*/ 398 w 838"/>
                <a:gd name="T35" fmla="*/ 890 h 1218"/>
                <a:gd name="T36" fmla="*/ 432 w 838"/>
                <a:gd name="T37" fmla="*/ 888 h 1218"/>
                <a:gd name="T38" fmla="*/ 468 w 838"/>
                <a:gd name="T39" fmla="*/ 870 h 1218"/>
                <a:gd name="T40" fmla="*/ 482 w 838"/>
                <a:gd name="T41" fmla="*/ 835 h 1218"/>
                <a:gd name="T42" fmla="*/ 472 w 838"/>
                <a:gd name="T43" fmla="*/ 811 h 1218"/>
                <a:gd name="T44" fmla="*/ 418 w 838"/>
                <a:gd name="T45" fmla="*/ 777 h 1218"/>
                <a:gd name="T46" fmla="*/ 322 w 838"/>
                <a:gd name="T47" fmla="*/ 741 h 1218"/>
                <a:gd name="T48" fmla="*/ 264 w 838"/>
                <a:gd name="T49" fmla="*/ 705 h 1218"/>
                <a:gd name="T50" fmla="*/ 232 w 838"/>
                <a:gd name="T51" fmla="*/ 667 h 1218"/>
                <a:gd name="T52" fmla="*/ 220 w 838"/>
                <a:gd name="T53" fmla="*/ 611 h 1218"/>
                <a:gd name="T54" fmla="*/ 238 w 838"/>
                <a:gd name="T55" fmla="*/ 535 h 1218"/>
                <a:gd name="T56" fmla="*/ 270 w 838"/>
                <a:gd name="T57" fmla="*/ 499 h 1218"/>
                <a:gd name="T58" fmla="*/ 252 w 838"/>
                <a:gd name="T59" fmla="*/ 459 h 1218"/>
                <a:gd name="T60" fmla="*/ 230 w 838"/>
                <a:gd name="T61" fmla="*/ 419 h 1218"/>
                <a:gd name="T62" fmla="*/ 226 w 838"/>
                <a:gd name="T63" fmla="*/ 361 h 1218"/>
                <a:gd name="T64" fmla="*/ 244 w 838"/>
                <a:gd name="T65" fmla="*/ 309 h 1218"/>
                <a:gd name="T66" fmla="*/ 292 w 838"/>
                <a:gd name="T67" fmla="*/ 257 h 1218"/>
                <a:gd name="T68" fmla="*/ 340 w 838"/>
                <a:gd name="T69" fmla="*/ 235 h 1218"/>
                <a:gd name="T70" fmla="*/ 394 w 838"/>
                <a:gd name="T71" fmla="*/ 221 h 1218"/>
                <a:gd name="T72" fmla="*/ 504 w 838"/>
                <a:gd name="T73" fmla="*/ 225 h 1218"/>
                <a:gd name="T74" fmla="*/ 582 w 838"/>
                <a:gd name="T75" fmla="*/ 245 h 1218"/>
                <a:gd name="T76" fmla="*/ 568 w 838"/>
                <a:gd name="T77" fmla="*/ 351 h 1218"/>
                <a:gd name="T78" fmla="*/ 562 w 838"/>
                <a:gd name="T79" fmla="*/ 351 h 1218"/>
                <a:gd name="T80" fmla="*/ 468 w 838"/>
                <a:gd name="T81" fmla="*/ 331 h 1218"/>
                <a:gd name="T82" fmla="*/ 404 w 838"/>
                <a:gd name="T83" fmla="*/ 331 h 1218"/>
                <a:gd name="T84" fmla="*/ 380 w 838"/>
                <a:gd name="T85" fmla="*/ 339 h 1218"/>
                <a:gd name="T86" fmla="*/ 358 w 838"/>
                <a:gd name="T87" fmla="*/ 367 h 1218"/>
                <a:gd name="T88" fmla="*/ 360 w 838"/>
                <a:gd name="T89" fmla="*/ 401 h 1218"/>
                <a:gd name="T90" fmla="*/ 392 w 838"/>
                <a:gd name="T91" fmla="*/ 427 h 1218"/>
                <a:gd name="T92" fmla="*/ 480 w 838"/>
                <a:gd name="T93" fmla="*/ 461 h 1218"/>
                <a:gd name="T94" fmla="*/ 560 w 838"/>
                <a:gd name="T95" fmla="*/ 501 h 1218"/>
                <a:gd name="T96" fmla="*/ 596 w 838"/>
                <a:gd name="T97" fmla="*/ 537 h 1218"/>
                <a:gd name="T98" fmla="*/ 618 w 838"/>
                <a:gd name="T99" fmla="*/ 609 h 1218"/>
                <a:gd name="T100" fmla="*/ 608 w 838"/>
                <a:gd name="T101" fmla="*/ 663 h 1218"/>
                <a:gd name="T102" fmla="*/ 582 w 838"/>
                <a:gd name="T103" fmla="*/ 705 h 1218"/>
                <a:gd name="T104" fmla="*/ 570 w 838"/>
                <a:gd name="T105" fmla="*/ 733 h 1218"/>
                <a:gd name="T106" fmla="*/ 596 w 838"/>
                <a:gd name="T107" fmla="*/ 765 h 1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838" h="1218">
                  <a:moveTo>
                    <a:pt x="798" y="0"/>
                  </a:moveTo>
                  <a:lnTo>
                    <a:pt x="0" y="0"/>
                  </a:lnTo>
                  <a:lnTo>
                    <a:pt x="0" y="1218"/>
                  </a:lnTo>
                  <a:lnTo>
                    <a:pt x="798" y="1218"/>
                  </a:lnTo>
                  <a:lnTo>
                    <a:pt x="798" y="1218"/>
                  </a:lnTo>
                  <a:lnTo>
                    <a:pt x="806" y="1218"/>
                  </a:lnTo>
                  <a:lnTo>
                    <a:pt x="814" y="1216"/>
                  </a:lnTo>
                  <a:lnTo>
                    <a:pt x="820" y="1212"/>
                  </a:lnTo>
                  <a:lnTo>
                    <a:pt x="826" y="1206"/>
                  </a:lnTo>
                  <a:lnTo>
                    <a:pt x="830" y="1200"/>
                  </a:lnTo>
                  <a:lnTo>
                    <a:pt x="834" y="1194"/>
                  </a:lnTo>
                  <a:lnTo>
                    <a:pt x="836" y="1186"/>
                  </a:lnTo>
                  <a:lnTo>
                    <a:pt x="838" y="1178"/>
                  </a:lnTo>
                  <a:lnTo>
                    <a:pt x="838" y="40"/>
                  </a:lnTo>
                  <a:lnTo>
                    <a:pt x="838" y="40"/>
                  </a:lnTo>
                  <a:lnTo>
                    <a:pt x="836" y="32"/>
                  </a:lnTo>
                  <a:lnTo>
                    <a:pt x="834" y="24"/>
                  </a:lnTo>
                  <a:lnTo>
                    <a:pt x="830" y="18"/>
                  </a:lnTo>
                  <a:lnTo>
                    <a:pt x="826" y="12"/>
                  </a:lnTo>
                  <a:lnTo>
                    <a:pt x="820" y="6"/>
                  </a:lnTo>
                  <a:lnTo>
                    <a:pt x="814" y="2"/>
                  </a:lnTo>
                  <a:lnTo>
                    <a:pt x="806" y="0"/>
                  </a:lnTo>
                  <a:lnTo>
                    <a:pt x="798" y="0"/>
                  </a:lnTo>
                  <a:lnTo>
                    <a:pt x="798" y="0"/>
                  </a:lnTo>
                  <a:close/>
                  <a:moveTo>
                    <a:pt x="596" y="765"/>
                  </a:moveTo>
                  <a:lnTo>
                    <a:pt x="596" y="765"/>
                  </a:lnTo>
                  <a:lnTo>
                    <a:pt x="604" y="779"/>
                  </a:lnTo>
                  <a:lnTo>
                    <a:pt x="608" y="795"/>
                  </a:lnTo>
                  <a:lnTo>
                    <a:pt x="612" y="811"/>
                  </a:lnTo>
                  <a:lnTo>
                    <a:pt x="612" y="827"/>
                  </a:lnTo>
                  <a:lnTo>
                    <a:pt x="612" y="827"/>
                  </a:lnTo>
                  <a:lnTo>
                    <a:pt x="612" y="849"/>
                  </a:lnTo>
                  <a:lnTo>
                    <a:pt x="608" y="868"/>
                  </a:lnTo>
                  <a:lnTo>
                    <a:pt x="602" y="886"/>
                  </a:lnTo>
                  <a:lnTo>
                    <a:pt x="594" y="904"/>
                  </a:lnTo>
                  <a:lnTo>
                    <a:pt x="594" y="904"/>
                  </a:lnTo>
                  <a:lnTo>
                    <a:pt x="584" y="918"/>
                  </a:lnTo>
                  <a:lnTo>
                    <a:pt x="574" y="932"/>
                  </a:lnTo>
                  <a:lnTo>
                    <a:pt x="560" y="946"/>
                  </a:lnTo>
                  <a:lnTo>
                    <a:pt x="546" y="956"/>
                  </a:lnTo>
                  <a:lnTo>
                    <a:pt x="546" y="956"/>
                  </a:lnTo>
                  <a:lnTo>
                    <a:pt x="532" y="966"/>
                  </a:lnTo>
                  <a:lnTo>
                    <a:pt x="516" y="976"/>
                  </a:lnTo>
                  <a:lnTo>
                    <a:pt x="498" y="984"/>
                  </a:lnTo>
                  <a:lnTo>
                    <a:pt x="480" y="990"/>
                  </a:lnTo>
                  <a:lnTo>
                    <a:pt x="480" y="990"/>
                  </a:lnTo>
                  <a:lnTo>
                    <a:pt x="462" y="994"/>
                  </a:lnTo>
                  <a:lnTo>
                    <a:pt x="442" y="998"/>
                  </a:lnTo>
                  <a:lnTo>
                    <a:pt x="424" y="1000"/>
                  </a:lnTo>
                  <a:lnTo>
                    <a:pt x="406" y="1000"/>
                  </a:lnTo>
                  <a:lnTo>
                    <a:pt x="406" y="1000"/>
                  </a:lnTo>
                  <a:lnTo>
                    <a:pt x="362" y="998"/>
                  </a:lnTo>
                  <a:lnTo>
                    <a:pt x="320" y="992"/>
                  </a:lnTo>
                  <a:lnTo>
                    <a:pt x="320" y="992"/>
                  </a:lnTo>
                  <a:lnTo>
                    <a:pt x="236" y="974"/>
                  </a:lnTo>
                  <a:lnTo>
                    <a:pt x="236" y="974"/>
                  </a:lnTo>
                  <a:lnTo>
                    <a:pt x="232" y="970"/>
                  </a:lnTo>
                  <a:lnTo>
                    <a:pt x="232" y="966"/>
                  </a:lnTo>
                  <a:lnTo>
                    <a:pt x="240" y="861"/>
                  </a:lnTo>
                  <a:lnTo>
                    <a:pt x="240" y="861"/>
                  </a:lnTo>
                  <a:lnTo>
                    <a:pt x="240" y="859"/>
                  </a:lnTo>
                  <a:lnTo>
                    <a:pt x="242" y="855"/>
                  </a:lnTo>
                  <a:lnTo>
                    <a:pt x="242" y="855"/>
                  </a:lnTo>
                  <a:lnTo>
                    <a:pt x="246" y="855"/>
                  </a:lnTo>
                  <a:lnTo>
                    <a:pt x="250" y="855"/>
                  </a:lnTo>
                  <a:lnTo>
                    <a:pt x="250" y="855"/>
                  </a:lnTo>
                  <a:lnTo>
                    <a:pt x="284" y="870"/>
                  </a:lnTo>
                  <a:lnTo>
                    <a:pt x="322" y="880"/>
                  </a:lnTo>
                  <a:lnTo>
                    <a:pt x="322" y="880"/>
                  </a:lnTo>
                  <a:lnTo>
                    <a:pt x="362" y="888"/>
                  </a:lnTo>
                  <a:lnTo>
                    <a:pt x="380" y="890"/>
                  </a:lnTo>
                  <a:lnTo>
                    <a:pt x="398" y="890"/>
                  </a:lnTo>
                  <a:lnTo>
                    <a:pt x="398" y="890"/>
                  </a:lnTo>
                  <a:lnTo>
                    <a:pt x="416" y="890"/>
                  </a:lnTo>
                  <a:lnTo>
                    <a:pt x="432" y="888"/>
                  </a:lnTo>
                  <a:lnTo>
                    <a:pt x="432" y="888"/>
                  </a:lnTo>
                  <a:lnTo>
                    <a:pt x="446" y="884"/>
                  </a:lnTo>
                  <a:lnTo>
                    <a:pt x="458" y="878"/>
                  </a:lnTo>
                  <a:lnTo>
                    <a:pt x="458" y="878"/>
                  </a:lnTo>
                  <a:lnTo>
                    <a:pt x="468" y="870"/>
                  </a:lnTo>
                  <a:lnTo>
                    <a:pt x="476" y="861"/>
                  </a:lnTo>
                  <a:lnTo>
                    <a:pt x="476" y="861"/>
                  </a:lnTo>
                  <a:lnTo>
                    <a:pt x="480" y="849"/>
                  </a:lnTo>
                  <a:lnTo>
                    <a:pt x="482" y="835"/>
                  </a:lnTo>
                  <a:lnTo>
                    <a:pt x="482" y="835"/>
                  </a:lnTo>
                  <a:lnTo>
                    <a:pt x="482" y="825"/>
                  </a:lnTo>
                  <a:lnTo>
                    <a:pt x="478" y="817"/>
                  </a:lnTo>
                  <a:lnTo>
                    <a:pt x="472" y="811"/>
                  </a:lnTo>
                  <a:lnTo>
                    <a:pt x="466" y="803"/>
                  </a:lnTo>
                  <a:lnTo>
                    <a:pt x="466" y="803"/>
                  </a:lnTo>
                  <a:lnTo>
                    <a:pt x="444" y="791"/>
                  </a:lnTo>
                  <a:lnTo>
                    <a:pt x="418" y="777"/>
                  </a:lnTo>
                  <a:lnTo>
                    <a:pt x="418" y="777"/>
                  </a:lnTo>
                  <a:lnTo>
                    <a:pt x="356" y="755"/>
                  </a:lnTo>
                  <a:lnTo>
                    <a:pt x="356" y="755"/>
                  </a:lnTo>
                  <a:lnTo>
                    <a:pt x="322" y="741"/>
                  </a:lnTo>
                  <a:lnTo>
                    <a:pt x="292" y="725"/>
                  </a:lnTo>
                  <a:lnTo>
                    <a:pt x="292" y="725"/>
                  </a:lnTo>
                  <a:lnTo>
                    <a:pt x="276" y="715"/>
                  </a:lnTo>
                  <a:lnTo>
                    <a:pt x="264" y="705"/>
                  </a:lnTo>
                  <a:lnTo>
                    <a:pt x="252" y="693"/>
                  </a:lnTo>
                  <a:lnTo>
                    <a:pt x="240" y="681"/>
                  </a:lnTo>
                  <a:lnTo>
                    <a:pt x="240" y="681"/>
                  </a:lnTo>
                  <a:lnTo>
                    <a:pt x="232" y="667"/>
                  </a:lnTo>
                  <a:lnTo>
                    <a:pt x="224" y="649"/>
                  </a:lnTo>
                  <a:lnTo>
                    <a:pt x="220" y="631"/>
                  </a:lnTo>
                  <a:lnTo>
                    <a:pt x="220" y="611"/>
                  </a:lnTo>
                  <a:lnTo>
                    <a:pt x="220" y="611"/>
                  </a:lnTo>
                  <a:lnTo>
                    <a:pt x="220" y="589"/>
                  </a:lnTo>
                  <a:lnTo>
                    <a:pt x="224" y="569"/>
                  </a:lnTo>
                  <a:lnTo>
                    <a:pt x="230" y="551"/>
                  </a:lnTo>
                  <a:lnTo>
                    <a:pt x="238" y="535"/>
                  </a:lnTo>
                  <a:lnTo>
                    <a:pt x="238" y="535"/>
                  </a:lnTo>
                  <a:lnTo>
                    <a:pt x="248" y="521"/>
                  </a:lnTo>
                  <a:lnTo>
                    <a:pt x="258" y="509"/>
                  </a:lnTo>
                  <a:lnTo>
                    <a:pt x="270" y="499"/>
                  </a:lnTo>
                  <a:lnTo>
                    <a:pt x="282" y="489"/>
                  </a:lnTo>
                  <a:lnTo>
                    <a:pt x="282" y="489"/>
                  </a:lnTo>
                  <a:lnTo>
                    <a:pt x="260" y="469"/>
                  </a:lnTo>
                  <a:lnTo>
                    <a:pt x="252" y="459"/>
                  </a:lnTo>
                  <a:lnTo>
                    <a:pt x="244" y="449"/>
                  </a:lnTo>
                  <a:lnTo>
                    <a:pt x="244" y="449"/>
                  </a:lnTo>
                  <a:lnTo>
                    <a:pt x="236" y="435"/>
                  </a:lnTo>
                  <a:lnTo>
                    <a:pt x="230" y="419"/>
                  </a:lnTo>
                  <a:lnTo>
                    <a:pt x="226" y="401"/>
                  </a:lnTo>
                  <a:lnTo>
                    <a:pt x="226" y="381"/>
                  </a:lnTo>
                  <a:lnTo>
                    <a:pt x="226" y="381"/>
                  </a:lnTo>
                  <a:lnTo>
                    <a:pt x="226" y="361"/>
                  </a:lnTo>
                  <a:lnTo>
                    <a:pt x="230" y="343"/>
                  </a:lnTo>
                  <a:lnTo>
                    <a:pt x="236" y="325"/>
                  </a:lnTo>
                  <a:lnTo>
                    <a:pt x="244" y="309"/>
                  </a:lnTo>
                  <a:lnTo>
                    <a:pt x="244" y="309"/>
                  </a:lnTo>
                  <a:lnTo>
                    <a:pt x="254" y="293"/>
                  </a:lnTo>
                  <a:lnTo>
                    <a:pt x="266" y="281"/>
                  </a:lnTo>
                  <a:lnTo>
                    <a:pt x="278" y="269"/>
                  </a:lnTo>
                  <a:lnTo>
                    <a:pt x="292" y="257"/>
                  </a:lnTo>
                  <a:lnTo>
                    <a:pt x="292" y="257"/>
                  </a:lnTo>
                  <a:lnTo>
                    <a:pt x="308" y="249"/>
                  </a:lnTo>
                  <a:lnTo>
                    <a:pt x="324" y="241"/>
                  </a:lnTo>
                  <a:lnTo>
                    <a:pt x="340" y="235"/>
                  </a:lnTo>
                  <a:lnTo>
                    <a:pt x="358" y="229"/>
                  </a:lnTo>
                  <a:lnTo>
                    <a:pt x="358" y="229"/>
                  </a:lnTo>
                  <a:lnTo>
                    <a:pt x="376" y="225"/>
                  </a:lnTo>
                  <a:lnTo>
                    <a:pt x="394" y="221"/>
                  </a:lnTo>
                  <a:lnTo>
                    <a:pt x="432" y="219"/>
                  </a:lnTo>
                  <a:lnTo>
                    <a:pt x="468" y="221"/>
                  </a:lnTo>
                  <a:lnTo>
                    <a:pt x="504" y="225"/>
                  </a:lnTo>
                  <a:lnTo>
                    <a:pt x="504" y="225"/>
                  </a:lnTo>
                  <a:lnTo>
                    <a:pt x="576" y="237"/>
                  </a:lnTo>
                  <a:lnTo>
                    <a:pt x="576" y="237"/>
                  </a:lnTo>
                  <a:lnTo>
                    <a:pt x="580" y="241"/>
                  </a:lnTo>
                  <a:lnTo>
                    <a:pt x="582" y="245"/>
                  </a:lnTo>
                  <a:lnTo>
                    <a:pt x="572" y="345"/>
                  </a:lnTo>
                  <a:lnTo>
                    <a:pt x="572" y="345"/>
                  </a:lnTo>
                  <a:lnTo>
                    <a:pt x="572" y="347"/>
                  </a:lnTo>
                  <a:lnTo>
                    <a:pt x="568" y="351"/>
                  </a:lnTo>
                  <a:lnTo>
                    <a:pt x="568" y="351"/>
                  </a:lnTo>
                  <a:lnTo>
                    <a:pt x="566" y="351"/>
                  </a:lnTo>
                  <a:lnTo>
                    <a:pt x="562" y="351"/>
                  </a:lnTo>
                  <a:lnTo>
                    <a:pt x="562" y="351"/>
                  </a:lnTo>
                  <a:lnTo>
                    <a:pt x="532" y="341"/>
                  </a:lnTo>
                  <a:lnTo>
                    <a:pt x="500" y="335"/>
                  </a:lnTo>
                  <a:lnTo>
                    <a:pt x="500" y="335"/>
                  </a:lnTo>
                  <a:lnTo>
                    <a:pt x="468" y="331"/>
                  </a:lnTo>
                  <a:lnTo>
                    <a:pt x="436" y="329"/>
                  </a:lnTo>
                  <a:lnTo>
                    <a:pt x="436" y="329"/>
                  </a:lnTo>
                  <a:lnTo>
                    <a:pt x="420" y="329"/>
                  </a:lnTo>
                  <a:lnTo>
                    <a:pt x="404" y="331"/>
                  </a:lnTo>
                  <a:lnTo>
                    <a:pt x="404" y="331"/>
                  </a:lnTo>
                  <a:lnTo>
                    <a:pt x="390" y="335"/>
                  </a:lnTo>
                  <a:lnTo>
                    <a:pt x="380" y="339"/>
                  </a:lnTo>
                  <a:lnTo>
                    <a:pt x="380" y="339"/>
                  </a:lnTo>
                  <a:lnTo>
                    <a:pt x="370" y="347"/>
                  </a:lnTo>
                  <a:lnTo>
                    <a:pt x="362" y="357"/>
                  </a:lnTo>
                  <a:lnTo>
                    <a:pt x="362" y="357"/>
                  </a:lnTo>
                  <a:lnTo>
                    <a:pt x="358" y="367"/>
                  </a:lnTo>
                  <a:lnTo>
                    <a:pt x="356" y="383"/>
                  </a:lnTo>
                  <a:lnTo>
                    <a:pt x="356" y="383"/>
                  </a:lnTo>
                  <a:lnTo>
                    <a:pt x="358" y="391"/>
                  </a:lnTo>
                  <a:lnTo>
                    <a:pt x="360" y="401"/>
                  </a:lnTo>
                  <a:lnTo>
                    <a:pt x="364" y="407"/>
                  </a:lnTo>
                  <a:lnTo>
                    <a:pt x="372" y="415"/>
                  </a:lnTo>
                  <a:lnTo>
                    <a:pt x="372" y="415"/>
                  </a:lnTo>
                  <a:lnTo>
                    <a:pt x="392" y="427"/>
                  </a:lnTo>
                  <a:lnTo>
                    <a:pt x="418" y="439"/>
                  </a:lnTo>
                  <a:lnTo>
                    <a:pt x="418" y="439"/>
                  </a:lnTo>
                  <a:lnTo>
                    <a:pt x="480" y="461"/>
                  </a:lnTo>
                  <a:lnTo>
                    <a:pt x="480" y="461"/>
                  </a:lnTo>
                  <a:lnTo>
                    <a:pt x="514" y="475"/>
                  </a:lnTo>
                  <a:lnTo>
                    <a:pt x="546" y="491"/>
                  </a:lnTo>
                  <a:lnTo>
                    <a:pt x="546" y="491"/>
                  </a:lnTo>
                  <a:lnTo>
                    <a:pt x="560" y="501"/>
                  </a:lnTo>
                  <a:lnTo>
                    <a:pt x="574" y="511"/>
                  </a:lnTo>
                  <a:lnTo>
                    <a:pt x="586" y="523"/>
                  </a:lnTo>
                  <a:lnTo>
                    <a:pt x="596" y="537"/>
                  </a:lnTo>
                  <a:lnTo>
                    <a:pt x="596" y="537"/>
                  </a:lnTo>
                  <a:lnTo>
                    <a:pt x="606" y="551"/>
                  </a:lnTo>
                  <a:lnTo>
                    <a:pt x="612" y="569"/>
                  </a:lnTo>
                  <a:lnTo>
                    <a:pt x="618" y="589"/>
                  </a:lnTo>
                  <a:lnTo>
                    <a:pt x="618" y="609"/>
                  </a:lnTo>
                  <a:lnTo>
                    <a:pt x="618" y="609"/>
                  </a:lnTo>
                  <a:lnTo>
                    <a:pt x="618" y="627"/>
                  </a:lnTo>
                  <a:lnTo>
                    <a:pt x="614" y="645"/>
                  </a:lnTo>
                  <a:lnTo>
                    <a:pt x="608" y="663"/>
                  </a:lnTo>
                  <a:lnTo>
                    <a:pt x="600" y="679"/>
                  </a:lnTo>
                  <a:lnTo>
                    <a:pt x="600" y="679"/>
                  </a:lnTo>
                  <a:lnTo>
                    <a:pt x="592" y="693"/>
                  </a:lnTo>
                  <a:lnTo>
                    <a:pt x="582" y="705"/>
                  </a:lnTo>
                  <a:lnTo>
                    <a:pt x="570" y="715"/>
                  </a:lnTo>
                  <a:lnTo>
                    <a:pt x="558" y="725"/>
                  </a:lnTo>
                  <a:lnTo>
                    <a:pt x="558" y="725"/>
                  </a:lnTo>
                  <a:lnTo>
                    <a:pt x="570" y="733"/>
                  </a:lnTo>
                  <a:lnTo>
                    <a:pt x="580" y="743"/>
                  </a:lnTo>
                  <a:lnTo>
                    <a:pt x="588" y="753"/>
                  </a:lnTo>
                  <a:lnTo>
                    <a:pt x="596" y="765"/>
                  </a:lnTo>
                  <a:lnTo>
                    <a:pt x="596" y="76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T America" panose="00000500000000000000" pitchFamily="2" charset="0"/>
                <a:ea typeface="+mn-ea"/>
                <a:cs typeface="+mn-cs"/>
              </a:endParaRPr>
            </a:p>
          </p:txBody>
        </p:sp>
      </p:grpSp>
      <p:sp>
        <p:nvSpPr>
          <p:cNvPr id="27" name="Rechteck 26"/>
          <p:cNvSpPr/>
          <p:nvPr/>
        </p:nvSpPr>
        <p:spPr>
          <a:xfrm>
            <a:off x="279162" y="2932863"/>
            <a:ext cx="2042752" cy="1620001"/>
          </a:xfrm>
          <a:prstGeom prst="rect">
            <a:avLst/>
          </a:prstGeom>
          <a:solidFill>
            <a:schemeClr val="accent3"/>
          </a:solidFill>
        </p:spPr>
        <p:txBody>
          <a:bodyPr wrap="square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T America" panose="00000500000000000000" pitchFamily="2" charset="0"/>
                <a:ea typeface="+mn-ea"/>
                <a:cs typeface="+mn-cs"/>
              </a:rPr>
              <a:t>Wettbewerbliche Vergaben </a:t>
            </a:r>
          </a:p>
        </p:txBody>
      </p:sp>
      <p:grpSp>
        <p:nvGrpSpPr>
          <p:cNvPr id="191" name="Group 143"/>
          <p:cNvGrpSpPr>
            <a:grpSpLocks noChangeAspect="1"/>
          </p:cNvGrpSpPr>
          <p:nvPr/>
        </p:nvGrpSpPr>
        <p:grpSpPr bwMode="auto">
          <a:xfrm>
            <a:off x="844237" y="3630960"/>
            <a:ext cx="912603" cy="848607"/>
            <a:chOff x="3183" y="3581"/>
            <a:chExt cx="1369" cy="1273"/>
          </a:xfrm>
          <a:solidFill>
            <a:schemeClr val="bg1"/>
          </a:solidFill>
        </p:grpSpPr>
        <p:sp>
          <p:nvSpPr>
            <p:cNvPr id="193" name="Freeform 144"/>
            <p:cNvSpPr>
              <a:spLocks noEditPoints="1"/>
            </p:cNvSpPr>
            <p:nvPr/>
          </p:nvSpPr>
          <p:spPr bwMode="auto">
            <a:xfrm>
              <a:off x="3183" y="3581"/>
              <a:ext cx="1369" cy="1273"/>
            </a:xfrm>
            <a:custGeom>
              <a:avLst/>
              <a:gdLst>
                <a:gd name="T0" fmla="*/ 578 w 1369"/>
                <a:gd name="T1" fmla="*/ 1259 h 1273"/>
                <a:gd name="T2" fmla="*/ 382 w 1369"/>
                <a:gd name="T3" fmla="*/ 1121 h 1273"/>
                <a:gd name="T4" fmla="*/ 316 w 1369"/>
                <a:gd name="T5" fmla="*/ 981 h 1273"/>
                <a:gd name="T6" fmla="*/ 308 w 1369"/>
                <a:gd name="T7" fmla="*/ 859 h 1273"/>
                <a:gd name="T8" fmla="*/ 348 w 1369"/>
                <a:gd name="T9" fmla="*/ 727 h 1273"/>
                <a:gd name="T10" fmla="*/ 330 w 1369"/>
                <a:gd name="T11" fmla="*/ 604 h 1273"/>
                <a:gd name="T12" fmla="*/ 20 w 1369"/>
                <a:gd name="T13" fmla="*/ 288 h 1273"/>
                <a:gd name="T14" fmla="*/ 12 w 1369"/>
                <a:gd name="T15" fmla="*/ 238 h 1273"/>
                <a:gd name="T16" fmla="*/ 144 w 1369"/>
                <a:gd name="T17" fmla="*/ 12 h 1273"/>
                <a:gd name="T18" fmla="*/ 384 w 1369"/>
                <a:gd name="T19" fmla="*/ 0 h 1273"/>
                <a:gd name="T20" fmla="*/ 805 w 1369"/>
                <a:gd name="T21" fmla="*/ 0 h 1273"/>
                <a:gd name="T22" fmla="*/ 1211 w 1369"/>
                <a:gd name="T23" fmla="*/ 4 h 1273"/>
                <a:gd name="T24" fmla="*/ 1305 w 1369"/>
                <a:gd name="T25" fmla="*/ 148 h 1273"/>
                <a:gd name="T26" fmla="*/ 1365 w 1369"/>
                <a:gd name="T27" fmla="*/ 268 h 1273"/>
                <a:gd name="T28" fmla="*/ 987 w 1369"/>
                <a:gd name="T29" fmla="*/ 653 h 1273"/>
                <a:gd name="T30" fmla="*/ 987 w 1369"/>
                <a:gd name="T31" fmla="*/ 675 h 1273"/>
                <a:gd name="T32" fmla="*/ 1039 w 1369"/>
                <a:gd name="T33" fmla="*/ 775 h 1273"/>
                <a:gd name="T34" fmla="*/ 1055 w 1369"/>
                <a:gd name="T35" fmla="*/ 961 h 1273"/>
                <a:gd name="T36" fmla="*/ 923 w 1369"/>
                <a:gd name="T37" fmla="*/ 1187 h 1273"/>
                <a:gd name="T38" fmla="*/ 757 w 1369"/>
                <a:gd name="T39" fmla="*/ 1267 h 1273"/>
                <a:gd name="T40" fmla="*/ 390 w 1369"/>
                <a:gd name="T41" fmla="*/ 218 h 1273"/>
                <a:gd name="T42" fmla="*/ 885 w 1369"/>
                <a:gd name="T43" fmla="*/ 236 h 1273"/>
                <a:gd name="T44" fmla="*/ 1119 w 1369"/>
                <a:gd name="T45" fmla="*/ 72 h 1273"/>
                <a:gd name="T46" fmla="*/ 566 w 1369"/>
                <a:gd name="T47" fmla="*/ 48 h 1273"/>
                <a:gd name="T48" fmla="*/ 354 w 1369"/>
                <a:gd name="T49" fmla="*/ 897 h 1273"/>
                <a:gd name="T50" fmla="*/ 398 w 1369"/>
                <a:gd name="T51" fmla="*/ 1065 h 1273"/>
                <a:gd name="T52" fmla="*/ 504 w 1369"/>
                <a:gd name="T53" fmla="*/ 1175 h 1273"/>
                <a:gd name="T54" fmla="*/ 674 w 1369"/>
                <a:gd name="T55" fmla="*/ 1227 h 1273"/>
                <a:gd name="T56" fmla="*/ 817 w 1369"/>
                <a:gd name="T57" fmla="*/ 1199 h 1273"/>
                <a:gd name="T58" fmla="*/ 939 w 1369"/>
                <a:gd name="T59" fmla="*/ 1107 h 1273"/>
                <a:gd name="T60" fmla="*/ 999 w 1369"/>
                <a:gd name="T61" fmla="*/ 997 h 1273"/>
                <a:gd name="T62" fmla="*/ 1005 w 1369"/>
                <a:gd name="T63" fmla="*/ 823 h 1273"/>
                <a:gd name="T64" fmla="*/ 905 w 1369"/>
                <a:gd name="T65" fmla="*/ 651 h 1273"/>
                <a:gd name="T66" fmla="*/ 745 w 1369"/>
                <a:gd name="T67" fmla="*/ 572 h 1273"/>
                <a:gd name="T68" fmla="*/ 592 w 1369"/>
                <a:gd name="T69" fmla="*/ 580 h 1273"/>
                <a:gd name="T70" fmla="*/ 462 w 1369"/>
                <a:gd name="T71" fmla="*/ 649 h 1273"/>
                <a:gd name="T72" fmla="*/ 368 w 1369"/>
                <a:gd name="T73" fmla="*/ 799 h 1273"/>
                <a:gd name="T74" fmla="*/ 150 w 1369"/>
                <a:gd name="T75" fmla="*/ 166 h 1273"/>
                <a:gd name="T76" fmla="*/ 530 w 1369"/>
                <a:gd name="T77" fmla="*/ 546 h 1273"/>
                <a:gd name="T78" fmla="*/ 610 w 1369"/>
                <a:gd name="T79" fmla="*/ 528 h 1273"/>
                <a:gd name="T80" fmla="*/ 224 w 1369"/>
                <a:gd name="T81" fmla="*/ 124 h 1273"/>
                <a:gd name="T82" fmla="*/ 168 w 1369"/>
                <a:gd name="T83" fmla="*/ 66 h 1273"/>
                <a:gd name="T84" fmla="*/ 1043 w 1369"/>
                <a:gd name="T85" fmla="*/ 218 h 1273"/>
                <a:gd name="T86" fmla="*/ 741 w 1369"/>
                <a:gd name="T87" fmla="*/ 520 h 1273"/>
                <a:gd name="T88" fmla="*/ 839 w 1369"/>
                <a:gd name="T89" fmla="*/ 544 h 1273"/>
                <a:gd name="T90" fmla="*/ 1229 w 1369"/>
                <a:gd name="T91" fmla="*/ 154 h 1273"/>
                <a:gd name="T92" fmla="*/ 1225 w 1369"/>
                <a:gd name="T93" fmla="*/ 106 h 1273"/>
                <a:gd name="T94" fmla="*/ 755 w 1369"/>
                <a:gd name="T95" fmla="*/ 284 h 1273"/>
                <a:gd name="T96" fmla="*/ 674 w 1369"/>
                <a:gd name="T97" fmla="*/ 498 h 1273"/>
                <a:gd name="T98" fmla="*/ 701 w 1369"/>
                <a:gd name="T99" fmla="*/ 490 h 1273"/>
                <a:gd name="T100" fmla="*/ 88 w 1369"/>
                <a:gd name="T101" fmla="*/ 198 h 1273"/>
                <a:gd name="T102" fmla="*/ 58 w 1369"/>
                <a:gd name="T103" fmla="*/ 262 h 1273"/>
                <a:gd name="T104" fmla="*/ 414 w 1369"/>
                <a:gd name="T105" fmla="*/ 618 h 1273"/>
                <a:gd name="T106" fmla="*/ 446 w 1369"/>
                <a:gd name="T107" fmla="*/ 606 h 1273"/>
                <a:gd name="T108" fmla="*/ 242 w 1369"/>
                <a:gd name="T109" fmla="*/ 328 h 1273"/>
                <a:gd name="T110" fmla="*/ 947 w 1369"/>
                <a:gd name="T111" fmla="*/ 628 h 1273"/>
                <a:gd name="T112" fmla="*/ 1227 w 1369"/>
                <a:gd name="T113" fmla="*/ 344 h 1273"/>
                <a:gd name="T114" fmla="*/ 1303 w 1369"/>
                <a:gd name="T115" fmla="*/ 236 h 1273"/>
                <a:gd name="T116" fmla="*/ 1137 w 1369"/>
                <a:gd name="T117" fmla="*/ 314 h 1273"/>
                <a:gd name="T118" fmla="*/ 883 w 1369"/>
                <a:gd name="T119" fmla="*/ 568 h 12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369" h="1273">
                  <a:moveTo>
                    <a:pt x="697" y="1273"/>
                  </a:moveTo>
                  <a:lnTo>
                    <a:pt x="697" y="1273"/>
                  </a:lnTo>
                  <a:lnTo>
                    <a:pt x="670" y="1273"/>
                  </a:lnTo>
                  <a:lnTo>
                    <a:pt x="670" y="1273"/>
                  </a:lnTo>
                  <a:lnTo>
                    <a:pt x="654" y="1273"/>
                  </a:lnTo>
                  <a:lnTo>
                    <a:pt x="654" y="1273"/>
                  </a:lnTo>
                  <a:lnTo>
                    <a:pt x="616" y="1267"/>
                  </a:lnTo>
                  <a:lnTo>
                    <a:pt x="596" y="1263"/>
                  </a:lnTo>
                  <a:lnTo>
                    <a:pt x="578" y="1259"/>
                  </a:lnTo>
                  <a:lnTo>
                    <a:pt x="578" y="1259"/>
                  </a:lnTo>
                  <a:lnTo>
                    <a:pt x="538" y="1243"/>
                  </a:lnTo>
                  <a:lnTo>
                    <a:pt x="500" y="1225"/>
                  </a:lnTo>
                  <a:lnTo>
                    <a:pt x="500" y="1225"/>
                  </a:lnTo>
                  <a:lnTo>
                    <a:pt x="466" y="1205"/>
                  </a:lnTo>
                  <a:lnTo>
                    <a:pt x="436" y="1181"/>
                  </a:lnTo>
                  <a:lnTo>
                    <a:pt x="408" y="1153"/>
                  </a:lnTo>
                  <a:lnTo>
                    <a:pt x="382" y="1121"/>
                  </a:lnTo>
                  <a:lnTo>
                    <a:pt x="382" y="1121"/>
                  </a:lnTo>
                  <a:lnTo>
                    <a:pt x="360" y="1085"/>
                  </a:lnTo>
                  <a:lnTo>
                    <a:pt x="340" y="1049"/>
                  </a:lnTo>
                  <a:lnTo>
                    <a:pt x="340" y="1049"/>
                  </a:lnTo>
                  <a:lnTo>
                    <a:pt x="332" y="1033"/>
                  </a:lnTo>
                  <a:lnTo>
                    <a:pt x="326" y="1017"/>
                  </a:lnTo>
                  <a:lnTo>
                    <a:pt x="326" y="1017"/>
                  </a:lnTo>
                  <a:lnTo>
                    <a:pt x="320" y="999"/>
                  </a:lnTo>
                  <a:lnTo>
                    <a:pt x="316" y="981"/>
                  </a:lnTo>
                  <a:lnTo>
                    <a:pt x="316" y="981"/>
                  </a:lnTo>
                  <a:lnTo>
                    <a:pt x="312" y="961"/>
                  </a:lnTo>
                  <a:lnTo>
                    <a:pt x="308" y="941"/>
                  </a:lnTo>
                  <a:lnTo>
                    <a:pt x="308" y="941"/>
                  </a:lnTo>
                  <a:lnTo>
                    <a:pt x="306" y="921"/>
                  </a:lnTo>
                  <a:lnTo>
                    <a:pt x="306" y="901"/>
                  </a:lnTo>
                  <a:lnTo>
                    <a:pt x="306" y="901"/>
                  </a:lnTo>
                  <a:lnTo>
                    <a:pt x="306" y="879"/>
                  </a:lnTo>
                  <a:lnTo>
                    <a:pt x="308" y="859"/>
                  </a:lnTo>
                  <a:lnTo>
                    <a:pt x="308" y="859"/>
                  </a:lnTo>
                  <a:lnTo>
                    <a:pt x="316" y="819"/>
                  </a:lnTo>
                  <a:lnTo>
                    <a:pt x="316" y="819"/>
                  </a:lnTo>
                  <a:lnTo>
                    <a:pt x="320" y="803"/>
                  </a:lnTo>
                  <a:lnTo>
                    <a:pt x="324" y="787"/>
                  </a:lnTo>
                  <a:lnTo>
                    <a:pt x="324" y="787"/>
                  </a:lnTo>
                  <a:lnTo>
                    <a:pt x="332" y="765"/>
                  </a:lnTo>
                  <a:lnTo>
                    <a:pt x="338" y="745"/>
                  </a:lnTo>
                  <a:lnTo>
                    <a:pt x="338" y="745"/>
                  </a:lnTo>
                  <a:lnTo>
                    <a:pt x="348" y="727"/>
                  </a:lnTo>
                  <a:lnTo>
                    <a:pt x="358" y="709"/>
                  </a:lnTo>
                  <a:lnTo>
                    <a:pt x="380" y="673"/>
                  </a:lnTo>
                  <a:lnTo>
                    <a:pt x="380" y="673"/>
                  </a:lnTo>
                  <a:lnTo>
                    <a:pt x="390" y="661"/>
                  </a:lnTo>
                  <a:lnTo>
                    <a:pt x="390" y="661"/>
                  </a:lnTo>
                  <a:lnTo>
                    <a:pt x="380" y="653"/>
                  </a:lnTo>
                  <a:lnTo>
                    <a:pt x="372" y="643"/>
                  </a:lnTo>
                  <a:lnTo>
                    <a:pt x="372" y="643"/>
                  </a:lnTo>
                  <a:lnTo>
                    <a:pt x="330" y="604"/>
                  </a:lnTo>
                  <a:lnTo>
                    <a:pt x="330" y="604"/>
                  </a:lnTo>
                  <a:lnTo>
                    <a:pt x="208" y="482"/>
                  </a:lnTo>
                  <a:lnTo>
                    <a:pt x="208" y="482"/>
                  </a:lnTo>
                  <a:lnTo>
                    <a:pt x="108" y="380"/>
                  </a:lnTo>
                  <a:lnTo>
                    <a:pt x="108" y="380"/>
                  </a:lnTo>
                  <a:lnTo>
                    <a:pt x="48" y="318"/>
                  </a:lnTo>
                  <a:lnTo>
                    <a:pt x="48" y="318"/>
                  </a:lnTo>
                  <a:lnTo>
                    <a:pt x="20" y="288"/>
                  </a:lnTo>
                  <a:lnTo>
                    <a:pt x="20" y="288"/>
                  </a:lnTo>
                  <a:lnTo>
                    <a:pt x="6" y="274"/>
                  </a:lnTo>
                  <a:lnTo>
                    <a:pt x="6" y="274"/>
                  </a:lnTo>
                  <a:lnTo>
                    <a:pt x="2" y="268"/>
                  </a:lnTo>
                  <a:lnTo>
                    <a:pt x="0" y="264"/>
                  </a:lnTo>
                  <a:lnTo>
                    <a:pt x="0" y="258"/>
                  </a:lnTo>
                  <a:lnTo>
                    <a:pt x="4" y="252"/>
                  </a:lnTo>
                  <a:lnTo>
                    <a:pt x="4" y="252"/>
                  </a:lnTo>
                  <a:lnTo>
                    <a:pt x="12" y="238"/>
                  </a:lnTo>
                  <a:lnTo>
                    <a:pt x="12" y="238"/>
                  </a:lnTo>
                  <a:lnTo>
                    <a:pt x="80" y="118"/>
                  </a:lnTo>
                  <a:lnTo>
                    <a:pt x="80" y="118"/>
                  </a:lnTo>
                  <a:lnTo>
                    <a:pt x="110" y="70"/>
                  </a:lnTo>
                  <a:lnTo>
                    <a:pt x="110" y="70"/>
                  </a:lnTo>
                  <a:lnTo>
                    <a:pt x="132" y="32"/>
                  </a:lnTo>
                  <a:lnTo>
                    <a:pt x="132" y="32"/>
                  </a:lnTo>
                  <a:lnTo>
                    <a:pt x="138" y="22"/>
                  </a:lnTo>
                  <a:lnTo>
                    <a:pt x="144" y="12"/>
                  </a:lnTo>
                  <a:lnTo>
                    <a:pt x="144" y="12"/>
                  </a:lnTo>
                  <a:lnTo>
                    <a:pt x="148" y="8"/>
                  </a:lnTo>
                  <a:lnTo>
                    <a:pt x="152" y="6"/>
                  </a:lnTo>
                  <a:lnTo>
                    <a:pt x="162" y="4"/>
                  </a:lnTo>
                  <a:lnTo>
                    <a:pt x="162" y="4"/>
                  </a:lnTo>
                  <a:lnTo>
                    <a:pt x="194" y="2"/>
                  </a:lnTo>
                  <a:lnTo>
                    <a:pt x="194" y="2"/>
                  </a:lnTo>
                  <a:lnTo>
                    <a:pt x="224" y="2"/>
                  </a:lnTo>
                  <a:lnTo>
                    <a:pt x="224" y="2"/>
                  </a:lnTo>
                  <a:lnTo>
                    <a:pt x="384" y="0"/>
                  </a:lnTo>
                  <a:lnTo>
                    <a:pt x="384" y="0"/>
                  </a:lnTo>
                  <a:lnTo>
                    <a:pt x="518" y="0"/>
                  </a:lnTo>
                  <a:lnTo>
                    <a:pt x="518" y="0"/>
                  </a:lnTo>
                  <a:lnTo>
                    <a:pt x="526" y="0"/>
                  </a:lnTo>
                  <a:lnTo>
                    <a:pt x="526" y="0"/>
                  </a:lnTo>
                  <a:lnTo>
                    <a:pt x="618" y="0"/>
                  </a:lnTo>
                  <a:lnTo>
                    <a:pt x="618" y="0"/>
                  </a:lnTo>
                  <a:lnTo>
                    <a:pt x="805" y="0"/>
                  </a:lnTo>
                  <a:lnTo>
                    <a:pt x="805" y="0"/>
                  </a:lnTo>
                  <a:lnTo>
                    <a:pt x="961" y="0"/>
                  </a:lnTo>
                  <a:lnTo>
                    <a:pt x="961" y="0"/>
                  </a:lnTo>
                  <a:lnTo>
                    <a:pt x="1035" y="0"/>
                  </a:lnTo>
                  <a:lnTo>
                    <a:pt x="1035" y="0"/>
                  </a:lnTo>
                  <a:lnTo>
                    <a:pt x="1197" y="4"/>
                  </a:lnTo>
                  <a:lnTo>
                    <a:pt x="1197" y="4"/>
                  </a:lnTo>
                  <a:lnTo>
                    <a:pt x="1199" y="4"/>
                  </a:lnTo>
                  <a:lnTo>
                    <a:pt x="1199" y="4"/>
                  </a:lnTo>
                  <a:lnTo>
                    <a:pt x="1211" y="4"/>
                  </a:lnTo>
                  <a:lnTo>
                    <a:pt x="1215" y="6"/>
                  </a:lnTo>
                  <a:lnTo>
                    <a:pt x="1219" y="10"/>
                  </a:lnTo>
                  <a:lnTo>
                    <a:pt x="1219" y="10"/>
                  </a:lnTo>
                  <a:lnTo>
                    <a:pt x="1225" y="18"/>
                  </a:lnTo>
                  <a:lnTo>
                    <a:pt x="1225" y="18"/>
                  </a:lnTo>
                  <a:lnTo>
                    <a:pt x="1243" y="46"/>
                  </a:lnTo>
                  <a:lnTo>
                    <a:pt x="1243" y="46"/>
                  </a:lnTo>
                  <a:lnTo>
                    <a:pt x="1305" y="148"/>
                  </a:lnTo>
                  <a:lnTo>
                    <a:pt x="1305" y="148"/>
                  </a:lnTo>
                  <a:lnTo>
                    <a:pt x="1335" y="200"/>
                  </a:lnTo>
                  <a:lnTo>
                    <a:pt x="1335" y="200"/>
                  </a:lnTo>
                  <a:lnTo>
                    <a:pt x="1363" y="250"/>
                  </a:lnTo>
                  <a:lnTo>
                    <a:pt x="1363" y="250"/>
                  </a:lnTo>
                  <a:lnTo>
                    <a:pt x="1367" y="256"/>
                  </a:lnTo>
                  <a:lnTo>
                    <a:pt x="1369" y="262"/>
                  </a:lnTo>
                  <a:lnTo>
                    <a:pt x="1369" y="262"/>
                  </a:lnTo>
                  <a:lnTo>
                    <a:pt x="1367" y="266"/>
                  </a:lnTo>
                  <a:lnTo>
                    <a:pt x="1365" y="268"/>
                  </a:lnTo>
                  <a:lnTo>
                    <a:pt x="1359" y="276"/>
                  </a:lnTo>
                  <a:lnTo>
                    <a:pt x="1359" y="276"/>
                  </a:lnTo>
                  <a:lnTo>
                    <a:pt x="1315" y="322"/>
                  </a:lnTo>
                  <a:lnTo>
                    <a:pt x="1269" y="368"/>
                  </a:lnTo>
                  <a:lnTo>
                    <a:pt x="1269" y="368"/>
                  </a:lnTo>
                  <a:lnTo>
                    <a:pt x="1109" y="530"/>
                  </a:lnTo>
                  <a:lnTo>
                    <a:pt x="1109" y="530"/>
                  </a:lnTo>
                  <a:lnTo>
                    <a:pt x="987" y="653"/>
                  </a:lnTo>
                  <a:lnTo>
                    <a:pt x="987" y="653"/>
                  </a:lnTo>
                  <a:lnTo>
                    <a:pt x="983" y="655"/>
                  </a:lnTo>
                  <a:lnTo>
                    <a:pt x="983" y="655"/>
                  </a:lnTo>
                  <a:lnTo>
                    <a:pt x="977" y="659"/>
                  </a:lnTo>
                  <a:lnTo>
                    <a:pt x="977" y="659"/>
                  </a:lnTo>
                  <a:lnTo>
                    <a:pt x="977" y="661"/>
                  </a:lnTo>
                  <a:lnTo>
                    <a:pt x="977" y="663"/>
                  </a:lnTo>
                  <a:lnTo>
                    <a:pt x="981" y="665"/>
                  </a:lnTo>
                  <a:lnTo>
                    <a:pt x="981" y="665"/>
                  </a:lnTo>
                  <a:lnTo>
                    <a:pt x="987" y="675"/>
                  </a:lnTo>
                  <a:lnTo>
                    <a:pt x="993" y="685"/>
                  </a:lnTo>
                  <a:lnTo>
                    <a:pt x="993" y="685"/>
                  </a:lnTo>
                  <a:lnTo>
                    <a:pt x="1003" y="701"/>
                  </a:lnTo>
                  <a:lnTo>
                    <a:pt x="1003" y="701"/>
                  </a:lnTo>
                  <a:lnTo>
                    <a:pt x="1015" y="719"/>
                  </a:lnTo>
                  <a:lnTo>
                    <a:pt x="1023" y="735"/>
                  </a:lnTo>
                  <a:lnTo>
                    <a:pt x="1023" y="735"/>
                  </a:lnTo>
                  <a:lnTo>
                    <a:pt x="1031" y="755"/>
                  </a:lnTo>
                  <a:lnTo>
                    <a:pt x="1039" y="775"/>
                  </a:lnTo>
                  <a:lnTo>
                    <a:pt x="1039" y="775"/>
                  </a:lnTo>
                  <a:lnTo>
                    <a:pt x="1045" y="795"/>
                  </a:lnTo>
                  <a:lnTo>
                    <a:pt x="1051" y="815"/>
                  </a:lnTo>
                  <a:lnTo>
                    <a:pt x="1055" y="837"/>
                  </a:lnTo>
                  <a:lnTo>
                    <a:pt x="1057" y="857"/>
                  </a:lnTo>
                  <a:lnTo>
                    <a:pt x="1059" y="899"/>
                  </a:lnTo>
                  <a:lnTo>
                    <a:pt x="1057" y="939"/>
                  </a:lnTo>
                  <a:lnTo>
                    <a:pt x="1057" y="939"/>
                  </a:lnTo>
                  <a:lnTo>
                    <a:pt x="1055" y="961"/>
                  </a:lnTo>
                  <a:lnTo>
                    <a:pt x="1051" y="981"/>
                  </a:lnTo>
                  <a:lnTo>
                    <a:pt x="1045" y="1001"/>
                  </a:lnTo>
                  <a:lnTo>
                    <a:pt x="1039" y="1021"/>
                  </a:lnTo>
                  <a:lnTo>
                    <a:pt x="1023" y="1059"/>
                  </a:lnTo>
                  <a:lnTo>
                    <a:pt x="1003" y="1095"/>
                  </a:lnTo>
                  <a:lnTo>
                    <a:pt x="1003" y="1095"/>
                  </a:lnTo>
                  <a:lnTo>
                    <a:pt x="979" y="1129"/>
                  </a:lnTo>
                  <a:lnTo>
                    <a:pt x="953" y="1159"/>
                  </a:lnTo>
                  <a:lnTo>
                    <a:pt x="923" y="1187"/>
                  </a:lnTo>
                  <a:lnTo>
                    <a:pt x="891" y="1211"/>
                  </a:lnTo>
                  <a:lnTo>
                    <a:pt x="891" y="1211"/>
                  </a:lnTo>
                  <a:lnTo>
                    <a:pt x="873" y="1221"/>
                  </a:lnTo>
                  <a:lnTo>
                    <a:pt x="855" y="1231"/>
                  </a:lnTo>
                  <a:lnTo>
                    <a:pt x="817" y="1249"/>
                  </a:lnTo>
                  <a:lnTo>
                    <a:pt x="817" y="1249"/>
                  </a:lnTo>
                  <a:lnTo>
                    <a:pt x="797" y="1257"/>
                  </a:lnTo>
                  <a:lnTo>
                    <a:pt x="777" y="1263"/>
                  </a:lnTo>
                  <a:lnTo>
                    <a:pt x="757" y="1267"/>
                  </a:lnTo>
                  <a:lnTo>
                    <a:pt x="735" y="1269"/>
                  </a:lnTo>
                  <a:lnTo>
                    <a:pt x="735" y="1269"/>
                  </a:lnTo>
                  <a:lnTo>
                    <a:pt x="697" y="1273"/>
                  </a:lnTo>
                  <a:lnTo>
                    <a:pt x="697" y="1273"/>
                  </a:lnTo>
                  <a:close/>
                  <a:moveTo>
                    <a:pt x="222" y="48"/>
                  </a:moveTo>
                  <a:lnTo>
                    <a:pt x="222" y="48"/>
                  </a:lnTo>
                  <a:lnTo>
                    <a:pt x="288" y="114"/>
                  </a:lnTo>
                  <a:lnTo>
                    <a:pt x="288" y="114"/>
                  </a:lnTo>
                  <a:lnTo>
                    <a:pt x="390" y="218"/>
                  </a:lnTo>
                  <a:lnTo>
                    <a:pt x="390" y="218"/>
                  </a:lnTo>
                  <a:lnTo>
                    <a:pt x="402" y="230"/>
                  </a:lnTo>
                  <a:lnTo>
                    <a:pt x="408" y="234"/>
                  </a:lnTo>
                  <a:lnTo>
                    <a:pt x="416" y="236"/>
                  </a:lnTo>
                  <a:lnTo>
                    <a:pt x="416" y="236"/>
                  </a:lnTo>
                  <a:lnTo>
                    <a:pt x="598" y="236"/>
                  </a:lnTo>
                  <a:lnTo>
                    <a:pt x="598" y="236"/>
                  </a:lnTo>
                  <a:lnTo>
                    <a:pt x="885" y="236"/>
                  </a:lnTo>
                  <a:lnTo>
                    <a:pt x="885" y="236"/>
                  </a:lnTo>
                  <a:lnTo>
                    <a:pt x="951" y="236"/>
                  </a:lnTo>
                  <a:lnTo>
                    <a:pt x="951" y="236"/>
                  </a:lnTo>
                  <a:lnTo>
                    <a:pt x="957" y="234"/>
                  </a:lnTo>
                  <a:lnTo>
                    <a:pt x="963" y="230"/>
                  </a:lnTo>
                  <a:lnTo>
                    <a:pt x="973" y="220"/>
                  </a:lnTo>
                  <a:lnTo>
                    <a:pt x="973" y="220"/>
                  </a:lnTo>
                  <a:lnTo>
                    <a:pt x="1015" y="176"/>
                  </a:lnTo>
                  <a:lnTo>
                    <a:pt x="1015" y="176"/>
                  </a:lnTo>
                  <a:lnTo>
                    <a:pt x="1119" y="72"/>
                  </a:lnTo>
                  <a:lnTo>
                    <a:pt x="1119" y="72"/>
                  </a:lnTo>
                  <a:lnTo>
                    <a:pt x="1131" y="60"/>
                  </a:lnTo>
                  <a:lnTo>
                    <a:pt x="1145" y="48"/>
                  </a:lnTo>
                  <a:lnTo>
                    <a:pt x="1145" y="48"/>
                  </a:lnTo>
                  <a:lnTo>
                    <a:pt x="1053" y="48"/>
                  </a:lnTo>
                  <a:lnTo>
                    <a:pt x="1053" y="48"/>
                  </a:lnTo>
                  <a:lnTo>
                    <a:pt x="833" y="48"/>
                  </a:lnTo>
                  <a:lnTo>
                    <a:pt x="833" y="48"/>
                  </a:lnTo>
                  <a:lnTo>
                    <a:pt x="566" y="48"/>
                  </a:lnTo>
                  <a:lnTo>
                    <a:pt x="566" y="48"/>
                  </a:lnTo>
                  <a:lnTo>
                    <a:pt x="336" y="48"/>
                  </a:lnTo>
                  <a:lnTo>
                    <a:pt x="336" y="48"/>
                  </a:lnTo>
                  <a:lnTo>
                    <a:pt x="224" y="48"/>
                  </a:lnTo>
                  <a:lnTo>
                    <a:pt x="224" y="48"/>
                  </a:lnTo>
                  <a:lnTo>
                    <a:pt x="222" y="48"/>
                  </a:lnTo>
                  <a:lnTo>
                    <a:pt x="222" y="48"/>
                  </a:lnTo>
                  <a:lnTo>
                    <a:pt x="222" y="48"/>
                  </a:lnTo>
                  <a:close/>
                  <a:moveTo>
                    <a:pt x="354" y="897"/>
                  </a:moveTo>
                  <a:lnTo>
                    <a:pt x="354" y="897"/>
                  </a:lnTo>
                  <a:lnTo>
                    <a:pt x="356" y="947"/>
                  </a:lnTo>
                  <a:lnTo>
                    <a:pt x="360" y="973"/>
                  </a:lnTo>
                  <a:lnTo>
                    <a:pt x="368" y="997"/>
                  </a:lnTo>
                  <a:lnTo>
                    <a:pt x="368" y="997"/>
                  </a:lnTo>
                  <a:lnTo>
                    <a:pt x="376" y="1019"/>
                  </a:lnTo>
                  <a:lnTo>
                    <a:pt x="386" y="1041"/>
                  </a:lnTo>
                  <a:lnTo>
                    <a:pt x="386" y="1041"/>
                  </a:lnTo>
                  <a:lnTo>
                    <a:pt x="398" y="1065"/>
                  </a:lnTo>
                  <a:lnTo>
                    <a:pt x="404" y="1075"/>
                  </a:lnTo>
                  <a:lnTo>
                    <a:pt x="410" y="1087"/>
                  </a:lnTo>
                  <a:lnTo>
                    <a:pt x="410" y="1087"/>
                  </a:lnTo>
                  <a:lnTo>
                    <a:pt x="426" y="1107"/>
                  </a:lnTo>
                  <a:lnTo>
                    <a:pt x="442" y="1125"/>
                  </a:lnTo>
                  <a:lnTo>
                    <a:pt x="462" y="1143"/>
                  </a:lnTo>
                  <a:lnTo>
                    <a:pt x="482" y="1159"/>
                  </a:lnTo>
                  <a:lnTo>
                    <a:pt x="482" y="1159"/>
                  </a:lnTo>
                  <a:lnTo>
                    <a:pt x="504" y="1175"/>
                  </a:lnTo>
                  <a:lnTo>
                    <a:pt x="526" y="1187"/>
                  </a:lnTo>
                  <a:lnTo>
                    <a:pt x="550" y="1199"/>
                  </a:lnTo>
                  <a:lnTo>
                    <a:pt x="574" y="1209"/>
                  </a:lnTo>
                  <a:lnTo>
                    <a:pt x="574" y="1209"/>
                  </a:lnTo>
                  <a:lnTo>
                    <a:pt x="596" y="1215"/>
                  </a:lnTo>
                  <a:lnTo>
                    <a:pt x="618" y="1219"/>
                  </a:lnTo>
                  <a:lnTo>
                    <a:pt x="618" y="1219"/>
                  </a:lnTo>
                  <a:lnTo>
                    <a:pt x="646" y="1223"/>
                  </a:lnTo>
                  <a:lnTo>
                    <a:pt x="674" y="1227"/>
                  </a:lnTo>
                  <a:lnTo>
                    <a:pt x="674" y="1227"/>
                  </a:lnTo>
                  <a:lnTo>
                    <a:pt x="695" y="1227"/>
                  </a:lnTo>
                  <a:lnTo>
                    <a:pt x="717" y="1225"/>
                  </a:lnTo>
                  <a:lnTo>
                    <a:pt x="717" y="1225"/>
                  </a:lnTo>
                  <a:lnTo>
                    <a:pt x="773" y="1215"/>
                  </a:lnTo>
                  <a:lnTo>
                    <a:pt x="773" y="1215"/>
                  </a:lnTo>
                  <a:lnTo>
                    <a:pt x="795" y="1209"/>
                  </a:lnTo>
                  <a:lnTo>
                    <a:pt x="817" y="1199"/>
                  </a:lnTo>
                  <a:lnTo>
                    <a:pt x="817" y="1199"/>
                  </a:lnTo>
                  <a:lnTo>
                    <a:pt x="839" y="1189"/>
                  </a:lnTo>
                  <a:lnTo>
                    <a:pt x="851" y="1183"/>
                  </a:lnTo>
                  <a:lnTo>
                    <a:pt x="861" y="1177"/>
                  </a:lnTo>
                  <a:lnTo>
                    <a:pt x="861" y="1177"/>
                  </a:lnTo>
                  <a:lnTo>
                    <a:pt x="883" y="1161"/>
                  </a:lnTo>
                  <a:lnTo>
                    <a:pt x="903" y="1145"/>
                  </a:lnTo>
                  <a:lnTo>
                    <a:pt x="921" y="1127"/>
                  </a:lnTo>
                  <a:lnTo>
                    <a:pt x="939" y="1107"/>
                  </a:lnTo>
                  <a:lnTo>
                    <a:pt x="939" y="1107"/>
                  </a:lnTo>
                  <a:lnTo>
                    <a:pt x="951" y="1089"/>
                  </a:lnTo>
                  <a:lnTo>
                    <a:pt x="963" y="1071"/>
                  </a:lnTo>
                  <a:lnTo>
                    <a:pt x="963" y="1071"/>
                  </a:lnTo>
                  <a:lnTo>
                    <a:pt x="981" y="1043"/>
                  </a:lnTo>
                  <a:lnTo>
                    <a:pt x="981" y="1043"/>
                  </a:lnTo>
                  <a:lnTo>
                    <a:pt x="985" y="1033"/>
                  </a:lnTo>
                  <a:lnTo>
                    <a:pt x="991" y="1021"/>
                  </a:lnTo>
                  <a:lnTo>
                    <a:pt x="991" y="1021"/>
                  </a:lnTo>
                  <a:lnTo>
                    <a:pt x="999" y="997"/>
                  </a:lnTo>
                  <a:lnTo>
                    <a:pt x="1005" y="973"/>
                  </a:lnTo>
                  <a:lnTo>
                    <a:pt x="1011" y="949"/>
                  </a:lnTo>
                  <a:lnTo>
                    <a:pt x="1013" y="925"/>
                  </a:lnTo>
                  <a:lnTo>
                    <a:pt x="1013" y="925"/>
                  </a:lnTo>
                  <a:lnTo>
                    <a:pt x="1013" y="899"/>
                  </a:lnTo>
                  <a:lnTo>
                    <a:pt x="1013" y="873"/>
                  </a:lnTo>
                  <a:lnTo>
                    <a:pt x="1011" y="849"/>
                  </a:lnTo>
                  <a:lnTo>
                    <a:pt x="1005" y="823"/>
                  </a:lnTo>
                  <a:lnTo>
                    <a:pt x="1005" y="823"/>
                  </a:lnTo>
                  <a:lnTo>
                    <a:pt x="999" y="797"/>
                  </a:lnTo>
                  <a:lnTo>
                    <a:pt x="989" y="773"/>
                  </a:lnTo>
                  <a:lnTo>
                    <a:pt x="979" y="749"/>
                  </a:lnTo>
                  <a:lnTo>
                    <a:pt x="967" y="727"/>
                  </a:lnTo>
                  <a:lnTo>
                    <a:pt x="967" y="727"/>
                  </a:lnTo>
                  <a:lnTo>
                    <a:pt x="953" y="705"/>
                  </a:lnTo>
                  <a:lnTo>
                    <a:pt x="939" y="685"/>
                  </a:lnTo>
                  <a:lnTo>
                    <a:pt x="923" y="667"/>
                  </a:lnTo>
                  <a:lnTo>
                    <a:pt x="905" y="651"/>
                  </a:lnTo>
                  <a:lnTo>
                    <a:pt x="905" y="651"/>
                  </a:lnTo>
                  <a:lnTo>
                    <a:pt x="885" y="636"/>
                  </a:lnTo>
                  <a:lnTo>
                    <a:pt x="863" y="622"/>
                  </a:lnTo>
                  <a:lnTo>
                    <a:pt x="841" y="608"/>
                  </a:lnTo>
                  <a:lnTo>
                    <a:pt x="819" y="596"/>
                  </a:lnTo>
                  <a:lnTo>
                    <a:pt x="819" y="596"/>
                  </a:lnTo>
                  <a:lnTo>
                    <a:pt x="795" y="586"/>
                  </a:lnTo>
                  <a:lnTo>
                    <a:pt x="771" y="578"/>
                  </a:lnTo>
                  <a:lnTo>
                    <a:pt x="745" y="572"/>
                  </a:lnTo>
                  <a:lnTo>
                    <a:pt x="721" y="568"/>
                  </a:lnTo>
                  <a:lnTo>
                    <a:pt x="721" y="568"/>
                  </a:lnTo>
                  <a:lnTo>
                    <a:pt x="695" y="568"/>
                  </a:lnTo>
                  <a:lnTo>
                    <a:pt x="670" y="568"/>
                  </a:lnTo>
                  <a:lnTo>
                    <a:pt x="670" y="568"/>
                  </a:lnTo>
                  <a:lnTo>
                    <a:pt x="642" y="570"/>
                  </a:lnTo>
                  <a:lnTo>
                    <a:pt x="614" y="574"/>
                  </a:lnTo>
                  <a:lnTo>
                    <a:pt x="614" y="574"/>
                  </a:lnTo>
                  <a:lnTo>
                    <a:pt x="592" y="580"/>
                  </a:lnTo>
                  <a:lnTo>
                    <a:pt x="568" y="586"/>
                  </a:lnTo>
                  <a:lnTo>
                    <a:pt x="546" y="596"/>
                  </a:lnTo>
                  <a:lnTo>
                    <a:pt x="524" y="606"/>
                  </a:lnTo>
                  <a:lnTo>
                    <a:pt x="524" y="606"/>
                  </a:lnTo>
                  <a:lnTo>
                    <a:pt x="502" y="620"/>
                  </a:lnTo>
                  <a:lnTo>
                    <a:pt x="480" y="634"/>
                  </a:lnTo>
                  <a:lnTo>
                    <a:pt x="480" y="634"/>
                  </a:lnTo>
                  <a:lnTo>
                    <a:pt x="470" y="641"/>
                  </a:lnTo>
                  <a:lnTo>
                    <a:pt x="462" y="649"/>
                  </a:lnTo>
                  <a:lnTo>
                    <a:pt x="444" y="667"/>
                  </a:lnTo>
                  <a:lnTo>
                    <a:pt x="444" y="667"/>
                  </a:lnTo>
                  <a:lnTo>
                    <a:pt x="428" y="687"/>
                  </a:lnTo>
                  <a:lnTo>
                    <a:pt x="412" y="707"/>
                  </a:lnTo>
                  <a:lnTo>
                    <a:pt x="398" y="729"/>
                  </a:lnTo>
                  <a:lnTo>
                    <a:pt x="386" y="751"/>
                  </a:lnTo>
                  <a:lnTo>
                    <a:pt x="386" y="751"/>
                  </a:lnTo>
                  <a:lnTo>
                    <a:pt x="376" y="775"/>
                  </a:lnTo>
                  <a:lnTo>
                    <a:pt x="368" y="799"/>
                  </a:lnTo>
                  <a:lnTo>
                    <a:pt x="362" y="823"/>
                  </a:lnTo>
                  <a:lnTo>
                    <a:pt x="358" y="849"/>
                  </a:lnTo>
                  <a:lnTo>
                    <a:pt x="358" y="849"/>
                  </a:lnTo>
                  <a:lnTo>
                    <a:pt x="354" y="897"/>
                  </a:lnTo>
                  <a:lnTo>
                    <a:pt x="354" y="897"/>
                  </a:lnTo>
                  <a:close/>
                  <a:moveTo>
                    <a:pt x="124" y="136"/>
                  </a:moveTo>
                  <a:lnTo>
                    <a:pt x="124" y="136"/>
                  </a:lnTo>
                  <a:lnTo>
                    <a:pt x="136" y="152"/>
                  </a:lnTo>
                  <a:lnTo>
                    <a:pt x="150" y="166"/>
                  </a:lnTo>
                  <a:lnTo>
                    <a:pt x="178" y="192"/>
                  </a:lnTo>
                  <a:lnTo>
                    <a:pt x="178" y="192"/>
                  </a:lnTo>
                  <a:lnTo>
                    <a:pt x="300" y="316"/>
                  </a:lnTo>
                  <a:lnTo>
                    <a:pt x="300" y="316"/>
                  </a:lnTo>
                  <a:lnTo>
                    <a:pt x="436" y="452"/>
                  </a:lnTo>
                  <a:lnTo>
                    <a:pt x="436" y="452"/>
                  </a:lnTo>
                  <a:lnTo>
                    <a:pt x="524" y="538"/>
                  </a:lnTo>
                  <a:lnTo>
                    <a:pt x="524" y="538"/>
                  </a:lnTo>
                  <a:lnTo>
                    <a:pt x="530" y="546"/>
                  </a:lnTo>
                  <a:lnTo>
                    <a:pt x="530" y="546"/>
                  </a:lnTo>
                  <a:lnTo>
                    <a:pt x="534" y="548"/>
                  </a:lnTo>
                  <a:lnTo>
                    <a:pt x="534" y="548"/>
                  </a:lnTo>
                  <a:lnTo>
                    <a:pt x="538" y="548"/>
                  </a:lnTo>
                  <a:lnTo>
                    <a:pt x="542" y="548"/>
                  </a:lnTo>
                  <a:lnTo>
                    <a:pt x="542" y="548"/>
                  </a:lnTo>
                  <a:lnTo>
                    <a:pt x="576" y="538"/>
                  </a:lnTo>
                  <a:lnTo>
                    <a:pt x="610" y="528"/>
                  </a:lnTo>
                  <a:lnTo>
                    <a:pt x="610" y="528"/>
                  </a:lnTo>
                  <a:lnTo>
                    <a:pt x="626" y="524"/>
                  </a:lnTo>
                  <a:lnTo>
                    <a:pt x="626" y="524"/>
                  </a:lnTo>
                  <a:lnTo>
                    <a:pt x="580" y="478"/>
                  </a:lnTo>
                  <a:lnTo>
                    <a:pt x="580" y="478"/>
                  </a:lnTo>
                  <a:lnTo>
                    <a:pt x="472" y="368"/>
                  </a:lnTo>
                  <a:lnTo>
                    <a:pt x="472" y="368"/>
                  </a:lnTo>
                  <a:lnTo>
                    <a:pt x="338" y="238"/>
                  </a:lnTo>
                  <a:lnTo>
                    <a:pt x="338" y="238"/>
                  </a:lnTo>
                  <a:lnTo>
                    <a:pt x="224" y="124"/>
                  </a:lnTo>
                  <a:lnTo>
                    <a:pt x="224" y="124"/>
                  </a:lnTo>
                  <a:lnTo>
                    <a:pt x="186" y="86"/>
                  </a:lnTo>
                  <a:lnTo>
                    <a:pt x="186" y="86"/>
                  </a:lnTo>
                  <a:lnTo>
                    <a:pt x="174" y="74"/>
                  </a:lnTo>
                  <a:lnTo>
                    <a:pt x="174" y="74"/>
                  </a:lnTo>
                  <a:lnTo>
                    <a:pt x="172" y="70"/>
                  </a:lnTo>
                  <a:lnTo>
                    <a:pt x="168" y="68"/>
                  </a:lnTo>
                  <a:lnTo>
                    <a:pt x="168" y="68"/>
                  </a:lnTo>
                  <a:lnTo>
                    <a:pt x="168" y="66"/>
                  </a:lnTo>
                  <a:lnTo>
                    <a:pt x="168" y="66"/>
                  </a:lnTo>
                  <a:lnTo>
                    <a:pt x="124" y="136"/>
                  </a:lnTo>
                  <a:lnTo>
                    <a:pt x="124" y="136"/>
                  </a:lnTo>
                  <a:close/>
                  <a:moveTo>
                    <a:pt x="1199" y="62"/>
                  </a:moveTo>
                  <a:lnTo>
                    <a:pt x="1199" y="62"/>
                  </a:lnTo>
                  <a:lnTo>
                    <a:pt x="1153" y="108"/>
                  </a:lnTo>
                  <a:lnTo>
                    <a:pt x="1153" y="108"/>
                  </a:lnTo>
                  <a:lnTo>
                    <a:pt x="1043" y="218"/>
                  </a:lnTo>
                  <a:lnTo>
                    <a:pt x="1043" y="218"/>
                  </a:lnTo>
                  <a:lnTo>
                    <a:pt x="909" y="352"/>
                  </a:lnTo>
                  <a:lnTo>
                    <a:pt x="909" y="352"/>
                  </a:lnTo>
                  <a:lnTo>
                    <a:pt x="795" y="466"/>
                  </a:lnTo>
                  <a:lnTo>
                    <a:pt x="795" y="466"/>
                  </a:lnTo>
                  <a:lnTo>
                    <a:pt x="757" y="504"/>
                  </a:lnTo>
                  <a:lnTo>
                    <a:pt x="757" y="504"/>
                  </a:lnTo>
                  <a:lnTo>
                    <a:pt x="745" y="516"/>
                  </a:lnTo>
                  <a:lnTo>
                    <a:pt x="745" y="516"/>
                  </a:lnTo>
                  <a:lnTo>
                    <a:pt x="741" y="520"/>
                  </a:lnTo>
                  <a:lnTo>
                    <a:pt x="739" y="522"/>
                  </a:lnTo>
                  <a:lnTo>
                    <a:pt x="739" y="522"/>
                  </a:lnTo>
                  <a:lnTo>
                    <a:pt x="739" y="524"/>
                  </a:lnTo>
                  <a:lnTo>
                    <a:pt x="739" y="524"/>
                  </a:lnTo>
                  <a:lnTo>
                    <a:pt x="823" y="548"/>
                  </a:lnTo>
                  <a:lnTo>
                    <a:pt x="823" y="548"/>
                  </a:lnTo>
                  <a:lnTo>
                    <a:pt x="831" y="548"/>
                  </a:lnTo>
                  <a:lnTo>
                    <a:pt x="839" y="544"/>
                  </a:lnTo>
                  <a:lnTo>
                    <a:pt x="839" y="544"/>
                  </a:lnTo>
                  <a:lnTo>
                    <a:pt x="847" y="536"/>
                  </a:lnTo>
                  <a:lnTo>
                    <a:pt x="847" y="536"/>
                  </a:lnTo>
                  <a:lnTo>
                    <a:pt x="881" y="500"/>
                  </a:lnTo>
                  <a:lnTo>
                    <a:pt x="881" y="500"/>
                  </a:lnTo>
                  <a:lnTo>
                    <a:pt x="1001" y="380"/>
                  </a:lnTo>
                  <a:lnTo>
                    <a:pt x="1001" y="380"/>
                  </a:lnTo>
                  <a:lnTo>
                    <a:pt x="1137" y="244"/>
                  </a:lnTo>
                  <a:lnTo>
                    <a:pt x="1137" y="244"/>
                  </a:lnTo>
                  <a:lnTo>
                    <a:pt x="1229" y="154"/>
                  </a:lnTo>
                  <a:lnTo>
                    <a:pt x="1229" y="154"/>
                  </a:lnTo>
                  <a:lnTo>
                    <a:pt x="1237" y="146"/>
                  </a:lnTo>
                  <a:lnTo>
                    <a:pt x="1241" y="140"/>
                  </a:lnTo>
                  <a:lnTo>
                    <a:pt x="1243" y="136"/>
                  </a:lnTo>
                  <a:lnTo>
                    <a:pt x="1243" y="136"/>
                  </a:lnTo>
                  <a:lnTo>
                    <a:pt x="1241" y="130"/>
                  </a:lnTo>
                  <a:lnTo>
                    <a:pt x="1237" y="126"/>
                  </a:lnTo>
                  <a:lnTo>
                    <a:pt x="1237" y="126"/>
                  </a:lnTo>
                  <a:lnTo>
                    <a:pt x="1225" y="106"/>
                  </a:lnTo>
                  <a:lnTo>
                    <a:pt x="1225" y="106"/>
                  </a:lnTo>
                  <a:lnTo>
                    <a:pt x="1203" y="70"/>
                  </a:lnTo>
                  <a:lnTo>
                    <a:pt x="1203" y="70"/>
                  </a:lnTo>
                  <a:lnTo>
                    <a:pt x="1199" y="62"/>
                  </a:lnTo>
                  <a:lnTo>
                    <a:pt x="1199" y="62"/>
                  </a:lnTo>
                  <a:close/>
                  <a:moveTo>
                    <a:pt x="907" y="284"/>
                  </a:moveTo>
                  <a:lnTo>
                    <a:pt x="907" y="284"/>
                  </a:lnTo>
                  <a:lnTo>
                    <a:pt x="755" y="284"/>
                  </a:lnTo>
                  <a:lnTo>
                    <a:pt x="755" y="284"/>
                  </a:lnTo>
                  <a:lnTo>
                    <a:pt x="516" y="284"/>
                  </a:lnTo>
                  <a:lnTo>
                    <a:pt x="516" y="284"/>
                  </a:lnTo>
                  <a:lnTo>
                    <a:pt x="462" y="284"/>
                  </a:lnTo>
                  <a:lnTo>
                    <a:pt x="462" y="284"/>
                  </a:lnTo>
                  <a:lnTo>
                    <a:pt x="538" y="360"/>
                  </a:lnTo>
                  <a:lnTo>
                    <a:pt x="538" y="360"/>
                  </a:lnTo>
                  <a:lnTo>
                    <a:pt x="656" y="480"/>
                  </a:lnTo>
                  <a:lnTo>
                    <a:pt x="656" y="480"/>
                  </a:lnTo>
                  <a:lnTo>
                    <a:pt x="674" y="498"/>
                  </a:lnTo>
                  <a:lnTo>
                    <a:pt x="674" y="498"/>
                  </a:lnTo>
                  <a:lnTo>
                    <a:pt x="678" y="504"/>
                  </a:lnTo>
                  <a:lnTo>
                    <a:pt x="684" y="508"/>
                  </a:lnTo>
                  <a:lnTo>
                    <a:pt x="684" y="508"/>
                  </a:lnTo>
                  <a:lnTo>
                    <a:pt x="685" y="506"/>
                  </a:lnTo>
                  <a:lnTo>
                    <a:pt x="687" y="504"/>
                  </a:lnTo>
                  <a:lnTo>
                    <a:pt x="687" y="504"/>
                  </a:lnTo>
                  <a:lnTo>
                    <a:pt x="701" y="490"/>
                  </a:lnTo>
                  <a:lnTo>
                    <a:pt x="701" y="490"/>
                  </a:lnTo>
                  <a:lnTo>
                    <a:pt x="815" y="376"/>
                  </a:lnTo>
                  <a:lnTo>
                    <a:pt x="815" y="376"/>
                  </a:lnTo>
                  <a:lnTo>
                    <a:pt x="905" y="286"/>
                  </a:lnTo>
                  <a:lnTo>
                    <a:pt x="905" y="286"/>
                  </a:lnTo>
                  <a:lnTo>
                    <a:pt x="907" y="284"/>
                  </a:lnTo>
                  <a:lnTo>
                    <a:pt x="907" y="284"/>
                  </a:lnTo>
                  <a:close/>
                  <a:moveTo>
                    <a:pt x="96" y="182"/>
                  </a:moveTo>
                  <a:lnTo>
                    <a:pt x="96" y="182"/>
                  </a:lnTo>
                  <a:lnTo>
                    <a:pt x="88" y="198"/>
                  </a:lnTo>
                  <a:lnTo>
                    <a:pt x="78" y="214"/>
                  </a:lnTo>
                  <a:lnTo>
                    <a:pt x="60" y="246"/>
                  </a:lnTo>
                  <a:lnTo>
                    <a:pt x="60" y="246"/>
                  </a:lnTo>
                  <a:lnTo>
                    <a:pt x="54" y="254"/>
                  </a:lnTo>
                  <a:lnTo>
                    <a:pt x="54" y="254"/>
                  </a:lnTo>
                  <a:lnTo>
                    <a:pt x="54" y="256"/>
                  </a:lnTo>
                  <a:lnTo>
                    <a:pt x="56" y="258"/>
                  </a:lnTo>
                  <a:lnTo>
                    <a:pt x="58" y="262"/>
                  </a:lnTo>
                  <a:lnTo>
                    <a:pt x="58" y="262"/>
                  </a:lnTo>
                  <a:lnTo>
                    <a:pt x="64" y="268"/>
                  </a:lnTo>
                  <a:lnTo>
                    <a:pt x="64" y="268"/>
                  </a:lnTo>
                  <a:lnTo>
                    <a:pt x="158" y="360"/>
                  </a:lnTo>
                  <a:lnTo>
                    <a:pt x="158" y="360"/>
                  </a:lnTo>
                  <a:lnTo>
                    <a:pt x="298" y="502"/>
                  </a:lnTo>
                  <a:lnTo>
                    <a:pt x="298" y="502"/>
                  </a:lnTo>
                  <a:lnTo>
                    <a:pt x="402" y="606"/>
                  </a:lnTo>
                  <a:lnTo>
                    <a:pt x="402" y="606"/>
                  </a:lnTo>
                  <a:lnTo>
                    <a:pt x="414" y="618"/>
                  </a:lnTo>
                  <a:lnTo>
                    <a:pt x="414" y="618"/>
                  </a:lnTo>
                  <a:lnTo>
                    <a:pt x="418" y="622"/>
                  </a:lnTo>
                  <a:lnTo>
                    <a:pt x="420" y="624"/>
                  </a:lnTo>
                  <a:lnTo>
                    <a:pt x="420" y="624"/>
                  </a:lnTo>
                  <a:lnTo>
                    <a:pt x="424" y="622"/>
                  </a:lnTo>
                  <a:lnTo>
                    <a:pt x="428" y="618"/>
                  </a:lnTo>
                  <a:lnTo>
                    <a:pt x="428" y="618"/>
                  </a:lnTo>
                  <a:lnTo>
                    <a:pt x="446" y="606"/>
                  </a:lnTo>
                  <a:lnTo>
                    <a:pt x="446" y="606"/>
                  </a:lnTo>
                  <a:lnTo>
                    <a:pt x="482" y="580"/>
                  </a:lnTo>
                  <a:lnTo>
                    <a:pt x="482" y="580"/>
                  </a:lnTo>
                  <a:lnTo>
                    <a:pt x="490" y="574"/>
                  </a:lnTo>
                  <a:lnTo>
                    <a:pt x="490" y="574"/>
                  </a:lnTo>
                  <a:lnTo>
                    <a:pt x="450" y="536"/>
                  </a:lnTo>
                  <a:lnTo>
                    <a:pt x="450" y="536"/>
                  </a:lnTo>
                  <a:lnTo>
                    <a:pt x="356" y="442"/>
                  </a:lnTo>
                  <a:lnTo>
                    <a:pt x="356" y="442"/>
                  </a:lnTo>
                  <a:lnTo>
                    <a:pt x="242" y="328"/>
                  </a:lnTo>
                  <a:lnTo>
                    <a:pt x="242" y="328"/>
                  </a:lnTo>
                  <a:lnTo>
                    <a:pt x="144" y="230"/>
                  </a:lnTo>
                  <a:lnTo>
                    <a:pt x="144" y="230"/>
                  </a:lnTo>
                  <a:lnTo>
                    <a:pt x="96" y="182"/>
                  </a:lnTo>
                  <a:lnTo>
                    <a:pt x="96" y="182"/>
                  </a:lnTo>
                  <a:lnTo>
                    <a:pt x="96" y="182"/>
                  </a:lnTo>
                  <a:lnTo>
                    <a:pt x="96" y="182"/>
                  </a:lnTo>
                  <a:close/>
                  <a:moveTo>
                    <a:pt x="947" y="628"/>
                  </a:moveTo>
                  <a:lnTo>
                    <a:pt x="947" y="628"/>
                  </a:lnTo>
                  <a:lnTo>
                    <a:pt x="953" y="618"/>
                  </a:lnTo>
                  <a:lnTo>
                    <a:pt x="961" y="610"/>
                  </a:lnTo>
                  <a:lnTo>
                    <a:pt x="961" y="610"/>
                  </a:lnTo>
                  <a:lnTo>
                    <a:pt x="995" y="576"/>
                  </a:lnTo>
                  <a:lnTo>
                    <a:pt x="995" y="576"/>
                  </a:lnTo>
                  <a:lnTo>
                    <a:pt x="1105" y="466"/>
                  </a:lnTo>
                  <a:lnTo>
                    <a:pt x="1105" y="466"/>
                  </a:lnTo>
                  <a:lnTo>
                    <a:pt x="1227" y="344"/>
                  </a:lnTo>
                  <a:lnTo>
                    <a:pt x="1227" y="344"/>
                  </a:lnTo>
                  <a:lnTo>
                    <a:pt x="1301" y="270"/>
                  </a:lnTo>
                  <a:lnTo>
                    <a:pt x="1301" y="270"/>
                  </a:lnTo>
                  <a:lnTo>
                    <a:pt x="1307" y="264"/>
                  </a:lnTo>
                  <a:lnTo>
                    <a:pt x="1307" y="264"/>
                  </a:lnTo>
                  <a:lnTo>
                    <a:pt x="1311" y="258"/>
                  </a:lnTo>
                  <a:lnTo>
                    <a:pt x="1311" y="254"/>
                  </a:lnTo>
                  <a:lnTo>
                    <a:pt x="1311" y="250"/>
                  </a:lnTo>
                  <a:lnTo>
                    <a:pt x="1311" y="250"/>
                  </a:lnTo>
                  <a:lnTo>
                    <a:pt x="1303" y="236"/>
                  </a:lnTo>
                  <a:lnTo>
                    <a:pt x="1293" y="222"/>
                  </a:lnTo>
                  <a:lnTo>
                    <a:pt x="1293" y="222"/>
                  </a:lnTo>
                  <a:lnTo>
                    <a:pt x="1273" y="188"/>
                  </a:lnTo>
                  <a:lnTo>
                    <a:pt x="1273" y="188"/>
                  </a:lnTo>
                  <a:lnTo>
                    <a:pt x="1269" y="182"/>
                  </a:lnTo>
                  <a:lnTo>
                    <a:pt x="1269" y="182"/>
                  </a:lnTo>
                  <a:lnTo>
                    <a:pt x="1231" y="220"/>
                  </a:lnTo>
                  <a:lnTo>
                    <a:pt x="1231" y="220"/>
                  </a:lnTo>
                  <a:lnTo>
                    <a:pt x="1137" y="314"/>
                  </a:lnTo>
                  <a:lnTo>
                    <a:pt x="1137" y="314"/>
                  </a:lnTo>
                  <a:lnTo>
                    <a:pt x="1023" y="428"/>
                  </a:lnTo>
                  <a:lnTo>
                    <a:pt x="1023" y="428"/>
                  </a:lnTo>
                  <a:lnTo>
                    <a:pt x="925" y="526"/>
                  </a:lnTo>
                  <a:lnTo>
                    <a:pt x="925" y="526"/>
                  </a:lnTo>
                  <a:lnTo>
                    <a:pt x="893" y="558"/>
                  </a:lnTo>
                  <a:lnTo>
                    <a:pt x="893" y="558"/>
                  </a:lnTo>
                  <a:lnTo>
                    <a:pt x="883" y="568"/>
                  </a:lnTo>
                  <a:lnTo>
                    <a:pt x="883" y="568"/>
                  </a:lnTo>
                  <a:lnTo>
                    <a:pt x="879" y="570"/>
                  </a:lnTo>
                  <a:lnTo>
                    <a:pt x="877" y="574"/>
                  </a:lnTo>
                  <a:lnTo>
                    <a:pt x="877" y="574"/>
                  </a:lnTo>
                  <a:lnTo>
                    <a:pt x="877" y="574"/>
                  </a:lnTo>
                  <a:lnTo>
                    <a:pt x="877" y="574"/>
                  </a:lnTo>
                  <a:lnTo>
                    <a:pt x="947" y="628"/>
                  </a:lnTo>
                  <a:lnTo>
                    <a:pt x="947" y="6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T America" panose="00000500000000000000" pitchFamily="2" charset="0"/>
                <a:ea typeface="+mn-ea"/>
                <a:cs typeface="+mn-cs"/>
              </a:endParaRPr>
            </a:p>
          </p:txBody>
        </p:sp>
        <p:sp>
          <p:nvSpPr>
            <p:cNvPr id="194" name="Freeform 145"/>
            <p:cNvSpPr>
              <a:spLocks noEditPoints="1"/>
            </p:cNvSpPr>
            <p:nvPr/>
          </p:nvSpPr>
          <p:spPr bwMode="auto">
            <a:xfrm>
              <a:off x="3601" y="4224"/>
              <a:ext cx="519" cy="514"/>
            </a:xfrm>
            <a:custGeom>
              <a:avLst/>
              <a:gdLst>
                <a:gd name="T0" fmla="*/ 220 w 519"/>
                <a:gd name="T1" fmla="*/ 512 h 514"/>
                <a:gd name="T2" fmla="*/ 164 w 519"/>
                <a:gd name="T3" fmla="*/ 498 h 514"/>
                <a:gd name="T4" fmla="*/ 126 w 519"/>
                <a:gd name="T5" fmla="*/ 478 h 514"/>
                <a:gd name="T6" fmla="*/ 82 w 519"/>
                <a:gd name="T7" fmla="*/ 442 h 514"/>
                <a:gd name="T8" fmla="*/ 54 w 519"/>
                <a:gd name="T9" fmla="*/ 412 h 514"/>
                <a:gd name="T10" fmla="*/ 16 w 519"/>
                <a:gd name="T11" fmla="*/ 342 h 514"/>
                <a:gd name="T12" fmla="*/ 4 w 519"/>
                <a:gd name="T13" fmla="*/ 308 h 514"/>
                <a:gd name="T14" fmla="*/ 0 w 519"/>
                <a:gd name="T15" fmla="*/ 246 h 514"/>
                <a:gd name="T16" fmla="*/ 12 w 519"/>
                <a:gd name="T17" fmla="*/ 186 h 514"/>
                <a:gd name="T18" fmla="*/ 46 w 519"/>
                <a:gd name="T19" fmla="*/ 118 h 514"/>
                <a:gd name="T20" fmla="*/ 70 w 519"/>
                <a:gd name="T21" fmla="*/ 86 h 514"/>
                <a:gd name="T22" fmla="*/ 130 w 519"/>
                <a:gd name="T23" fmla="*/ 36 h 514"/>
                <a:gd name="T24" fmla="*/ 184 w 519"/>
                <a:gd name="T25" fmla="*/ 10 h 514"/>
                <a:gd name="T26" fmla="*/ 242 w 519"/>
                <a:gd name="T27" fmla="*/ 0 h 514"/>
                <a:gd name="T28" fmla="*/ 299 w 519"/>
                <a:gd name="T29" fmla="*/ 4 h 514"/>
                <a:gd name="T30" fmla="*/ 355 w 519"/>
                <a:gd name="T31" fmla="*/ 18 h 514"/>
                <a:gd name="T32" fmla="*/ 423 w 519"/>
                <a:gd name="T33" fmla="*/ 60 h 514"/>
                <a:gd name="T34" fmla="*/ 465 w 519"/>
                <a:gd name="T35" fmla="*/ 104 h 514"/>
                <a:gd name="T36" fmla="*/ 495 w 519"/>
                <a:gd name="T37" fmla="*/ 154 h 514"/>
                <a:gd name="T38" fmla="*/ 513 w 519"/>
                <a:gd name="T39" fmla="*/ 212 h 514"/>
                <a:gd name="T40" fmla="*/ 519 w 519"/>
                <a:gd name="T41" fmla="*/ 258 h 514"/>
                <a:gd name="T42" fmla="*/ 513 w 519"/>
                <a:gd name="T43" fmla="*/ 312 h 514"/>
                <a:gd name="T44" fmla="*/ 501 w 519"/>
                <a:gd name="T45" fmla="*/ 344 h 514"/>
                <a:gd name="T46" fmla="*/ 473 w 519"/>
                <a:gd name="T47" fmla="*/ 400 h 514"/>
                <a:gd name="T48" fmla="*/ 437 w 519"/>
                <a:gd name="T49" fmla="*/ 444 h 514"/>
                <a:gd name="T50" fmla="*/ 373 w 519"/>
                <a:gd name="T51" fmla="*/ 490 h 514"/>
                <a:gd name="T52" fmla="*/ 299 w 519"/>
                <a:gd name="T53" fmla="*/ 514 h 514"/>
                <a:gd name="T54" fmla="*/ 260 w 519"/>
                <a:gd name="T55" fmla="*/ 514 h 514"/>
                <a:gd name="T56" fmla="*/ 291 w 519"/>
                <a:gd name="T57" fmla="*/ 468 h 514"/>
                <a:gd name="T58" fmla="*/ 351 w 519"/>
                <a:gd name="T59" fmla="*/ 450 h 514"/>
                <a:gd name="T60" fmla="*/ 379 w 519"/>
                <a:gd name="T61" fmla="*/ 434 h 514"/>
                <a:gd name="T62" fmla="*/ 417 w 519"/>
                <a:gd name="T63" fmla="*/ 402 h 514"/>
                <a:gd name="T64" fmla="*/ 447 w 519"/>
                <a:gd name="T65" fmla="*/ 362 h 514"/>
                <a:gd name="T66" fmla="*/ 465 w 519"/>
                <a:gd name="T67" fmla="*/ 316 h 514"/>
                <a:gd name="T68" fmla="*/ 471 w 519"/>
                <a:gd name="T69" fmla="*/ 272 h 514"/>
                <a:gd name="T70" fmla="*/ 469 w 519"/>
                <a:gd name="T71" fmla="*/ 220 h 514"/>
                <a:gd name="T72" fmla="*/ 453 w 519"/>
                <a:gd name="T73" fmla="*/ 172 h 514"/>
                <a:gd name="T74" fmla="*/ 429 w 519"/>
                <a:gd name="T75" fmla="*/ 130 h 514"/>
                <a:gd name="T76" fmla="*/ 369 w 519"/>
                <a:gd name="T77" fmla="*/ 76 h 514"/>
                <a:gd name="T78" fmla="*/ 313 w 519"/>
                <a:gd name="T79" fmla="*/ 52 h 514"/>
                <a:gd name="T80" fmla="*/ 264 w 519"/>
                <a:gd name="T81" fmla="*/ 48 h 514"/>
                <a:gd name="T82" fmla="*/ 200 w 519"/>
                <a:gd name="T83" fmla="*/ 54 h 514"/>
                <a:gd name="T84" fmla="*/ 152 w 519"/>
                <a:gd name="T85" fmla="*/ 74 h 514"/>
                <a:gd name="T86" fmla="*/ 114 w 519"/>
                <a:gd name="T87" fmla="*/ 104 h 514"/>
                <a:gd name="T88" fmla="*/ 92 w 519"/>
                <a:gd name="T89" fmla="*/ 126 h 514"/>
                <a:gd name="T90" fmla="*/ 66 w 519"/>
                <a:gd name="T91" fmla="*/ 168 h 514"/>
                <a:gd name="T92" fmla="*/ 52 w 519"/>
                <a:gd name="T93" fmla="*/ 218 h 514"/>
                <a:gd name="T94" fmla="*/ 46 w 519"/>
                <a:gd name="T95" fmla="*/ 250 h 514"/>
                <a:gd name="T96" fmla="*/ 54 w 519"/>
                <a:gd name="T97" fmla="*/ 312 h 514"/>
                <a:gd name="T98" fmla="*/ 80 w 519"/>
                <a:gd name="T99" fmla="*/ 374 h 514"/>
                <a:gd name="T100" fmla="*/ 122 w 519"/>
                <a:gd name="T101" fmla="*/ 422 h 514"/>
                <a:gd name="T102" fmla="*/ 166 w 519"/>
                <a:gd name="T103" fmla="*/ 450 h 514"/>
                <a:gd name="T104" fmla="*/ 226 w 519"/>
                <a:gd name="T105" fmla="*/ 468 h 514"/>
                <a:gd name="T106" fmla="*/ 260 w 519"/>
                <a:gd name="T107" fmla="*/ 470 h 5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519" h="514">
                  <a:moveTo>
                    <a:pt x="260" y="514"/>
                  </a:moveTo>
                  <a:lnTo>
                    <a:pt x="260" y="514"/>
                  </a:lnTo>
                  <a:lnTo>
                    <a:pt x="240" y="514"/>
                  </a:lnTo>
                  <a:lnTo>
                    <a:pt x="220" y="512"/>
                  </a:lnTo>
                  <a:lnTo>
                    <a:pt x="202" y="510"/>
                  </a:lnTo>
                  <a:lnTo>
                    <a:pt x="182" y="504"/>
                  </a:lnTo>
                  <a:lnTo>
                    <a:pt x="182" y="504"/>
                  </a:lnTo>
                  <a:lnTo>
                    <a:pt x="164" y="498"/>
                  </a:lnTo>
                  <a:lnTo>
                    <a:pt x="164" y="498"/>
                  </a:lnTo>
                  <a:lnTo>
                    <a:pt x="144" y="486"/>
                  </a:lnTo>
                  <a:lnTo>
                    <a:pt x="144" y="486"/>
                  </a:lnTo>
                  <a:lnTo>
                    <a:pt x="126" y="478"/>
                  </a:lnTo>
                  <a:lnTo>
                    <a:pt x="112" y="468"/>
                  </a:lnTo>
                  <a:lnTo>
                    <a:pt x="112" y="468"/>
                  </a:lnTo>
                  <a:lnTo>
                    <a:pt x="96" y="456"/>
                  </a:lnTo>
                  <a:lnTo>
                    <a:pt x="82" y="442"/>
                  </a:lnTo>
                  <a:lnTo>
                    <a:pt x="82" y="442"/>
                  </a:lnTo>
                  <a:lnTo>
                    <a:pt x="68" y="428"/>
                  </a:lnTo>
                  <a:lnTo>
                    <a:pt x="54" y="412"/>
                  </a:lnTo>
                  <a:lnTo>
                    <a:pt x="54" y="412"/>
                  </a:lnTo>
                  <a:lnTo>
                    <a:pt x="42" y="396"/>
                  </a:lnTo>
                  <a:lnTo>
                    <a:pt x="32" y="378"/>
                  </a:lnTo>
                  <a:lnTo>
                    <a:pt x="22" y="360"/>
                  </a:lnTo>
                  <a:lnTo>
                    <a:pt x="16" y="342"/>
                  </a:lnTo>
                  <a:lnTo>
                    <a:pt x="16" y="342"/>
                  </a:lnTo>
                  <a:lnTo>
                    <a:pt x="10" y="324"/>
                  </a:lnTo>
                  <a:lnTo>
                    <a:pt x="4" y="308"/>
                  </a:lnTo>
                  <a:lnTo>
                    <a:pt x="4" y="308"/>
                  </a:lnTo>
                  <a:lnTo>
                    <a:pt x="2" y="286"/>
                  </a:lnTo>
                  <a:lnTo>
                    <a:pt x="2" y="264"/>
                  </a:lnTo>
                  <a:lnTo>
                    <a:pt x="2" y="264"/>
                  </a:lnTo>
                  <a:lnTo>
                    <a:pt x="0" y="246"/>
                  </a:lnTo>
                  <a:lnTo>
                    <a:pt x="2" y="228"/>
                  </a:lnTo>
                  <a:lnTo>
                    <a:pt x="2" y="228"/>
                  </a:lnTo>
                  <a:lnTo>
                    <a:pt x="6" y="208"/>
                  </a:lnTo>
                  <a:lnTo>
                    <a:pt x="12" y="186"/>
                  </a:lnTo>
                  <a:lnTo>
                    <a:pt x="12" y="186"/>
                  </a:lnTo>
                  <a:lnTo>
                    <a:pt x="18" y="168"/>
                  </a:lnTo>
                  <a:lnTo>
                    <a:pt x="26" y="150"/>
                  </a:lnTo>
                  <a:lnTo>
                    <a:pt x="46" y="118"/>
                  </a:lnTo>
                  <a:lnTo>
                    <a:pt x="46" y="118"/>
                  </a:lnTo>
                  <a:lnTo>
                    <a:pt x="58" y="102"/>
                  </a:lnTo>
                  <a:lnTo>
                    <a:pt x="70" y="86"/>
                  </a:lnTo>
                  <a:lnTo>
                    <a:pt x="70" y="86"/>
                  </a:lnTo>
                  <a:lnTo>
                    <a:pt x="82" y="72"/>
                  </a:lnTo>
                  <a:lnTo>
                    <a:pt x="96" y="60"/>
                  </a:lnTo>
                  <a:lnTo>
                    <a:pt x="96" y="60"/>
                  </a:lnTo>
                  <a:lnTo>
                    <a:pt x="130" y="36"/>
                  </a:lnTo>
                  <a:lnTo>
                    <a:pt x="146" y="26"/>
                  </a:lnTo>
                  <a:lnTo>
                    <a:pt x="164" y="18"/>
                  </a:lnTo>
                  <a:lnTo>
                    <a:pt x="164" y="18"/>
                  </a:lnTo>
                  <a:lnTo>
                    <a:pt x="184" y="10"/>
                  </a:lnTo>
                  <a:lnTo>
                    <a:pt x="202" y="4"/>
                  </a:lnTo>
                  <a:lnTo>
                    <a:pt x="202" y="4"/>
                  </a:lnTo>
                  <a:lnTo>
                    <a:pt x="222" y="2"/>
                  </a:lnTo>
                  <a:lnTo>
                    <a:pt x="242" y="0"/>
                  </a:lnTo>
                  <a:lnTo>
                    <a:pt x="242" y="0"/>
                  </a:lnTo>
                  <a:lnTo>
                    <a:pt x="260" y="0"/>
                  </a:lnTo>
                  <a:lnTo>
                    <a:pt x="279" y="0"/>
                  </a:lnTo>
                  <a:lnTo>
                    <a:pt x="299" y="4"/>
                  </a:lnTo>
                  <a:lnTo>
                    <a:pt x="317" y="6"/>
                  </a:lnTo>
                  <a:lnTo>
                    <a:pt x="317" y="6"/>
                  </a:lnTo>
                  <a:lnTo>
                    <a:pt x="337" y="12"/>
                  </a:lnTo>
                  <a:lnTo>
                    <a:pt x="355" y="18"/>
                  </a:lnTo>
                  <a:lnTo>
                    <a:pt x="373" y="26"/>
                  </a:lnTo>
                  <a:lnTo>
                    <a:pt x="389" y="36"/>
                  </a:lnTo>
                  <a:lnTo>
                    <a:pt x="389" y="36"/>
                  </a:lnTo>
                  <a:lnTo>
                    <a:pt x="423" y="60"/>
                  </a:lnTo>
                  <a:lnTo>
                    <a:pt x="437" y="72"/>
                  </a:lnTo>
                  <a:lnTo>
                    <a:pt x="451" y="88"/>
                  </a:lnTo>
                  <a:lnTo>
                    <a:pt x="451" y="88"/>
                  </a:lnTo>
                  <a:lnTo>
                    <a:pt x="465" y="104"/>
                  </a:lnTo>
                  <a:lnTo>
                    <a:pt x="479" y="122"/>
                  </a:lnTo>
                  <a:lnTo>
                    <a:pt x="479" y="122"/>
                  </a:lnTo>
                  <a:lnTo>
                    <a:pt x="487" y="138"/>
                  </a:lnTo>
                  <a:lnTo>
                    <a:pt x="495" y="154"/>
                  </a:lnTo>
                  <a:lnTo>
                    <a:pt x="495" y="154"/>
                  </a:lnTo>
                  <a:lnTo>
                    <a:pt x="503" y="172"/>
                  </a:lnTo>
                  <a:lnTo>
                    <a:pt x="509" y="192"/>
                  </a:lnTo>
                  <a:lnTo>
                    <a:pt x="513" y="212"/>
                  </a:lnTo>
                  <a:lnTo>
                    <a:pt x="515" y="232"/>
                  </a:lnTo>
                  <a:lnTo>
                    <a:pt x="515" y="232"/>
                  </a:lnTo>
                  <a:lnTo>
                    <a:pt x="519" y="250"/>
                  </a:lnTo>
                  <a:lnTo>
                    <a:pt x="519" y="258"/>
                  </a:lnTo>
                  <a:lnTo>
                    <a:pt x="519" y="268"/>
                  </a:lnTo>
                  <a:lnTo>
                    <a:pt x="519" y="268"/>
                  </a:lnTo>
                  <a:lnTo>
                    <a:pt x="517" y="290"/>
                  </a:lnTo>
                  <a:lnTo>
                    <a:pt x="513" y="312"/>
                  </a:lnTo>
                  <a:lnTo>
                    <a:pt x="513" y="312"/>
                  </a:lnTo>
                  <a:lnTo>
                    <a:pt x="509" y="328"/>
                  </a:lnTo>
                  <a:lnTo>
                    <a:pt x="501" y="344"/>
                  </a:lnTo>
                  <a:lnTo>
                    <a:pt x="501" y="344"/>
                  </a:lnTo>
                  <a:lnTo>
                    <a:pt x="493" y="364"/>
                  </a:lnTo>
                  <a:lnTo>
                    <a:pt x="483" y="382"/>
                  </a:lnTo>
                  <a:lnTo>
                    <a:pt x="483" y="382"/>
                  </a:lnTo>
                  <a:lnTo>
                    <a:pt x="473" y="400"/>
                  </a:lnTo>
                  <a:lnTo>
                    <a:pt x="461" y="416"/>
                  </a:lnTo>
                  <a:lnTo>
                    <a:pt x="449" y="430"/>
                  </a:lnTo>
                  <a:lnTo>
                    <a:pt x="437" y="444"/>
                  </a:lnTo>
                  <a:lnTo>
                    <a:pt x="437" y="444"/>
                  </a:lnTo>
                  <a:lnTo>
                    <a:pt x="421" y="456"/>
                  </a:lnTo>
                  <a:lnTo>
                    <a:pt x="407" y="468"/>
                  </a:lnTo>
                  <a:lnTo>
                    <a:pt x="389" y="480"/>
                  </a:lnTo>
                  <a:lnTo>
                    <a:pt x="373" y="490"/>
                  </a:lnTo>
                  <a:lnTo>
                    <a:pt x="355" y="498"/>
                  </a:lnTo>
                  <a:lnTo>
                    <a:pt x="337" y="504"/>
                  </a:lnTo>
                  <a:lnTo>
                    <a:pt x="319" y="510"/>
                  </a:lnTo>
                  <a:lnTo>
                    <a:pt x="299" y="514"/>
                  </a:lnTo>
                  <a:lnTo>
                    <a:pt x="299" y="514"/>
                  </a:lnTo>
                  <a:lnTo>
                    <a:pt x="279" y="514"/>
                  </a:lnTo>
                  <a:lnTo>
                    <a:pt x="260" y="514"/>
                  </a:lnTo>
                  <a:lnTo>
                    <a:pt x="260" y="514"/>
                  </a:lnTo>
                  <a:lnTo>
                    <a:pt x="260" y="514"/>
                  </a:lnTo>
                  <a:close/>
                  <a:moveTo>
                    <a:pt x="260" y="470"/>
                  </a:moveTo>
                  <a:lnTo>
                    <a:pt x="260" y="470"/>
                  </a:lnTo>
                  <a:lnTo>
                    <a:pt x="291" y="468"/>
                  </a:lnTo>
                  <a:lnTo>
                    <a:pt x="307" y="464"/>
                  </a:lnTo>
                  <a:lnTo>
                    <a:pt x="323" y="460"/>
                  </a:lnTo>
                  <a:lnTo>
                    <a:pt x="323" y="460"/>
                  </a:lnTo>
                  <a:lnTo>
                    <a:pt x="351" y="450"/>
                  </a:lnTo>
                  <a:lnTo>
                    <a:pt x="351" y="450"/>
                  </a:lnTo>
                  <a:lnTo>
                    <a:pt x="365" y="442"/>
                  </a:lnTo>
                  <a:lnTo>
                    <a:pt x="379" y="434"/>
                  </a:lnTo>
                  <a:lnTo>
                    <a:pt x="379" y="434"/>
                  </a:lnTo>
                  <a:lnTo>
                    <a:pt x="393" y="424"/>
                  </a:lnTo>
                  <a:lnTo>
                    <a:pt x="405" y="414"/>
                  </a:lnTo>
                  <a:lnTo>
                    <a:pt x="405" y="414"/>
                  </a:lnTo>
                  <a:lnTo>
                    <a:pt x="417" y="402"/>
                  </a:lnTo>
                  <a:lnTo>
                    <a:pt x="429" y="388"/>
                  </a:lnTo>
                  <a:lnTo>
                    <a:pt x="429" y="388"/>
                  </a:lnTo>
                  <a:lnTo>
                    <a:pt x="437" y="376"/>
                  </a:lnTo>
                  <a:lnTo>
                    <a:pt x="447" y="362"/>
                  </a:lnTo>
                  <a:lnTo>
                    <a:pt x="455" y="346"/>
                  </a:lnTo>
                  <a:lnTo>
                    <a:pt x="461" y="332"/>
                  </a:lnTo>
                  <a:lnTo>
                    <a:pt x="461" y="332"/>
                  </a:lnTo>
                  <a:lnTo>
                    <a:pt x="465" y="316"/>
                  </a:lnTo>
                  <a:lnTo>
                    <a:pt x="467" y="300"/>
                  </a:lnTo>
                  <a:lnTo>
                    <a:pt x="467" y="300"/>
                  </a:lnTo>
                  <a:lnTo>
                    <a:pt x="469" y="286"/>
                  </a:lnTo>
                  <a:lnTo>
                    <a:pt x="471" y="272"/>
                  </a:lnTo>
                  <a:lnTo>
                    <a:pt x="471" y="272"/>
                  </a:lnTo>
                  <a:lnTo>
                    <a:pt x="469" y="236"/>
                  </a:lnTo>
                  <a:lnTo>
                    <a:pt x="469" y="236"/>
                  </a:lnTo>
                  <a:lnTo>
                    <a:pt x="469" y="220"/>
                  </a:lnTo>
                  <a:lnTo>
                    <a:pt x="469" y="220"/>
                  </a:lnTo>
                  <a:lnTo>
                    <a:pt x="465" y="204"/>
                  </a:lnTo>
                  <a:lnTo>
                    <a:pt x="465" y="204"/>
                  </a:lnTo>
                  <a:lnTo>
                    <a:pt x="453" y="172"/>
                  </a:lnTo>
                  <a:lnTo>
                    <a:pt x="447" y="158"/>
                  </a:lnTo>
                  <a:lnTo>
                    <a:pt x="439" y="144"/>
                  </a:lnTo>
                  <a:lnTo>
                    <a:pt x="439" y="144"/>
                  </a:lnTo>
                  <a:lnTo>
                    <a:pt x="429" y="130"/>
                  </a:lnTo>
                  <a:lnTo>
                    <a:pt x="419" y="118"/>
                  </a:lnTo>
                  <a:lnTo>
                    <a:pt x="395" y="94"/>
                  </a:lnTo>
                  <a:lnTo>
                    <a:pt x="395" y="94"/>
                  </a:lnTo>
                  <a:lnTo>
                    <a:pt x="369" y="76"/>
                  </a:lnTo>
                  <a:lnTo>
                    <a:pt x="357" y="68"/>
                  </a:lnTo>
                  <a:lnTo>
                    <a:pt x="341" y="62"/>
                  </a:lnTo>
                  <a:lnTo>
                    <a:pt x="327" y="56"/>
                  </a:lnTo>
                  <a:lnTo>
                    <a:pt x="313" y="52"/>
                  </a:lnTo>
                  <a:lnTo>
                    <a:pt x="297" y="48"/>
                  </a:lnTo>
                  <a:lnTo>
                    <a:pt x="281" y="48"/>
                  </a:lnTo>
                  <a:lnTo>
                    <a:pt x="281" y="48"/>
                  </a:lnTo>
                  <a:lnTo>
                    <a:pt x="264" y="48"/>
                  </a:lnTo>
                  <a:lnTo>
                    <a:pt x="264" y="48"/>
                  </a:lnTo>
                  <a:lnTo>
                    <a:pt x="232" y="48"/>
                  </a:lnTo>
                  <a:lnTo>
                    <a:pt x="216" y="50"/>
                  </a:lnTo>
                  <a:lnTo>
                    <a:pt x="200" y="54"/>
                  </a:lnTo>
                  <a:lnTo>
                    <a:pt x="200" y="54"/>
                  </a:lnTo>
                  <a:lnTo>
                    <a:pt x="184" y="60"/>
                  </a:lnTo>
                  <a:lnTo>
                    <a:pt x="168" y="66"/>
                  </a:lnTo>
                  <a:lnTo>
                    <a:pt x="152" y="74"/>
                  </a:lnTo>
                  <a:lnTo>
                    <a:pt x="138" y="84"/>
                  </a:lnTo>
                  <a:lnTo>
                    <a:pt x="138" y="84"/>
                  </a:lnTo>
                  <a:lnTo>
                    <a:pt x="126" y="94"/>
                  </a:lnTo>
                  <a:lnTo>
                    <a:pt x="114" y="104"/>
                  </a:lnTo>
                  <a:lnTo>
                    <a:pt x="114" y="104"/>
                  </a:lnTo>
                  <a:lnTo>
                    <a:pt x="102" y="114"/>
                  </a:lnTo>
                  <a:lnTo>
                    <a:pt x="92" y="126"/>
                  </a:lnTo>
                  <a:lnTo>
                    <a:pt x="92" y="126"/>
                  </a:lnTo>
                  <a:lnTo>
                    <a:pt x="82" y="140"/>
                  </a:lnTo>
                  <a:lnTo>
                    <a:pt x="74" y="154"/>
                  </a:lnTo>
                  <a:lnTo>
                    <a:pt x="74" y="154"/>
                  </a:lnTo>
                  <a:lnTo>
                    <a:pt x="66" y="168"/>
                  </a:lnTo>
                  <a:lnTo>
                    <a:pt x="60" y="184"/>
                  </a:lnTo>
                  <a:lnTo>
                    <a:pt x="60" y="184"/>
                  </a:lnTo>
                  <a:lnTo>
                    <a:pt x="56" y="200"/>
                  </a:lnTo>
                  <a:lnTo>
                    <a:pt x="52" y="218"/>
                  </a:lnTo>
                  <a:lnTo>
                    <a:pt x="52" y="218"/>
                  </a:lnTo>
                  <a:lnTo>
                    <a:pt x="48" y="234"/>
                  </a:lnTo>
                  <a:lnTo>
                    <a:pt x="48" y="234"/>
                  </a:lnTo>
                  <a:lnTo>
                    <a:pt x="46" y="250"/>
                  </a:lnTo>
                  <a:lnTo>
                    <a:pt x="46" y="250"/>
                  </a:lnTo>
                  <a:lnTo>
                    <a:pt x="48" y="282"/>
                  </a:lnTo>
                  <a:lnTo>
                    <a:pt x="50" y="298"/>
                  </a:lnTo>
                  <a:lnTo>
                    <a:pt x="54" y="312"/>
                  </a:lnTo>
                  <a:lnTo>
                    <a:pt x="54" y="312"/>
                  </a:lnTo>
                  <a:lnTo>
                    <a:pt x="66" y="344"/>
                  </a:lnTo>
                  <a:lnTo>
                    <a:pt x="72" y="360"/>
                  </a:lnTo>
                  <a:lnTo>
                    <a:pt x="80" y="374"/>
                  </a:lnTo>
                  <a:lnTo>
                    <a:pt x="80" y="374"/>
                  </a:lnTo>
                  <a:lnTo>
                    <a:pt x="90" y="388"/>
                  </a:lnTo>
                  <a:lnTo>
                    <a:pt x="100" y="400"/>
                  </a:lnTo>
                  <a:lnTo>
                    <a:pt x="122" y="422"/>
                  </a:lnTo>
                  <a:lnTo>
                    <a:pt x="122" y="422"/>
                  </a:lnTo>
                  <a:lnTo>
                    <a:pt x="136" y="432"/>
                  </a:lnTo>
                  <a:lnTo>
                    <a:pt x="150" y="442"/>
                  </a:lnTo>
                  <a:lnTo>
                    <a:pt x="166" y="450"/>
                  </a:lnTo>
                  <a:lnTo>
                    <a:pt x="182" y="456"/>
                  </a:lnTo>
                  <a:lnTo>
                    <a:pt x="182" y="456"/>
                  </a:lnTo>
                  <a:lnTo>
                    <a:pt x="210" y="464"/>
                  </a:lnTo>
                  <a:lnTo>
                    <a:pt x="226" y="468"/>
                  </a:lnTo>
                  <a:lnTo>
                    <a:pt x="242" y="470"/>
                  </a:lnTo>
                  <a:lnTo>
                    <a:pt x="242" y="470"/>
                  </a:lnTo>
                  <a:lnTo>
                    <a:pt x="260" y="470"/>
                  </a:lnTo>
                  <a:lnTo>
                    <a:pt x="260" y="4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T America" panose="00000500000000000000" pitchFamily="2" charset="0"/>
                <a:ea typeface="+mn-ea"/>
                <a:cs typeface="+mn-cs"/>
              </a:endParaRPr>
            </a:p>
          </p:txBody>
        </p:sp>
        <p:sp>
          <p:nvSpPr>
            <p:cNvPr id="195" name="Freeform 146"/>
            <p:cNvSpPr>
              <a:spLocks noEditPoints="1"/>
            </p:cNvSpPr>
            <p:nvPr/>
          </p:nvSpPr>
          <p:spPr bwMode="auto">
            <a:xfrm>
              <a:off x="3707" y="4318"/>
              <a:ext cx="303" cy="284"/>
            </a:xfrm>
            <a:custGeom>
              <a:avLst/>
              <a:gdLst>
                <a:gd name="T0" fmla="*/ 297 w 303"/>
                <a:gd name="T1" fmla="*/ 104 h 284"/>
                <a:gd name="T2" fmla="*/ 269 w 303"/>
                <a:gd name="T3" fmla="*/ 102 h 284"/>
                <a:gd name="T4" fmla="*/ 207 w 303"/>
                <a:gd name="T5" fmla="*/ 102 h 284"/>
                <a:gd name="T6" fmla="*/ 191 w 303"/>
                <a:gd name="T7" fmla="*/ 102 h 284"/>
                <a:gd name="T8" fmla="*/ 189 w 303"/>
                <a:gd name="T9" fmla="*/ 94 h 284"/>
                <a:gd name="T10" fmla="*/ 161 w 303"/>
                <a:gd name="T11" fmla="*/ 8 h 284"/>
                <a:gd name="T12" fmla="*/ 156 w 303"/>
                <a:gd name="T13" fmla="*/ 0 h 284"/>
                <a:gd name="T14" fmla="*/ 148 w 303"/>
                <a:gd name="T15" fmla="*/ 0 h 284"/>
                <a:gd name="T16" fmla="*/ 136 w 303"/>
                <a:gd name="T17" fmla="*/ 24 h 284"/>
                <a:gd name="T18" fmla="*/ 118 w 303"/>
                <a:gd name="T19" fmla="*/ 82 h 284"/>
                <a:gd name="T20" fmla="*/ 112 w 303"/>
                <a:gd name="T21" fmla="*/ 100 h 284"/>
                <a:gd name="T22" fmla="*/ 106 w 303"/>
                <a:gd name="T23" fmla="*/ 102 h 284"/>
                <a:gd name="T24" fmla="*/ 8 w 303"/>
                <a:gd name="T25" fmla="*/ 102 h 284"/>
                <a:gd name="T26" fmla="*/ 0 w 303"/>
                <a:gd name="T27" fmla="*/ 110 h 284"/>
                <a:gd name="T28" fmla="*/ 4 w 303"/>
                <a:gd name="T29" fmla="*/ 116 h 284"/>
                <a:gd name="T30" fmla="*/ 40 w 303"/>
                <a:gd name="T31" fmla="*/ 142 h 284"/>
                <a:gd name="T32" fmla="*/ 76 w 303"/>
                <a:gd name="T33" fmla="*/ 170 h 284"/>
                <a:gd name="T34" fmla="*/ 86 w 303"/>
                <a:gd name="T35" fmla="*/ 176 h 284"/>
                <a:gd name="T36" fmla="*/ 86 w 303"/>
                <a:gd name="T37" fmla="*/ 180 h 284"/>
                <a:gd name="T38" fmla="*/ 62 w 303"/>
                <a:gd name="T39" fmla="*/ 262 h 284"/>
                <a:gd name="T40" fmla="*/ 60 w 303"/>
                <a:gd name="T41" fmla="*/ 282 h 284"/>
                <a:gd name="T42" fmla="*/ 64 w 303"/>
                <a:gd name="T43" fmla="*/ 284 h 284"/>
                <a:gd name="T44" fmla="*/ 78 w 303"/>
                <a:gd name="T45" fmla="*/ 274 h 284"/>
                <a:gd name="T46" fmla="*/ 148 w 303"/>
                <a:gd name="T47" fmla="*/ 224 h 284"/>
                <a:gd name="T48" fmla="*/ 156 w 303"/>
                <a:gd name="T49" fmla="*/ 226 h 284"/>
                <a:gd name="T50" fmla="*/ 197 w 303"/>
                <a:gd name="T51" fmla="*/ 256 h 284"/>
                <a:gd name="T52" fmla="*/ 231 w 303"/>
                <a:gd name="T53" fmla="*/ 278 h 284"/>
                <a:gd name="T54" fmla="*/ 239 w 303"/>
                <a:gd name="T55" fmla="*/ 284 h 284"/>
                <a:gd name="T56" fmla="*/ 247 w 303"/>
                <a:gd name="T57" fmla="*/ 280 h 284"/>
                <a:gd name="T58" fmla="*/ 247 w 303"/>
                <a:gd name="T59" fmla="*/ 274 h 284"/>
                <a:gd name="T60" fmla="*/ 241 w 303"/>
                <a:gd name="T61" fmla="*/ 254 h 284"/>
                <a:gd name="T62" fmla="*/ 225 w 303"/>
                <a:gd name="T63" fmla="*/ 206 h 284"/>
                <a:gd name="T64" fmla="*/ 217 w 303"/>
                <a:gd name="T65" fmla="*/ 182 h 284"/>
                <a:gd name="T66" fmla="*/ 219 w 303"/>
                <a:gd name="T67" fmla="*/ 174 h 284"/>
                <a:gd name="T68" fmla="*/ 233 w 303"/>
                <a:gd name="T69" fmla="*/ 164 h 284"/>
                <a:gd name="T70" fmla="*/ 301 w 303"/>
                <a:gd name="T71" fmla="*/ 114 h 284"/>
                <a:gd name="T72" fmla="*/ 273 w 303"/>
                <a:gd name="T73" fmla="*/ 118 h 284"/>
                <a:gd name="T74" fmla="*/ 179 w 303"/>
                <a:gd name="T75" fmla="*/ 118 h 284"/>
                <a:gd name="T76" fmla="*/ 179 w 303"/>
                <a:gd name="T77" fmla="*/ 118 h 284"/>
                <a:gd name="T78" fmla="*/ 179 w 303"/>
                <a:gd name="T79" fmla="*/ 116 h 284"/>
                <a:gd name="T80" fmla="*/ 177 w 303"/>
                <a:gd name="T81" fmla="*/ 116 h 284"/>
                <a:gd name="T82" fmla="*/ 177 w 303"/>
                <a:gd name="T83" fmla="*/ 116 h 284"/>
                <a:gd name="T84" fmla="*/ 161 w 303"/>
                <a:gd name="T85" fmla="*/ 68 h 284"/>
                <a:gd name="T86" fmla="*/ 150 w 303"/>
                <a:gd name="T87" fmla="*/ 32 h 284"/>
                <a:gd name="T88" fmla="*/ 152 w 303"/>
                <a:gd name="T89" fmla="*/ 26 h 284"/>
                <a:gd name="T90" fmla="*/ 156 w 303"/>
                <a:gd name="T91" fmla="*/ 28 h 284"/>
                <a:gd name="T92" fmla="*/ 158 w 303"/>
                <a:gd name="T93" fmla="*/ 30 h 284"/>
                <a:gd name="T94" fmla="*/ 179 w 303"/>
                <a:gd name="T95" fmla="*/ 98 h 284"/>
                <a:gd name="T96" fmla="*/ 183 w 303"/>
                <a:gd name="T97" fmla="*/ 112 h 284"/>
                <a:gd name="T98" fmla="*/ 187 w 303"/>
                <a:gd name="T99" fmla="*/ 112 h 284"/>
                <a:gd name="T100" fmla="*/ 235 w 303"/>
                <a:gd name="T101" fmla="*/ 112 h 284"/>
                <a:gd name="T102" fmla="*/ 277 w 303"/>
                <a:gd name="T103" fmla="*/ 112 h 284"/>
                <a:gd name="T104" fmla="*/ 273 w 303"/>
                <a:gd name="T105" fmla="*/ 118 h 2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303" h="284">
                  <a:moveTo>
                    <a:pt x="303" y="108"/>
                  </a:moveTo>
                  <a:lnTo>
                    <a:pt x="303" y="108"/>
                  </a:lnTo>
                  <a:lnTo>
                    <a:pt x="297" y="104"/>
                  </a:lnTo>
                  <a:lnTo>
                    <a:pt x="291" y="102"/>
                  </a:lnTo>
                  <a:lnTo>
                    <a:pt x="291" y="102"/>
                  </a:lnTo>
                  <a:lnTo>
                    <a:pt x="269" y="102"/>
                  </a:lnTo>
                  <a:lnTo>
                    <a:pt x="269" y="102"/>
                  </a:lnTo>
                  <a:lnTo>
                    <a:pt x="207" y="102"/>
                  </a:lnTo>
                  <a:lnTo>
                    <a:pt x="207" y="102"/>
                  </a:lnTo>
                  <a:lnTo>
                    <a:pt x="199" y="102"/>
                  </a:lnTo>
                  <a:lnTo>
                    <a:pt x="191" y="102"/>
                  </a:lnTo>
                  <a:lnTo>
                    <a:pt x="191" y="102"/>
                  </a:lnTo>
                  <a:lnTo>
                    <a:pt x="189" y="98"/>
                  </a:lnTo>
                  <a:lnTo>
                    <a:pt x="189" y="94"/>
                  </a:lnTo>
                  <a:lnTo>
                    <a:pt x="189" y="94"/>
                  </a:lnTo>
                  <a:lnTo>
                    <a:pt x="169" y="36"/>
                  </a:lnTo>
                  <a:lnTo>
                    <a:pt x="169" y="36"/>
                  </a:lnTo>
                  <a:lnTo>
                    <a:pt x="161" y="8"/>
                  </a:lnTo>
                  <a:lnTo>
                    <a:pt x="161" y="8"/>
                  </a:lnTo>
                  <a:lnTo>
                    <a:pt x="158" y="2"/>
                  </a:lnTo>
                  <a:lnTo>
                    <a:pt x="156" y="0"/>
                  </a:lnTo>
                  <a:lnTo>
                    <a:pt x="152" y="0"/>
                  </a:lnTo>
                  <a:lnTo>
                    <a:pt x="152" y="0"/>
                  </a:lnTo>
                  <a:lnTo>
                    <a:pt x="148" y="0"/>
                  </a:lnTo>
                  <a:lnTo>
                    <a:pt x="144" y="2"/>
                  </a:lnTo>
                  <a:lnTo>
                    <a:pt x="140" y="8"/>
                  </a:lnTo>
                  <a:lnTo>
                    <a:pt x="136" y="24"/>
                  </a:lnTo>
                  <a:lnTo>
                    <a:pt x="136" y="24"/>
                  </a:lnTo>
                  <a:lnTo>
                    <a:pt x="118" y="82"/>
                  </a:lnTo>
                  <a:lnTo>
                    <a:pt x="118" y="82"/>
                  </a:lnTo>
                  <a:lnTo>
                    <a:pt x="116" y="92"/>
                  </a:lnTo>
                  <a:lnTo>
                    <a:pt x="112" y="100"/>
                  </a:lnTo>
                  <a:lnTo>
                    <a:pt x="112" y="100"/>
                  </a:lnTo>
                  <a:lnTo>
                    <a:pt x="110" y="102"/>
                  </a:lnTo>
                  <a:lnTo>
                    <a:pt x="106" y="102"/>
                  </a:lnTo>
                  <a:lnTo>
                    <a:pt x="106" y="102"/>
                  </a:lnTo>
                  <a:lnTo>
                    <a:pt x="54" y="102"/>
                  </a:lnTo>
                  <a:lnTo>
                    <a:pt x="54" y="102"/>
                  </a:lnTo>
                  <a:lnTo>
                    <a:pt x="8" y="102"/>
                  </a:lnTo>
                  <a:lnTo>
                    <a:pt x="8" y="102"/>
                  </a:lnTo>
                  <a:lnTo>
                    <a:pt x="2" y="106"/>
                  </a:lnTo>
                  <a:lnTo>
                    <a:pt x="0" y="110"/>
                  </a:lnTo>
                  <a:lnTo>
                    <a:pt x="0" y="112"/>
                  </a:lnTo>
                  <a:lnTo>
                    <a:pt x="0" y="112"/>
                  </a:lnTo>
                  <a:lnTo>
                    <a:pt x="4" y="116"/>
                  </a:lnTo>
                  <a:lnTo>
                    <a:pt x="8" y="118"/>
                  </a:lnTo>
                  <a:lnTo>
                    <a:pt x="8" y="118"/>
                  </a:lnTo>
                  <a:lnTo>
                    <a:pt x="40" y="142"/>
                  </a:lnTo>
                  <a:lnTo>
                    <a:pt x="40" y="142"/>
                  </a:lnTo>
                  <a:lnTo>
                    <a:pt x="76" y="170"/>
                  </a:lnTo>
                  <a:lnTo>
                    <a:pt x="76" y="170"/>
                  </a:lnTo>
                  <a:lnTo>
                    <a:pt x="82" y="174"/>
                  </a:lnTo>
                  <a:lnTo>
                    <a:pt x="86" y="176"/>
                  </a:lnTo>
                  <a:lnTo>
                    <a:pt x="86" y="176"/>
                  </a:lnTo>
                  <a:lnTo>
                    <a:pt x="86" y="178"/>
                  </a:lnTo>
                  <a:lnTo>
                    <a:pt x="86" y="180"/>
                  </a:lnTo>
                  <a:lnTo>
                    <a:pt x="86" y="180"/>
                  </a:lnTo>
                  <a:lnTo>
                    <a:pt x="74" y="222"/>
                  </a:lnTo>
                  <a:lnTo>
                    <a:pt x="62" y="262"/>
                  </a:lnTo>
                  <a:lnTo>
                    <a:pt x="62" y="262"/>
                  </a:lnTo>
                  <a:lnTo>
                    <a:pt x="58" y="272"/>
                  </a:lnTo>
                  <a:lnTo>
                    <a:pt x="58" y="278"/>
                  </a:lnTo>
                  <a:lnTo>
                    <a:pt x="60" y="282"/>
                  </a:lnTo>
                  <a:lnTo>
                    <a:pt x="60" y="282"/>
                  </a:lnTo>
                  <a:lnTo>
                    <a:pt x="62" y="284"/>
                  </a:lnTo>
                  <a:lnTo>
                    <a:pt x="64" y="284"/>
                  </a:lnTo>
                  <a:lnTo>
                    <a:pt x="68" y="282"/>
                  </a:lnTo>
                  <a:lnTo>
                    <a:pt x="68" y="282"/>
                  </a:lnTo>
                  <a:lnTo>
                    <a:pt x="78" y="274"/>
                  </a:lnTo>
                  <a:lnTo>
                    <a:pt x="78" y="274"/>
                  </a:lnTo>
                  <a:lnTo>
                    <a:pt x="148" y="224"/>
                  </a:lnTo>
                  <a:lnTo>
                    <a:pt x="148" y="224"/>
                  </a:lnTo>
                  <a:lnTo>
                    <a:pt x="152" y="222"/>
                  </a:lnTo>
                  <a:lnTo>
                    <a:pt x="152" y="222"/>
                  </a:lnTo>
                  <a:lnTo>
                    <a:pt x="156" y="226"/>
                  </a:lnTo>
                  <a:lnTo>
                    <a:pt x="160" y="230"/>
                  </a:lnTo>
                  <a:lnTo>
                    <a:pt x="160" y="230"/>
                  </a:lnTo>
                  <a:lnTo>
                    <a:pt x="197" y="256"/>
                  </a:lnTo>
                  <a:lnTo>
                    <a:pt x="197" y="256"/>
                  </a:lnTo>
                  <a:lnTo>
                    <a:pt x="231" y="278"/>
                  </a:lnTo>
                  <a:lnTo>
                    <a:pt x="231" y="278"/>
                  </a:lnTo>
                  <a:lnTo>
                    <a:pt x="237" y="282"/>
                  </a:lnTo>
                  <a:lnTo>
                    <a:pt x="237" y="282"/>
                  </a:lnTo>
                  <a:lnTo>
                    <a:pt x="239" y="284"/>
                  </a:lnTo>
                  <a:lnTo>
                    <a:pt x="243" y="282"/>
                  </a:lnTo>
                  <a:lnTo>
                    <a:pt x="243" y="282"/>
                  </a:lnTo>
                  <a:lnTo>
                    <a:pt x="247" y="280"/>
                  </a:lnTo>
                  <a:lnTo>
                    <a:pt x="247" y="278"/>
                  </a:lnTo>
                  <a:lnTo>
                    <a:pt x="247" y="278"/>
                  </a:lnTo>
                  <a:lnTo>
                    <a:pt x="247" y="274"/>
                  </a:lnTo>
                  <a:lnTo>
                    <a:pt x="245" y="270"/>
                  </a:lnTo>
                  <a:lnTo>
                    <a:pt x="245" y="270"/>
                  </a:lnTo>
                  <a:lnTo>
                    <a:pt x="241" y="254"/>
                  </a:lnTo>
                  <a:lnTo>
                    <a:pt x="241" y="254"/>
                  </a:lnTo>
                  <a:lnTo>
                    <a:pt x="225" y="206"/>
                  </a:lnTo>
                  <a:lnTo>
                    <a:pt x="225" y="206"/>
                  </a:lnTo>
                  <a:lnTo>
                    <a:pt x="219" y="188"/>
                  </a:lnTo>
                  <a:lnTo>
                    <a:pt x="219" y="188"/>
                  </a:lnTo>
                  <a:lnTo>
                    <a:pt x="217" y="182"/>
                  </a:lnTo>
                  <a:lnTo>
                    <a:pt x="215" y="178"/>
                  </a:lnTo>
                  <a:lnTo>
                    <a:pt x="215" y="178"/>
                  </a:lnTo>
                  <a:lnTo>
                    <a:pt x="219" y="174"/>
                  </a:lnTo>
                  <a:lnTo>
                    <a:pt x="219" y="174"/>
                  </a:lnTo>
                  <a:lnTo>
                    <a:pt x="233" y="164"/>
                  </a:lnTo>
                  <a:lnTo>
                    <a:pt x="233" y="164"/>
                  </a:lnTo>
                  <a:lnTo>
                    <a:pt x="297" y="116"/>
                  </a:lnTo>
                  <a:lnTo>
                    <a:pt x="297" y="116"/>
                  </a:lnTo>
                  <a:lnTo>
                    <a:pt x="301" y="114"/>
                  </a:lnTo>
                  <a:lnTo>
                    <a:pt x="303" y="108"/>
                  </a:lnTo>
                  <a:lnTo>
                    <a:pt x="303" y="108"/>
                  </a:lnTo>
                  <a:close/>
                  <a:moveTo>
                    <a:pt x="273" y="118"/>
                  </a:moveTo>
                  <a:lnTo>
                    <a:pt x="181" y="118"/>
                  </a:lnTo>
                  <a:lnTo>
                    <a:pt x="181" y="118"/>
                  </a:lnTo>
                  <a:lnTo>
                    <a:pt x="179" y="118"/>
                  </a:lnTo>
                  <a:lnTo>
                    <a:pt x="179" y="118"/>
                  </a:lnTo>
                  <a:lnTo>
                    <a:pt x="179" y="118"/>
                  </a:lnTo>
                  <a:lnTo>
                    <a:pt x="179" y="118"/>
                  </a:lnTo>
                  <a:lnTo>
                    <a:pt x="179" y="118"/>
                  </a:lnTo>
                  <a:lnTo>
                    <a:pt x="179" y="118"/>
                  </a:lnTo>
                  <a:lnTo>
                    <a:pt x="179" y="116"/>
                  </a:lnTo>
                  <a:lnTo>
                    <a:pt x="177" y="116"/>
                  </a:lnTo>
                  <a:lnTo>
                    <a:pt x="177" y="116"/>
                  </a:lnTo>
                  <a:lnTo>
                    <a:pt x="177" y="116"/>
                  </a:lnTo>
                  <a:lnTo>
                    <a:pt x="177" y="116"/>
                  </a:lnTo>
                  <a:lnTo>
                    <a:pt x="177" y="116"/>
                  </a:lnTo>
                  <a:lnTo>
                    <a:pt x="177" y="116"/>
                  </a:lnTo>
                  <a:lnTo>
                    <a:pt x="177" y="116"/>
                  </a:lnTo>
                  <a:lnTo>
                    <a:pt x="161" y="68"/>
                  </a:lnTo>
                  <a:lnTo>
                    <a:pt x="161" y="68"/>
                  </a:lnTo>
                  <a:lnTo>
                    <a:pt x="152" y="38"/>
                  </a:lnTo>
                  <a:lnTo>
                    <a:pt x="152" y="38"/>
                  </a:lnTo>
                  <a:lnTo>
                    <a:pt x="150" y="32"/>
                  </a:lnTo>
                  <a:lnTo>
                    <a:pt x="150" y="28"/>
                  </a:lnTo>
                  <a:lnTo>
                    <a:pt x="152" y="26"/>
                  </a:lnTo>
                  <a:lnTo>
                    <a:pt x="152" y="26"/>
                  </a:lnTo>
                  <a:lnTo>
                    <a:pt x="156" y="26"/>
                  </a:lnTo>
                  <a:lnTo>
                    <a:pt x="156" y="26"/>
                  </a:lnTo>
                  <a:lnTo>
                    <a:pt x="156" y="28"/>
                  </a:lnTo>
                  <a:lnTo>
                    <a:pt x="156" y="28"/>
                  </a:lnTo>
                  <a:lnTo>
                    <a:pt x="158" y="30"/>
                  </a:lnTo>
                  <a:lnTo>
                    <a:pt x="158" y="30"/>
                  </a:lnTo>
                  <a:lnTo>
                    <a:pt x="163" y="48"/>
                  </a:lnTo>
                  <a:lnTo>
                    <a:pt x="163" y="48"/>
                  </a:lnTo>
                  <a:lnTo>
                    <a:pt x="179" y="98"/>
                  </a:lnTo>
                  <a:lnTo>
                    <a:pt x="179" y="98"/>
                  </a:lnTo>
                  <a:lnTo>
                    <a:pt x="179" y="106"/>
                  </a:lnTo>
                  <a:lnTo>
                    <a:pt x="183" y="112"/>
                  </a:lnTo>
                  <a:lnTo>
                    <a:pt x="183" y="112"/>
                  </a:lnTo>
                  <a:lnTo>
                    <a:pt x="185" y="112"/>
                  </a:lnTo>
                  <a:lnTo>
                    <a:pt x="187" y="112"/>
                  </a:lnTo>
                  <a:lnTo>
                    <a:pt x="187" y="112"/>
                  </a:lnTo>
                  <a:lnTo>
                    <a:pt x="235" y="112"/>
                  </a:lnTo>
                  <a:lnTo>
                    <a:pt x="235" y="112"/>
                  </a:lnTo>
                  <a:lnTo>
                    <a:pt x="273" y="112"/>
                  </a:lnTo>
                  <a:lnTo>
                    <a:pt x="273" y="112"/>
                  </a:lnTo>
                  <a:lnTo>
                    <a:pt x="277" y="112"/>
                  </a:lnTo>
                  <a:lnTo>
                    <a:pt x="279" y="114"/>
                  </a:lnTo>
                  <a:lnTo>
                    <a:pt x="279" y="114"/>
                  </a:lnTo>
                  <a:lnTo>
                    <a:pt x="273" y="118"/>
                  </a:lnTo>
                  <a:lnTo>
                    <a:pt x="273" y="1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T America" panose="00000500000000000000" pitchFamily="2" charset="0"/>
                <a:ea typeface="+mn-ea"/>
                <a:cs typeface="+mn-cs"/>
              </a:endParaRPr>
            </a:p>
          </p:txBody>
        </p:sp>
      </p:grpSp>
      <p:sp>
        <p:nvSpPr>
          <p:cNvPr id="26" name="Rechteck 25"/>
          <p:cNvSpPr/>
          <p:nvPr/>
        </p:nvSpPr>
        <p:spPr>
          <a:xfrm>
            <a:off x="279161" y="4800248"/>
            <a:ext cx="2042753" cy="1620001"/>
          </a:xfrm>
          <a:prstGeom prst="rect">
            <a:avLst/>
          </a:prstGeom>
          <a:solidFill>
            <a:schemeClr val="accent3"/>
          </a:solidFill>
        </p:spPr>
        <p:txBody>
          <a:bodyPr wrap="square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T America" panose="00000500000000000000" pitchFamily="2" charset="0"/>
                <a:ea typeface="+mn-ea"/>
                <a:cs typeface="+mn-cs"/>
              </a:rPr>
              <a:t>Genehmigungs-verfahren</a:t>
            </a:r>
          </a:p>
        </p:txBody>
      </p:sp>
      <p:sp>
        <p:nvSpPr>
          <p:cNvPr id="188" name="Freihandform 187"/>
          <p:cNvSpPr>
            <a:spLocks/>
          </p:cNvSpPr>
          <p:nvPr/>
        </p:nvSpPr>
        <p:spPr bwMode="auto">
          <a:xfrm rot="20319422">
            <a:off x="537378" y="5517400"/>
            <a:ext cx="523802" cy="754689"/>
          </a:xfrm>
          <a:custGeom>
            <a:avLst/>
            <a:gdLst>
              <a:gd name="connsiteX0" fmla="*/ 101831 w 850457"/>
              <a:gd name="connsiteY0" fmla="*/ 966837 h 1225330"/>
              <a:gd name="connsiteX1" fmla="*/ 101831 w 850457"/>
              <a:gd name="connsiteY1" fmla="*/ 993694 h 1225330"/>
              <a:gd name="connsiteX2" fmla="*/ 463275 w 850457"/>
              <a:gd name="connsiteY2" fmla="*/ 993694 h 1225330"/>
              <a:gd name="connsiteX3" fmla="*/ 463275 w 850457"/>
              <a:gd name="connsiteY3" fmla="*/ 966837 h 1225330"/>
              <a:gd name="connsiteX4" fmla="*/ 759816 w 850457"/>
              <a:gd name="connsiteY4" fmla="*/ 845982 h 1225330"/>
              <a:gd name="connsiteX5" fmla="*/ 746388 w 850457"/>
              <a:gd name="connsiteY5" fmla="*/ 861649 h 1225330"/>
              <a:gd name="connsiteX6" fmla="*/ 698270 w 850457"/>
              <a:gd name="connsiteY6" fmla="*/ 924314 h 1225330"/>
              <a:gd name="connsiteX7" fmla="*/ 653509 w 850457"/>
              <a:gd name="connsiteY7" fmla="*/ 986979 h 1225330"/>
              <a:gd name="connsiteX8" fmla="*/ 646795 w 850457"/>
              <a:gd name="connsiteY8" fmla="*/ 995931 h 1225330"/>
              <a:gd name="connsiteX9" fmla="*/ 640081 w 850457"/>
              <a:gd name="connsiteY9" fmla="*/ 998169 h 1225330"/>
              <a:gd name="connsiteX10" fmla="*/ 631128 w 850457"/>
              <a:gd name="connsiteY10" fmla="*/ 1000407 h 1225330"/>
              <a:gd name="connsiteX11" fmla="*/ 622176 w 850457"/>
              <a:gd name="connsiteY11" fmla="*/ 998169 h 1225330"/>
              <a:gd name="connsiteX12" fmla="*/ 593082 w 850457"/>
              <a:gd name="connsiteY12" fmla="*/ 991455 h 1225330"/>
              <a:gd name="connsiteX13" fmla="*/ 563987 w 850457"/>
              <a:gd name="connsiteY13" fmla="*/ 984741 h 1225330"/>
              <a:gd name="connsiteX14" fmla="*/ 561749 w 850457"/>
              <a:gd name="connsiteY14" fmla="*/ 991455 h 1225330"/>
              <a:gd name="connsiteX15" fmla="*/ 653509 w 850457"/>
              <a:gd name="connsiteY15" fmla="*/ 1042930 h 1225330"/>
              <a:gd name="connsiteX16" fmla="*/ 766530 w 850457"/>
              <a:gd name="connsiteY16" fmla="*/ 850458 h 1225330"/>
              <a:gd name="connsiteX17" fmla="*/ 101831 w 850457"/>
              <a:gd name="connsiteY17" fmla="*/ 728485 h 1225330"/>
              <a:gd name="connsiteX18" fmla="*/ 101831 w 850457"/>
              <a:gd name="connsiteY18" fmla="*/ 758699 h 1225330"/>
              <a:gd name="connsiteX19" fmla="*/ 463275 w 850457"/>
              <a:gd name="connsiteY19" fmla="*/ 758699 h 1225330"/>
              <a:gd name="connsiteX20" fmla="*/ 463275 w 850457"/>
              <a:gd name="connsiteY20" fmla="*/ 728485 h 1225330"/>
              <a:gd name="connsiteX21" fmla="*/ 759816 w 850457"/>
              <a:gd name="connsiteY21" fmla="*/ 603154 h 1225330"/>
              <a:gd name="connsiteX22" fmla="*/ 748626 w 850457"/>
              <a:gd name="connsiteY22" fmla="*/ 618821 h 1225330"/>
              <a:gd name="connsiteX23" fmla="*/ 703865 w 850457"/>
              <a:gd name="connsiteY23" fmla="*/ 677010 h 1225330"/>
              <a:gd name="connsiteX24" fmla="*/ 660223 w 850457"/>
              <a:gd name="connsiteY24" fmla="*/ 738556 h 1225330"/>
              <a:gd name="connsiteX25" fmla="*/ 649033 w 850457"/>
              <a:gd name="connsiteY25" fmla="*/ 749746 h 1225330"/>
              <a:gd name="connsiteX26" fmla="*/ 640081 w 850457"/>
              <a:gd name="connsiteY26" fmla="*/ 756460 h 1225330"/>
              <a:gd name="connsiteX27" fmla="*/ 626652 w 850457"/>
              <a:gd name="connsiteY27" fmla="*/ 758698 h 1225330"/>
              <a:gd name="connsiteX28" fmla="*/ 610986 w 850457"/>
              <a:gd name="connsiteY28" fmla="*/ 756460 h 1225330"/>
              <a:gd name="connsiteX29" fmla="*/ 588606 w 850457"/>
              <a:gd name="connsiteY29" fmla="*/ 749746 h 1225330"/>
              <a:gd name="connsiteX30" fmla="*/ 566225 w 850457"/>
              <a:gd name="connsiteY30" fmla="*/ 745270 h 1225330"/>
              <a:gd name="connsiteX31" fmla="*/ 563987 w 850457"/>
              <a:gd name="connsiteY31" fmla="*/ 751984 h 1225330"/>
              <a:gd name="connsiteX32" fmla="*/ 653509 w 850457"/>
              <a:gd name="connsiteY32" fmla="*/ 803459 h 1225330"/>
              <a:gd name="connsiteX33" fmla="*/ 766530 w 850457"/>
              <a:gd name="connsiteY33" fmla="*/ 607630 h 1225330"/>
              <a:gd name="connsiteX34" fmla="*/ 104069 w 850457"/>
              <a:gd name="connsiteY34" fmla="*/ 489014 h 1225330"/>
              <a:gd name="connsiteX35" fmla="*/ 104069 w 850457"/>
              <a:gd name="connsiteY35" fmla="*/ 515871 h 1225330"/>
              <a:gd name="connsiteX36" fmla="*/ 463275 w 850457"/>
              <a:gd name="connsiteY36" fmla="*/ 515871 h 1225330"/>
              <a:gd name="connsiteX37" fmla="*/ 463275 w 850457"/>
              <a:gd name="connsiteY37" fmla="*/ 489014 h 1225330"/>
              <a:gd name="connsiteX38" fmla="*/ 759816 w 850457"/>
              <a:gd name="connsiteY38" fmla="*/ 363683 h 1225330"/>
              <a:gd name="connsiteX39" fmla="*/ 746388 w 850457"/>
              <a:gd name="connsiteY39" fmla="*/ 379350 h 1225330"/>
              <a:gd name="connsiteX40" fmla="*/ 664699 w 850457"/>
              <a:gd name="connsiteY40" fmla="*/ 491252 h 1225330"/>
              <a:gd name="connsiteX41" fmla="*/ 651271 w 850457"/>
              <a:gd name="connsiteY41" fmla="*/ 509156 h 1225330"/>
              <a:gd name="connsiteX42" fmla="*/ 644557 w 850457"/>
              <a:gd name="connsiteY42" fmla="*/ 515870 h 1225330"/>
              <a:gd name="connsiteX43" fmla="*/ 640081 w 850457"/>
              <a:gd name="connsiteY43" fmla="*/ 518108 h 1225330"/>
              <a:gd name="connsiteX44" fmla="*/ 633366 w 850457"/>
              <a:gd name="connsiteY44" fmla="*/ 520346 h 1225330"/>
              <a:gd name="connsiteX45" fmla="*/ 626652 w 850457"/>
              <a:gd name="connsiteY45" fmla="*/ 520346 h 1225330"/>
              <a:gd name="connsiteX46" fmla="*/ 604272 w 850457"/>
              <a:gd name="connsiteY46" fmla="*/ 513632 h 1225330"/>
              <a:gd name="connsiteX47" fmla="*/ 563987 w 850457"/>
              <a:gd name="connsiteY47" fmla="*/ 506918 h 1225330"/>
              <a:gd name="connsiteX48" fmla="*/ 561749 w 850457"/>
              <a:gd name="connsiteY48" fmla="*/ 513632 h 1225330"/>
              <a:gd name="connsiteX49" fmla="*/ 651271 w 850457"/>
              <a:gd name="connsiteY49" fmla="*/ 565107 h 1225330"/>
              <a:gd name="connsiteX50" fmla="*/ 766530 w 850457"/>
              <a:gd name="connsiteY50" fmla="*/ 368159 h 1225330"/>
              <a:gd name="connsiteX51" fmla="*/ 101831 w 850457"/>
              <a:gd name="connsiteY51" fmla="*/ 246185 h 1225330"/>
              <a:gd name="connsiteX52" fmla="*/ 101831 w 850457"/>
              <a:gd name="connsiteY52" fmla="*/ 279756 h 1225330"/>
              <a:gd name="connsiteX53" fmla="*/ 463275 w 850457"/>
              <a:gd name="connsiteY53" fmla="*/ 279756 h 1225330"/>
              <a:gd name="connsiteX54" fmla="*/ 463275 w 850457"/>
              <a:gd name="connsiteY54" fmla="*/ 246185 h 1225330"/>
              <a:gd name="connsiteX55" fmla="*/ 759816 w 850457"/>
              <a:gd name="connsiteY55" fmla="*/ 120855 h 1225330"/>
              <a:gd name="connsiteX56" fmla="*/ 746388 w 850457"/>
              <a:gd name="connsiteY56" fmla="*/ 138760 h 1225330"/>
              <a:gd name="connsiteX57" fmla="*/ 698270 w 850457"/>
              <a:gd name="connsiteY57" fmla="*/ 201425 h 1225330"/>
              <a:gd name="connsiteX58" fmla="*/ 653509 w 850457"/>
              <a:gd name="connsiteY58" fmla="*/ 266328 h 1225330"/>
              <a:gd name="connsiteX59" fmla="*/ 646795 w 850457"/>
              <a:gd name="connsiteY59" fmla="*/ 273042 h 1225330"/>
              <a:gd name="connsiteX60" fmla="*/ 640081 w 850457"/>
              <a:gd name="connsiteY60" fmla="*/ 277518 h 1225330"/>
              <a:gd name="connsiteX61" fmla="*/ 631128 w 850457"/>
              <a:gd name="connsiteY61" fmla="*/ 279756 h 1225330"/>
              <a:gd name="connsiteX62" fmla="*/ 619938 w 850457"/>
              <a:gd name="connsiteY62" fmla="*/ 277518 h 1225330"/>
              <a:gd name="connsiteX63" fmla="*/ 593082 w 850457"/>
              <a:gd name="connsiteY63" fmla="*/ 270804 h 1225330"/>
              <a:gd name="connsiteX64" fmla="*/ 563987 w 850457"/>
              <a:gd name="connsiteY64" fmla="*/ 264090 h 1225330"/>
              <a:gd name="connsiteX65" fmla="*/ 561749 w 850457"/>
              <a:gd name="connsiteY65" fmla="*/ 270804 h 1225330"/>
              <a:gd name="connsiteX66" fmla="*/ 651271 w 850457"/>
              <a:gd name="connsiteY66" fmla="*/ 325636 h 1225330"/>
              <a:gd name="connsiteX67" fmla="*/ 766530 w 850457"/>
              <a:gd name="connsiteY67" fmla="*/ 125331 h 1225330"/>
              <a:gd name="connsiteX68" fmla="*/ 0 w 850457"/>
              <a:gd name="connsiteY68" fmla="*/ 0 h 1225330"/>
              <a:gd name="connsiteX69" fmla="*/ 850457 w 850457"/>
              <a:gd name="connsiteY69" fmla="*/ 0 h 1225330"/>
              <a:gd name="connsiteX70" fmla="*/ 850457 w 850457"/>
              <a:gd name="connsiteY70" fmla="*/ 1225330 h 1225330"/>
              <a:gd name="connsiteX71" fmla="*/ 0 w 850457"/>
              <a:gd name="connsiteY71" fmla="*/ 1225330 h 12253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</a:cxnLst>
            <a:rect l="l" t="t" r="r" b="b"/>
            <a:pathLst>
              <a:path w="850457" h="1225330">
                <a:moveTo>
                  <a:pt x="101831" y="966837"/>
                </a:moveTo>
                <a:lnTo>
                  <a:pt x="101831" y="993694"/>
                </a:lnTo>
                <a:lnTo>
                  <a:pt x="463275" y="993694"/>
                </a:lnTo>
                <a:lnTo>
                  <a:pt x="463275" y="966837"/>
                </a:lnTo>
                <a:close/>
                <a:moveTo>
                  <a:pt x="759816" y="845982"/>
                </a:moveTo>
                <a:lnTo>
                  <a:pt x="746388" y="861649"/>
                </a:lnTo>
                <a:lnTo>
                  <a:pt x="698270" y="924314"/>
                </a:lnTo>
                <a:lnTo>
                  <a:pt x="653509" y="986979"/>
                </a:lnTo>
                <a:lnTo>
                  <a:pt x="646795" y="995931"/>
                </a:lnTo>
                <a:lnTo>
                  <a:pt x="640081" y="998169"/>
                </a:lnTo>
                <a:lnTo>
                  <a:pt x="631128" y="1000407"/>
                </a:lnTo>
                <a:lnTo>
                  <a:pt x="622176" y="998169"/>
                </a:lnTo>
                <a:lnTo>
                  <a:pt x="593082" y="991455"/>
                </a:lnTo>
                <a:lnTo>
                  <a:pt x="563987" y="984741"/>
                </a:lnTo>
                <a:lnTo>
                  <a:pt x="561749" y="991455"/>
                </a:lnTo>
                <a:lnTo>
                  <a:pt x="653509" y="1042930"/>
                </a:lnTo>
                <a:lnTo>
                  <a:pt x="766530" y="850458"/>
                </a:lnTo>
                <a:close/>
                <a:moveTo>
                  <a:pt x="101831" y="728485"/>
                </a:moveTo>
                <a:lnTo>
                  <a:pt x="101831" y="758699"/>
                </a:lnTo>
                <a:lnTo>
                  <a:pt x="463275" y="758699"/>
                </a:lnTo>
                <a:lnTo>
                  <a:pt x="463275" y="728485"/>
                </a:lnTo>
                <a:close/>
                <a:moveTo>
                  <a:pt x="759816" y="603154"/>
                </a:moveTo>
                <a:lnTo>
                  <a:pt x="748626" y="618821"/>
                </a:lnTo>
                <a:lnTo>
                  <a:pt x="703865" y="677010"/>
                </a:lnTo>
                <a:lnTo>
                  <a:pt x="660223" y="738556"/>
                </a:lnTo>
                <a:lnTo>
                  <a:pt x="649033" y="749746"/>
                </a:lnTo>
                <a:lnTo>
                  <a:pt x="640081" y="756460"/>
                </a:lnTo>
                <a:lnTo>
                  <a:pt x="626652" y="758698"/>
                </a:lnTo>
                <a:lnTo>
                  <a:pt x="610986" y="756460"/>
                </a:lnTo>
                <a:lnTo>
                  <a:pt x="588606" y="749746"/>
                </a:lnTo>
                <a:lnTo>
                  <a:pt x="566225" y="745270"/>
                </a:lnTo>
                <a:lnTo>
                  <a:pt x="563987" y="751984"/>
                </a:lnTo>
                <a:lnTo>
                  <a:pt x="653509" y="803459"/>
                </a:lnTo>
                <a:lnTo>
                  <a:pt x="766530" y="607630"/>
                </a:lnTo>
                <a:close/>
                <a:moveTo>
                  <a:pt x="104069" y="489014"/>
                </a:moveTo>
                <a:lnTo>
                  <a:pt x="104069" y="515871"/>
                </a:lnTo>
                <a:lnTo>
                  <a:pt x="463275" y="515871"/>
                </a:lnTo>
                <a:lnTo>
                  <a:pt x="463275" y="489014"/>
                </a:lnTo>
                <a:close/>
                <a:moveTo>
                  <a:pt x="759816" y="363683"/>
                </a:moveTo>
                <a:lnTo>
                  <a:pt x="746388" y="379350"/>
                </a:lnTo>
                <a:lnTo>
                  <a:pt x="664699" y="491252"/>
                </a:lnTo>
                <a:lnTo>
                  <a:pt x="651271" y="509156"/>
                </a:lnTo>
                <a:lnTo>
                  <a:pt x="644557" y="515870"/>
                </a:lnTo>
                <a:lnTo>
                  <a:pt x="640081" y="518108"/>
                </a:lnTo>
                <a:lnTo>
                  <a:pt x="633366" y="520346"/>
                </a:lnTo>
                <a:lnTo>
                  <a:pt x="626652" y="520346"/>
                </a:lnTo>
                <a:lnTo>
                  <a:pt x="604272" y="513632"/>
                </a:lnTo>
                <a:lnTo>
                  <a:pt x="563987" y="506918"/>
                </a:lnTo>
                <a:lnTo>
                  <a:pt x="561749" y="513632"/>
                </a:lnTo>
                <a:lnTo>
                  <a:pt x="651271" y="565107"/>
                </a:lnTo>
                <a:lnTo>
                  <a:pt x="766530" y="368159"/>
                </a:lnTo>
                <a:close/>
                <a:moveTo>
                  <a:pt x="101831" y="246185"/>
                </a:moveTo>
                <a:lnTo>
                  <a:pt x="101831" y="279756"/>
                </a:lnTo>
                <a:lnTo>
                  <a:pt x="463275" y="279756"/>
                </a:lnTo>
                <a:lnTo>
                  <a:pt x="463275" y="246185"/>
                </a:lnTo>
                <a:close/>
                <a:moveTo>
                  <a:pt x="759816" y="120855"/>
                </a:moveTo>
                <a:lnTo>
                  <a:pt x="746388" y="138760"/>
                </a:lnTo>
                <a:lnTo>
                  <a:pt x="698270" y="201425"/>
                </a:lnTo>
                <a:lnTo>
                  <a:pt x="653509" y="266328"/>
                </a:lnTo>
                <a:lnTo>
                  <a:pt x="646795" y="273042"/>
                </a:lnTo>
                <a:lnTo>
                  <a:pt x="640081" y="277518"/>
                </a:lnTo>
                <a:lnTo>
                  <a:pt x="631128" y="279756"/>
                </a:lnTo>
                <a:lnTo>
                  <a:pt x="619938" y="277518"/>
                </a:lnTo>
                <a:lnTo>
                  <a:pt x="593082" y="270804"/>
                </a:lnTo>
                <a:lnTo>
                  <a:pt x="563987" y="264090"/>
                </a:lnTo>
                <a:lnTo>
                  <a:pt x="561749" y="270804"/>
                </a:lnTo>
                <a:lnTo>
                  <a:pt x="651271" y="325636"/>
                </a:lnTo>
                <a:lnTo>
                  <a:pt x="766530" y="125331"/>
                </a:lnTo>
                <a:close/>
                <a:moveTo>
                  <a:pt x="0" y="0"/>
                </a:moveTo>
                <a:lnTo>
                  <a:pt x="850457" y="0"/>
                </a:lnTo>
                <a:lnTo>
                  <a:pt x="850457" y="1225330"/>
                </a:lnTo>
                <a:lnTo>
                  <a:pt x="0" y="122533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T America" panose="00000500000000000000" pitchFamily="2" charset="0"/>
              <a:ea typeface="+mn-ea"/>
              <a:cs typeface="+mn-cs"/>
            </a:endParaRPr>
          </a:p>
        </p:txBody>
      </p:sp>
      <p:grpSp>
        <p:nvGrpSpPr>
          <p:cNvPr id="204" name="Group 149"/>
          <p:cNvGrpSpPr>
            <a:grpSpLocks noChangeAspect="1"/>
          </p:cNvGrpSpPr>
          <p:nvPr/>
        </p:nvGrpSpPr>
        <p:grpSpPr bwMode="auto">
          <a:xfrm rot="1793831">
            <a:off x="1341726" y="5261195"/>
            <a:ext cx="798649" cy="824993"/>
            <a:chOff x="3264" y="1565"/>
            <a:chExt cx="1152" cy="1190"/>
          </a:xfrm>
          <a:solidFill>
            <a:schemeClr val="bg1"/>
          </a:solidFill>
        </p:grpSpPr>
        <p:sp>
          <p:nvSpPr>
            <p:cNvPr id="206" name="Rectangle 150"/>
            <p:cNvSpPr>
              <a:spLocks noChangeArrowheads="1"/>
            </p:cNvSpPr>
            <p:nvPr/>
          </p:nvSpPr>
          <p:spPr bwMode="auto">
            <a:xfrm>
              <a:off x="3264" y="2687"/>
              <a:ext cx="1152" cy="6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T America" panose="00000500000000000000" pitchFamily="2" charset="0"/>
                <a:ea typeface="+mn-ea"/>
                <a:cs typeface="+mn-cs"/>
              </a:endParaRPr>
            </a:p>
          </p:txBody>
        </p:sp>
        <p:sp>
          <p:nvSpPr>
            <p:cNvPr id="207" name="Freeform 151"/>
            <p:cNvSpPr>
              <a:spLocks noEditPoints="1"/>
            </p:cNvSpPr>
            <p:nvPr/>
          </p:nvSpPr>
          <p:spPr bwMode="auto">
            <a:xfrm>
              <a:off x="3264" y="1565"/>
              <a:ext cx="1152" cy="1098"/>
            </a:xfrm>
            <a:custGeom>
              <a:avLst/>
              <a:gdLst>
                <a:gd name="T0" fmla="*/ 1150 w 1152"/>
                <a:gd name="T1" fmla="*/ 1034 h 1098"/>
                <a:gd name="T2" fmla="*/ 1118 w 1152"/>
                <a:gd name="T3" fmla="*/ 988 h 1098"/>
                <a:gd name="T4" fmla="*/ 1066 w 1152"/>
                <a:gd name="T5" fmla="*/ 974 h 1098"/>
                <a:gd name="T6" fmla="*/ 952 w 1152"/>
                <a:gd name="T7" fmla="*/ 962 h 1098"/>
                <a:gd name="T8" fmla="*/ 834 w 1152"/>
                <a:gd name="T9" fmla="*/ 916 h 1098"/>
                <a:gd name="T10" fmla="*/ 754 w 1152"/>
                <a:gd name="T11" fmla="*/ 841 h 1098"/>
                <a:gd name="T12" fmla="*/ 706 w 1152"/>
                <a:gd name="T13" fmla="*/ 751 h 1098"/>
                <a:gd name="T14" fmla="*/ 684 w 1152"/>
                <a:gd name="T15" fmla="*/ 653 h 1098"/>
                <a:gd name="T16" fmla="*/ 684 w 1152"/>
                <a:gd name="T17" fmla="*/ 559 h 1098"/>
                <a:gd name="T18" fmla="*/ 710 w 1152"/>
                <a:gd name="T19" fmla="*/ 457 h 1098"/>
                <a:gd name="T20" fmla="*/ 744 w 1152"/>
                <a:gd name="T21" fmla="*/ 405 h 1098"/>
                <a:gd name="T22" fmla="*/ 788 w 1152"/>
                <a:gd name="T23" fmla="*/ 343 h 1098"/>
                <a:gd name="T24" fmla="*/ 812 w 1152"/>
                <a:gd name="T25" fmla="*/ 248 h 1098"/>
                <a:gd name="T26" fmla="*/ 798 w 1152"/>
                <a:gd name="T27" fmla="*/ 152 h 1098"/>
                <a:gd name="T28" fmla="*/ 744 w 1152"/>
                <a:gd name="T29" fmla="*/ 68 h 1098"/>
                <a:gd name="T30" fmla="*/ 690 w 1152"/>
                <a:gd name="T31" fmla="*/ 28 h 1098"/>
                <a:gd name="T32" fmla="*/ 616 w 1152"/>
                <a:gd name="T33" fmla="*/ 2 h 1098"/>
                <a:gd name="T34" fmla="*/ 536 w 1152"/>
                <a:gd name="T35" fmla="*/ 2 h 1098"/>
                <a:gd name="T36" fmla="*/ 462 w 1152"/>
                <a:gd name="T37" fmla="*/ 28 h 1098"/>
                <a:gd name="T38" fmla="*/ 408 w 1152"/>
                <a:gd name="T39" fmla="*/ 68 h 1098"/>
                <a:gd name="T40" fmla="*/ 354 w 1152"/>
                <a:gd name="T41" fmla="*/ 152 h 1098"/>
                <a:gd name="T42" fmla="*/ 340 w 1152"/>
                <a:gd name="T43" fmla="*/ 248 h 1098"/>
                <a:gd name="T44" fmla="*/ 364 w 1152"/>
                <a:gd name="T45" fmla="*/ 343 h 1098"/>
                <a:gd name="T46" fmla="*/ 408 w 1152"/>
                <a:gd name="T47" fmla="*/ 405 h 1098"/>
                <a:gd name="T48" fmla="*/ 442 w 1152"/>
                <a:gd name="T49" fmla="*/ 457 h 1098"/>
                <a:gd name="T50" fmla="*/ 468 w 1152"/>
                <a:gd name="T51" fmla="*/ 559 h 1098"/>
                <a:gd name="T52" fmla="*/ 468 w 1152"/>
                <a:gd name="T53" fmla="*/ 653 h 1098"/>
                <a:gd name="T54" fmla="*/ 446 w 1152"/>
                <a:gd name="T55" fmla="*/ 751 h 1098"/>
                <a:gd name="T56" fmla="*/ 398 w 1152"/>
                <a:gd name="T57" fmla="*/ 841 h 1098"/>
                <a:gd name="T58" fmla="*/ 318 w 1152"/>
                <a:gd name="T59" fmla="*/ 916 h 1098"/>
                <a:gd name="T60" fmla="*/ 200 w 1152"/>
                <a:gd name="T61" fmla="*/ 962 h 1098"/>
                <a:gd name="T62" fmla="*/ 76 w 1152"/>
                <a:gd name="T63" fmla="*/ 974 h 1098"/>
                <a:gd name="T64" fmla="*/ 34 w 1152"/>
                <a:gd name="T65" fmla="*/ 988 h 1098"/>
                <a:gd name="T66" fmla="*/ 2 w 1152"/>
                <a:gd name="T67" fmla="*/ 1034 h 1098"/>
                <a:gd name="T68" fmla="*/ 576 w 1152"/>
                <a:gd name="T69" fmla="*/ 68 h 1098"/>
                <a:gd name="T70" fmla="*/ 626 w 1152"/>
                <a:gd name="T71" fmla="*/ 74 h 1098"/>
                <a:gd name="T72" fmla="*/ 682 w 1152"/>
                <a:gd name="T73" fmla="*/ 106 h 1098"/>
                <a:gd name="T74" fmla="*/ 724 w 1152"/>
                <a:gd name="T75" fmla="*/ 154 h 1098"/>
                <a:gd name="T76" fmla="*/ 742 w 1152"/>
                <a:gd name="T77" fmla="*/ 218 h 1098"/>
                <a:gd name="T78" fmla="*/ 740 w 1152"/>
                <a:gd name="T79" fmla="*/ 244 h 1098"/>
                <a:gd name="T80" fmla="*/ 728 w 1152"/>
                <a:gd name="T81" fmla="*/ 246 h 1098"/>
                <a:gd name="T82" fmla="*/ 720 w 1152"/>
                <a:gd name="T83" fmla="*/ 234 h 1098"/>
                <a:gd name="T84" fmla="*/ 708 w 1152"/>
                <a:gd name="T85" fmla="*/ 178 h 1098"/>
                <a:gd name="T86" fmla="*/ 678 w 1152"/>
                <a:gd name="T87" fmla="*/ 134 h 1098"/>
                <a:gd name="T88" fmla="*/ 632 w 1152"/>
                <a:gd name="T89" fmla="*/ 102 h 1098"/>
                <a:gd name="T90" fmla="*/ 576 w 1152"/>
                <a:gd name="T91" fmla="*/ 92 h 1098"/>
                <a:gd name="T92" fmla="*/ 564 w 1152"/>
                <a:gd name="T93" fmla="*/ 84 h 1098"/>
                <a:gd name="T94" fmla="*/ 568 w 1152"/>
                <a:gd name="T95" fmla="*/ 70 h 10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152" h="1098">
                  <a:moveTo>
                    <a:pt x="1152" y="1098"/>
                  </a:moveTo>
                  <a:lnTo>
                    <a:pt x="1152" y="1050"/>
                  </a:lnTo>
                  <a:lnTo>
                    <a:pt x="1152" y="1050"/>
                  </a:lnTo>
                  <a:lnTo>
                    <a:pt x="1150" y="1034"/>
                  </a:lnTo>
                  <a:lnTo>
                    <a:pt x="1146" y="1020"/>
                  </a:lnTo>
                  <a:lnTo>
                    <a:pt x="1138" y="1008"/>
                  </a:lnTo>
                  <a:lnTo>
                    <a:pt x="1130" y="996"/>
                  </a:lnTo>
                  <a:lnTo>
                    <a:pt x="1118" y="988"/>
                  </a:lnTo>
                  <a:lnTo>
                    <a:pt x="1106" y="980"/>
                  </a:lnTo>
                  <a:lnTo>
                    <a:pt x="1092" y="976"/>
                  </a:lnTo>
                  <a:lnTo>
                    <a:pt x="1076" y="974"/>
                  </a:lnTo>
                  <a:lnTo>
                    <a:pt x="1066" y="974"/>
                  </a:lnTo>
                  <a:lnTo>
                    <a:pt x="1066" y="974"/>
                  </a:lnTo>
                  <a:lnTo>
                    <a:pt x="1024" y="972"/>
                  </a:lnTo>
                  <a:lnTo>
                    <a:pt x="986" y="968"/>
                  </a:lnTo>
                  <a:lnTo>
                    <a:pt x="952" y="962"/>
                  </a:lnTo>
                  <a:lnTo>
                    <a:pt x="918" y="954"/>
                  </a:lnTo>
                  <a:lnTo>
                    <a:pt x="888" y="944"/>
                  </a:lnTo>
                  <a:lnTo>
                    <a:pt x="860" y="930"/>
                  </a:lnTo>
                  <a:lnTo>
                    <a:pt x="834" y="916"/>
                  </a:lnTo>
                  <a:lnTo>
                    <a:pt x="812" y="900"/>
                  </a:lnTo>
                  <a:lnTo>
                    <a:pt x="790" y="881"/>
                  </a:lnTo>
                  <a:lnTo>
                    <a:pt x="772" y="861"/>
                  </a:lnTo>
                  <a:lnTo>
                    <a:pt x="754" y="841"/>
                  </a:lnTo>
                  <a:lnTo>
                    <a:pt x="740" y="821"/>
                  </a:lnTo>
                  <a:lnTo>
                    <a:pt x="726" y="797"/>
                  </a:lnTo>
                  <a:lnTo>
                    <a:pt x="714" y="775"/>
                  </a:lnTo>
                  <a:lnTo>
                    <a:pt x="706" y="751"/>
                  </a:lnTo>
                  <a:lnTo>
                    <a:pt x="698" y="727"/>
                  </a:lnTo>
                  <a:lnTo>
                    <a:pt x="692" y="703"/>
                  </a:lnTo>
                  <a:lnTo>
                    <a:pt x="686" y="677"/>
                  </a:lnTo>
                  <a:lnTo>
                    <a:pt x="684" y="653"/>
                  </a:lnTo>
                  <a:lnTo>
                    <a:pt x="682" y="629"/>
                  </a:lnTo>
                  <a:lnTo>
                    <a:pt x="682" y="605"/>
                  </a:lnTo>
                  <a:lnTo>
                    <a:pt x="682" y="581"/>
                  </a:lnTo>
                  <a:lnTo>
                    <a:pt x="684" y="559"/>
                  </a:lnTo>
                  <a:lnTo>
                    <a:pt x="688" y="537"/>
                  </a:lnTo>
                  <a:lnTo>
                    <a:pt x="696" y="495"/>
                  </a:lnTo>
                  <a:lnTo>
                    <a:pt x="702" y="475"/>
                  </a:lnTo>
                  <a:lnTo>
                    <a:pt x="710" y="457"/>
                  </a:lnTo>
                  <a:lnTo>
                    <a:pt x="718" y="441"/>
                  </a:lnTo>
                  <a:lnTo>
                    <a:pt x="726" y="427"/>
                  </a:lnTo>
                  <a:lnTo>
                    <a:pt x="734" y="415"/>
                  </a:lnTo>
                  <a:lnTo>
                    <a:pt x="744" y="405"/>
                  </a:lnTo>
                  <a:lnTo>
                    <a:pt x="744" y="405"/>
                  </a:lnTo>
                  <a:lnTo>
                    <a:pt x="760" y="385"/>
                  </a:lnTo>
                  <a:lnTo>
                    <a:pt x="776" y="365"/>
                  </a:lnTo>
                  <a:lnTo>
                    <a:pt x="788" y="343"/>
                  </a:lnTo>
                  <a:lnTo>
                    <a:pt x="798" y="321"/>
                  </a:lnTo>
                  <a:lnTo>
                    <a:pt x="806" y="296"/>
                  </a:lnTo>
                  <a:lnTo>
                    <a:pt x="810" y="272"/>
                  </a:lnTo>
                  <a:lnTo>
                    <a:pt x="812" y="248"/>
                  </a:lnTo>
                  <a:lnTo>
                    <a:pt x="812" y="224"/>
                  </a:lnTo>
                  <a:lnTo>
                    <a:pt x="810" y="200"/>
                  </a:lnTo>
                  <a:lnTo>
                    <a:pt x="804" y="176"/>
                  </a:lnTo>
                  <a:lnTo>
                    <a:pt x="798" y="152"/>
                  </a:lnTo>
                  <a:lnTo>
                    <a:pt x="788" y="130"/>
                  </a:lnTo>
                  <a:lnTo>
                    <a:pt x="776" y="108"/>
                  </a:lnTo>
                  <a:lnTo>
                    <a:pt x="760" y="88"/>
                  </a:lnTo>
                  <a:lnTo>
                    <a:pt x="744" y="68"/>
                  </a:lnTo>
                  <a:lnTo>
                    <a:pt x="724" y="50"/>
                  </a:lnTo>
                  <a:lnTo>
                    <a:pt x="724" y="50"/>
                  </a:lnTo>
                  <a:lnTo>
                    <a:pt x="706" y="38"/>
                  </a:lnTo>
                  <a:lnTo>
                    <a:pt x="690" y="28"/>
                  </a:lnTo>
                  <a:lnTo>
                    <a:pt x="672" y="20"/>
                  </a:lnTo>
                  <a:lnTo>
                    <a:pt x="654" y="12"/>
                  </a:lnTo>
                  <a:lnTo>
                    <a:pt x="634" y="6"/>
                  </a:lnTo>
                  <a:lnTo>
                    <a:pt x="616" y="2"/>
                  </a:lnTo>
                  <a:lnTo>
                    <a:pt x="596" y="0"/>
                  </a:lnTo>
                  <a:lnTo>
                    <a:pt x="576" y="0"/>
                  </a:lnTo>
                  <a:lnTo>
                    <a:pt x="556" y="0"/>
                  </a:lnTo>
                  <a:lnTo>
                    <a:pt x="536" y="2"/>
                  </a:lnTo>
                  <a:lnTo>
                    <a:pt x="518" y="6"/>
                  </a:lnTo>
                  <a:lnTo>
                    <a:pt x="498" y="12"/>
                  </a:lnTo>
                  <a:lnTo>
                    <a:pt x="480" y="20"/>
                  </a:lnTo>
                  <a:lnTo>
                    <a:pt x="462" y="28"/>
                  </a:lnTo>
                  <a:lnTo>
                    <a:pt x="446" y="38"/>
                  </a:lnTo>
                  <a:lnTo>
                    <a:pt x="428" y="50"/>
                  </a:lnTo>
                  <a:lnTo>
                    <a:pt x="428" y="50"/>
                  </a:lnTo>
                  <a:lnTo>
                    <a:pt x="408" y="68"/>
                  </a:lnTo>
                  <a:lnTo>
                    <a:pt x="392" y="88"/>
                  </a:lnTo>
                  <a:lnTo>
                    <a:pt x="376" y="108"/>
                  </a:lnTo>
                  <a:lnTo>
                    <a:pt x="364" y="130"/>
                  </a:lnTo>
                  <a:lnTo>
                    <a:pt x="354" y="152"/>
                  </a:lnTo>
                  <a:lnTo>
                    <a:pt x="348" y="176"/>
                  </a:lnTo>
                  <a:lnTo>
                    <a:pt x="342" y="200"/>
                  </a:lnTo>
                  <a:lnTo>
                    <a:pt x="340" y="224"/>
                  </a:lnTo>
                  <a:lnTo>
                    <a:pt x="340" y="248"/>
                  </a:lnTo>
                  <a:lnTo>
                    <a:pt x="342" y="272"/>
                  </a:lnTo>
                  <a:lnTo>
                    <a:pt x="346" y="296"/>
                  </a:lnTo>
                  <a:lnTo>
                    <a:pt x="354" y="321"/>
                  </a:lnTo>
                  <a:lnTo>
                    <a:pt x="364" y="343"/>
                  </a:lnTo>
                  <a:lnTo>
                    <a:pt x="376" y="365"/>
                  </a:lnTo>
                  <a:lnTo>
                    <a:pt x="392" y="385"/>
                  </a:lnTo>
                  <a:lnTo>
                    <a:pt x="408" y="405"/>
                  </a:lnTo>
                  <a:lnTo>
                    <a:pt x="408" y="405"/>
                  </a:lnTo>
                  <a:lnTo>
                    <a:pt x="418" y="415"/>
                  </a:lnTo>
                  <a:lnTo>
                    <a:pt x="426" y="427"/>
                  </a:lnTo>
                  <a:lnTo>
                    <a:pt x="434" y="441"/>
                  </a:lnTo>
                  <a:lnTo>
                    <a:pt x="442" y="457"/>
                  </a:lnTo>
                  <a:lnTo>
                    <a:pt x="450" y="475"/>
                  </a:lnTo>
                  <a:lnTo>
                    <a:pt x="456" y="495"/>
                  </a:lnTo>
                  <a:lnTo>
                    <a:pt x="464" y="537"/>
                  </a:lnTo>
                  <a:lnTo>
                    <a:pt x="468" y="559"/>
                  </a:lnTo>
                  <a:lnTo>
                    <a:pt x="470" y="581"/>
                  </a:lnTo>
                  <a:lnTo>
                    <a:pt x="470" y="605"/>
                  </a:lnTo>
                  <a:lnTo>
                    <a:pt x="470" y="629"/>
                  </a:lnTo>
                  <a:lnTo>
                    <a:pt x="468" y="653"/>
                  </a:lnTo>
                  <a:lnTo>
                    <a:pt x="466" y="677"/>
                  </a:lnTo>
                  <a:lnTo>
                    <a:pt x="460" y="703"/>
                  </a:lnTo>
                  <a:lnTo>
                    <a:pt x="454" y="727"/>
                  </a:lnTo>
                  <a:lnTo>
                    <a:pt x="446" y="751"/>
                  </a:lnTo>
                  <a:lnTo>
                    <a:pt x="438" y="775"/>
                  </a:lnTo>
                  <a:lnTo>
                    <a:pt x="426" y="797"/>
                  </a:lnTo>
                  <a:lnTo>
                    <a:pt x="412" y="821"/>
                  </a:lnTo>
                  <a:lnTo>
                    <a:pt x="398" y="841"/>
                  </a:lnTo>
                  <a:lnTo>
                    <a:pt x="380" y="861"/>
                  </a:lnTo>
                  <a:lnTo>
                    <a:pt x="362" y="881"/>
                  </a:lnTo>
                  <a:lnTo>
                    <a:pt x="340" y="900"/>
                  </a:lnTo>
                  <a:lnTo>
                    <a:pt x="318" y="916"/>
                  </a:lnTo>
                  <a:lnTo>
                    <a:pt x="292" y="930"/>
                  </a:lnTo>
                  <a:lnTo>
                    <a:pt x="264" y="944"/>
                  </a:lnTo>
                  <a:lnTo>
                    <a:pt x="234" y="954"/>
                  </a:lnTo>
                  <a:lnTo>
                    <a:pt x="200" y="962"/>
                  </a:lnTo>
                  <a:lnTo>
                    <a:pt x="166" y="968"/>
                  </a:lnTo>
                  <a:lnTo>
                    <a:pt x="128" y="972"/>
                  </a:lnTo>
                  <a:lnTo>
                    <a:pt x="86" y="974"/>
                  </a:lnTo>
                  <a:lnTo>
                    <a:pt x="76" y="974"/>
                  </a:lnTo>
                  <a:lnTo>
                    <a:pt x="76" y="974"/>
                  </a:lnTo>
                  <a:lnTo>
                    <a:pt x="60" y="976"/>
                  </a:lnTo>
                  <a:lnTo>
                    <a:pt x="46" y="980"/>
                  </a:lnTo>
                  <a:lnTo>
                    <a:pt x="34" y="988"/>
                  </a:lnTo>
                  <a:lnTo>
                    <a:pt x="22" y="996"/>
                  </a:lnTo>
                  <a:lnTo>
                    <a:pt x="14" y="1008"/>
                  </a:lnTo>
                  <a:lnTo>
                    <a:pt x="6" y="1020"/>
                  </a:lnTo>
                  <a:lnTo>
                    <a:pt x="2" y="1034"/>
                  </a:lnTo>
                  <a:lnTo>
                    <a:pt x="0" y="1050"/>
                  </a:lnTo>
                  <a:lnTo>
                    <a:pt x="0" y="1098"/>
                  </a:lnTo>
                  <a:lnTo>
                    <a:pt x="1152" y="1098"/>
                  </a:lnTo>
                  <a:close/>
                  <a:moveTo>
                    <a:pt x="576" y="68"/>
                  </a:moveTo>
                  <a:lnTo>
                    <a:pt x="576" y="68"/>
                  </a:lnTo>
                  <a:lnTo>
                    <a:pt x="594" y="68"/>
                  </a:lnTo>
                  <a:lnTo>
                    <a:pt x="610" y="70"/>
                  </a:lnTo>
                  <a:lnTo>
                    <a:pt x="626" y="74"/>
                  </a:lnTo>
                  <a:lnTo>
                    <a:pt x="642" y="80"/>
                  </a:lnTo>
                  <a:lnTo>
                    <a:pt x="656" y="88"/>
                  </a:lnTo>
                  <a:lnTo>
                    <a:pt x="670" y="96"/>
                  </a:lnTo>
                  <a:lnTo>
                    <a:pt x="682" y="106"/>
                  </a:lnTo>
                  <a:lnTo>
                    <a:pt x="694" y="116"/>
                  </a:lnTo>
                  <a:lnTo>
                    <a:pt x="706" y="128"/>
                  </a:lnTo>
                  <a:lnTo>
                    <a:pt x="716" y="142"/>
                  </a:lnTo>
                  <a:lnTo>
                    <a:pt x="724" y="154"/>
                  </a:lnTo>
                  <a:lnTo>
                    <a:pt x="730" y="170"/>
                  </a:lnTo>
                  <a:lnTo>
                    <a:pt x="736" y="184"/>
                  </a:lnTo>
                  <a:lnTo>
                    <a:pt x="740" y="202"/>
                  </a:lnTo>
                  <a:lnTo>
                    <a:pt x="742" y="218"/>
                  </a:lnTo>
                  <a:lnTo>
                    <a:pt x="744" y="234"/>
                  </a:lnTo>
                  <a:lnTo>
                    <a:pt x="744" y="234"/>
                  </a:lnTo>
                  <a:lnTo>
                    <a:pt x="742" y="240"/>
                  </a:lnTo>
                  <a:lnTo>
                    <a:pt x="740" y="244"/>
                  </a:lnTo>
                  <a:lnTo>
                    <a:pt x="736" y="246"/>
                  </a:lnTo>
                  <a:lnTo>
                    <a:pt x="732" y="246"/>
                  </a:lnTo>
                  <a:lnTo>
                    <a:pt x="732" y="246"/>
                  </a:lnTo>
                  <a:lnTo>
                    <a:pt x="728" y="246"/>
                  </a:lnTo>
                  <a:lnTo>
                    <a:pt x="724" y="244"/>
                  </a:lnTo>
                  <a:lnTo>
                    <a:pt x="720" y="240"/>
                  </a:lnTo>
                  <a:lnTo>
                    <a:pt x="720" y="234"/>
                  </a:lnTo>
                  <a:lnTo>
                    <a:pt x="720" y="234"/>
                  </a:lnTo>
                  <a:lnTo>
                    <a:pt x="720" y="220"/>
                  </a:lnTo>
                  <a:lnTo>
                    <a:pt x="716" y="206"/>
                  </a:lnTo>
                  <a:lnTo>
                    <a:pt x="714" y="192"/>
                  </a:lnTo>
                  <a:lnTo>
                    <a:pt x="708" y="178"/>
                  </a:lnTo>
                  <a:lnTo>
                    <a:pt x="702" y="166"/>
                  </a:lnTo>
                  <a:lnTo>
                    <a:pt x="696" y="154"/>
                  </a:lnTo>
                  <a:lnTo>
                    <a:pt x="686" y="144"/>
                  </a:lnTo>
                  <a:lnTo>
                    <a:pt x="678" y="134"/>
                  </a:lnTo>
                  <a:lnTo>
                    <a:pt x="668" y="124"/>
                  </a:lnTo>
                  <a:lnTo>
                    <a:pt x="656" y="116"/>
                  </a:lnTo>
                  <a:lnTo>
                    <a:pt x="644" y="108"/>
                  </a:lnTo>
                  <a:lnTo>
                    <a:pt x="632" y="102"/>
                  </a:lnTo>
                  <a:lnTo>
                    <a:pt x="618" y="98"/>
                  </a:lnTo>
                  <a:lnTo>
                    <a:pt x="604" y="94"/>
                  </a:lnTo>
                  <a:lnTo>
                    <a:pt x="590" y="92"/>
                  </a:lnTo>
                  <a:lnTo>
                    <a:pt x="576" y="92"/>
                  </a:lnTo>
                  <a:lnTo>
                    <a:pt x="576" y="92"/>
                  </a:lnTo>
                  <a:lnTo>
                    <a:pt x="572" y="90"/>
                  </a:lnTo>
                  <a:lnTo>
                    <a:pt x="568" y="88"/>
                  </a:lnTo>
                  <a:lnTo>
                    <a:pt x="564" y="84"/>
                  </a:lnTo>
                  <a:lnTo>
                    <a:pt x="564" y="80"/>
                  </a:lnTo>
                  <a:lnTo>
                    <a:pt x="564" y="80"/>
                  </a:lnTo>
                  <a:lnTo>
                    <a:pt x="564" y="74"/>
                  </a:lnTo>
                  <a:lnTo>
                    <a:pt x="568" y="70"/>
                  </a:lnTo>
                  <a:lnTo>
                    <a:pt x="572" y="68"/>
                  </a:lnTo>
                  <a:lnTo>
                    <a:pt x="576" y="68"/>
                  </a:lnTo>
                  <a:lnTo>
                    <a:pt x="576" y="6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T America" panose="00000500000000000000" pitchFamily="2" charset="0"/>
                <a:ea typeface="+mn-ea"/>
                <a:cs typeface="+mn-cs"/>
              </a:endParaRPr>
            </a:p>
          </p:txBody>
        </p:sp>
      </p:grpSp>
      <p:grpSp>
        <p:nvGrpSpPr>
          <p:cNvPr id="50" name="Group 22"/>
          <p:cNvGrpSpPr>
            <a:grpSpLocks noChangeAspect="1"/>
          </p:cNvGrpSpPr>
          <p:nvPr/>
        </p:nvGrpSpPr>
        <p:grpSpPr bwMode="auto">
          <a:xfrm>
            <a:off x="4175723" y="1887501"/>
            <a:ext cx="378212" cy="463032"/>
            <a:chOff x="3296" y="1494"/>
            <a:chExt cx="1088" cy="1332"/>
          </a:xfrm>
          <a:solidFill>
            <a:schemeClr val="bg1"/>
          </a:solidFill>
        </p:grpSpPr>
        <p:sp>
          <p:nvSpPr>
            <p:cNvPr id="52" name="Freeform 23"/>
            <p:cNvSpPr>
              <a:spLocks/>
            </p:cNvSpPr>
            <p:nvPr/>
          </p:nvSpPr>
          <p:spPr bwMode="auto">
            <a:xfrm>
              <a:off x="4027" y="1752"/>
              <a:ext cx="221" cy="231"/>
            </a:xfrm>
            <a:custGeom>
              <a:avLst/>
              <a:gdLst>
                <a:gd name="T0" fmla="*/ 213 w 221"/>
                <a:gd name="T1" fmla="*/ 231 h 231"/>
                <a:gd name="T2" fmla="*/ 213 w 221"/>
                <a:gd name="T3" fmla="*/ 231 h 231"/>
                <a:gd name="T4" fmla="*/ 207 w 221"/>
                <a:gd name="T5" fmla="*/ 229 h 231"/>
                <a:gd name="T6" fmla="*/ 205 w 221"/>
                <a:gd name="T7" fmla="*/ 223 h 231"/>
                <a:gd name="T8" fmla="*/ 201 w 221"/>
                <a:gd name="T9" fmla="*/ 203 h 231"/>
                <a:gd name="T10" fmla="*/ 201 w 221"/>
                <a:gd name="T11" fmla="*/ 203 h 231"/>
                <a:gd name="T12" fmla="*/ 189 w 221"/>
                <a:gd name="T13" fmla="*/ 119 h 231"/>
                <a:gd name="T14" fmla="*/ 179 w 221"/>
                <a:gd name="T15" fmla="*/ 52 h 231"/>
                <a:gd name="T16" fmla="*/ 179 w 221"/>
                <a:gd name="T17" fmla="*/ 52 h 231"/>
                <a:gd name="T18" fmla="*/ 175 w 221"/>
                <a:gd name="T19" fmla="*/ 38 h 231"/>
                <a:gd name="T20" fmla="*/ 171 w 221"/>
                <a:gd name="T21" fmla="*/ 32 h 231"/>
                <a:gd name="T22" fmla="*/ 167 w 221"/>
                <a:gd name="T23" fmla="*/ 28 h 231"/>
                <a:gd name="T24" fmla="*/ 155 w 221"/>
                <a:gd name="T25" fmla="*/ 20 h 231"/>
                <a:gd name="T26" fmla="*/ 139 w 221"/>
                <a:gd name="T27" fmla="*/ 18 h 231"/>
                <a:gd name="T28" fmla="*/ 139 w 221"/>
                <a:gd name="T29" fmla="*/ 18 h 231"/>
                <a:gd name="T30" fmla="*/ 91 w 221"/>
                <a:gd name="T31" fmla="*/ 16 h 231"/>
                <a:gd name="T32" fmla="*/ 8 w 221"/>
                <a:gd name="T33" fmla="*/ 16 h 231"/>
                <a:gd name="T34" fmla="*/ 8 w 221"/>
                <a:gd name="T35" fmla="*/ 16 h 231"/>
                <a:gd name="T36" fmla="*/ 4 w 221"/>
                <a:gd name="T37" fmla="*/ 16 h 231"/>
                <a:gd name="T38" fmla="*/ 2 w 221"/>
                <a:gd name="T39" fmla="*/ 14 h 231"/>
                <a:gd name="T40" fmla="*/ 0 w 221"/>
                <a:gd name="T41" fmla="*/ 12 h 231"/>
                <a:gd name="T42" fmla="*/ 0 w 221"/>
                <a:gd name="T43" fmla="*/ 8 h 231"/>
                <a:gd name="T44" fmla="*/ 0 w 221"/>
                <a:gd name="T45" fmla="*/ 8 h 231"/>
                <a:gd name="T46" fmla="*/ 0 w 221"/>
                <a:gd name="T47" fmla="*/ 6 h 231"/>
                <a:gd name="T48" fmla="*/ 2 w 221"/>
                <a:gd name="T49" fmla="*/ 2 h 231"/>
                <a:gd name="T50" fmla="*/ 4 w 221"/>
                <a:gd name="T51" fmla="*/ 0 h 231"/>
                <a:gd name="T52" fmla="*/ 8 w 221"/>
                <a:gd name="T53" fmla="*/ 0 h 231"/>
                <a:gd name="T54" fmla="*/ 91 w 221"/>
                <a:gd name="T55" fmla="*/ 0 h 231"/>
                <a:gd name="T56" fmla="*/ 91 w 221"/>
                <a:gd name="T57" fmla="*/ 0 h 231"/>
                <a:gd name="T58" fmla="*/ 141 w 221"/>
                <a:gd name="T59" fmla="*/ 2 h 231"/>
                <a:gd name="T60" fmla="*/ 141 w 221"/>
                <a:gd name="T61" fmla="*/ 2 h 231"/>
                <a:gd name="T62" fmla="*/ 151 w 221"/>
                <a:gd name="T63" fmla="*/ 4 h 231"/>
                <a:gd name="T64" fmla="*/ 161 w 221"/>
                <a:gd name="T65" fmla="*/ 6 h 231"/>
                <a:gd name="T66" fmla="*/ 169 w 221"/>
                <a:gd name="T67" fmla="*/ 10 h 231"/>
                <a:gd name="T68" fmla="*/ 177 w 221"/>
                <a:gd name="T69" fmla="*/ 16 h 231"/>
                <a:gd name="T70" fmla="*/ 183 w 221"/>
                <a:gd name="T71" fmla="*/ 22 h 231"/>
                <a:gd name="T72" fmla="*/ 187 w 221"/>
                <a:gd name="T73" fmla="*/ 30 h 231"/>
                <a:gd name="T74" fmla="*/ 191 w 221"/>
                <a:gd name="T75" fmla="*/ 38 h 231"/>
                <a:gd name="T76" fmla="*/ 195 w 221"/>
                <a:gd name="T77" fmla="*/ 48 h 231"/>
                <a:gd name="T78" fmla="*/ 195 w 221"/>
                <a:gd name="T79" fmla="*/ 48 h 231"/>
                <a:gd name="T80" fmla="*/ 205 w 221"/>
                <a:gd name="T81" fmla="*/ 117 h 231"/>
                <a:gd name="T82" fmla="*/ 217 w 221"/>
                <a:gd name="T83" fmla="*/ 201 h 231"/>
                <a:gd name="T84" fmla="*/ 221 w 221"/>
                <a:gd name="T85" fmla="*/ 221 h 231"/>
                <a:gd name="T86" fmla="*/ 221 w 221"/>
                <a:gd name="T87" fmla="*/ 221 h 231"/>
                <a:gd name="T88" fmla="*/ 221 w 221"/>
                <a:gd name="T89" fmla="*/ 225 h 231"/>
                <a:gd name="T90" fmla="*/ 219 w 221"/>
                <a:gd name="T91" fmla="*/ 227 h 231"/>
                <a:gd name="T92" fmla="*/ 217 w 221"/>
                <a:gd name="T93" fmla="*/ 229 h 231"/>
                <a:gd name="T94" fmla="*/ 213 w 221"/>
                <a:gd name="T95" fmla="*/ 231 h 231"/>
                <a:gd name="T96" fmla="*/ 213 w 221"/>
                <a:gd name="T97" fmla="*/ 231 h 231"/>
                <a:gd name="T98" fmla="*/ 213 w 221"/>
                <a:gd name="T99" fmla="*/ 231 h 231"/>
                <a:gd name="T100" fmla="*/ 213 w 221"/>
                <a:gd name="T101" fmla="*/ 231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21" h="231">
                  <a:moveTo>
                    <a:pt x="213" y="231"/>
                  </a:moveTo>
                  <a:lnTo>
                    <a:pt x="213" y="231"/>
                  </a:lnTo>
                  <a:lnTo>
                    <a:pt x="207" y="229"/>
                  </a:lnTo>
                  <a:lnTo>
                    <a:pt x="205" y="223"/>
                  </a:lnTo>
                  <a:lnTo>
                    <a:pt x="201" y="203"/>
                  </a:lnTo>
                  <a:lnTo>
                    <a:pt x="201" y="203"/>
                  </a:lnTo>
                  <a:lnTo>
                    <a:pt x="189" y="119"/>
                  </a:lnTo>
                  <a:lnTo>
                    <a:pt x="179" y="52"/>
                  </a:lnTo>
                  <a:lnTo>
                    <a:pt x="179" y="52"/>
                  </a:lnTo>
                  <a:lnTo>
                    <a:pt x="175" y="38"/>
                  </a:lnTo>
                  <a:lnTo>
                    <a:pt x="171" y="32"/>
                  </a:lnTo>
                  <a:lnTo>
                    <a:pt x="167" y="28"/>
                  </a:lnTo>
                  <a:lnTo>
                    <a:pt x="155" y="20"/>
                  </a:lnTo>
                  <a:lnTo>
                    <a:pt x="139" y="18"/>
                  </a:lnTo>
                  <a:lnTo>
                    <a:pt x="139" y="18"/>
                  </a:lnTo>
                  <a:lnTo>
                    <a:pt x="91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4" y="16"/>
                  </a:lnTo>
                  <a:lnTo>
                    <a:pt x="2" y="14"/>
                  </a:lnTo>
                  <a:lnTo>
                    <a:pt x="0" y="12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6"/>
                  </a:lnTo>
                  <a:lnTo>
                    <a:pt x="2" y="2"/>
                  </a:lnTo>
                  <a:lnTo>
                    <a:pt x="4" y="0"/>
                  </a:lnTo>
                  <a:lnTo>
                    <a:pt x="8" y="0"/>
                  </a:lnTo>
                  <a:lnTo>
                    <a:pt x="91" y="0"/>
                  </a:lnTo>
                  <a:lnTo>
                    <a:pt x="91" y="0"/>
                  </a:lnTo>
                  <a:lnTo>
                    <a:pt x="141" y="2"/>
                  </a:lnTo>
                  <a:lnTo>
                    <a:pt x="141" y="2"/>
                  </a:lnTo>
                  <a:lnTo>
                    <a:pt x="151" y="4"/>
                  </a:lnTo>
                  <a:lnTo>
                    <a:pt x="161" y="6"/>
                  </a:lnTo>
                  <a:lnTo>
                    <a:pt x="169" y="10"/>
                  </a:lnTo>
                  <a:lnTo>
                    <a:pt x="177" y="16"/>
                  </a:lnTo>
                  <a:lnTo>
                    <a:pt x="183" y="22"/>
                  </a:lnTo>
                  <a:lnTo>
                    <a:pt x="187" y="30"/>
                  </a:lnTo>
                  <a:lnTo>
                    <a:pt x="191" y="38"/>
                  </a:lnTo>
                  <a:lnTo>
                    <a:pt x="195" y="48"/>
                  </a:lnTo>
                  <a:lnTo>
                    <a:pt x="195" y="48"/>
                  </a:lnTo>
                  <a:lnTo>
                    <a:pt x="205" y="117"/>
                  </a:lnTo>
                  <a:lnTo>
                    <a:pt x="217" y="201"/>
                  </a:lnTo>
                  <a:lnTo>
                    <a:pt x="221" y="221"/>
                  </a:lnTo>
                  <a:lnTo>
                    <a:pt x="221" y="221"/>
                  </a:lnTo>
                  <a:lnTo>
                    <a:pt x="221" y="225"/>
                  </a:lnTo>
                  <a:lnTo>
                    <a:pt x="219" y="227"/>
                  </a:lnTo>
                  <a:lnTo>
                    <a:pt x="217" y="229"/>
                  </a:lnTo>
                  <a:lnTo>
                    <a:pt x="213" y="231"/>
                  </a:lnTo>
                  <a:lnTo>
                    <a:pt x="213" y="231"/>
                  </a:lnTo>
                  <a:lnTo>
                    <a:pt x="213" y="231"/>
                  </a:lnTo>
                  <a:lnTo>
                    <a:pt x="213" y="2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T America" panose="00000500000000000000" pitchFamily="2" charset="0"/>
                <a:ea typeface="+mn-ea"/>
                <a:cs typeface="+mn-cs"/>
              </a:endParaRPr>
            </a:p>
          </p:txBody>
        </p:sp>
        <p:sp>
          <p:nvSpPr>
            <p:cNvPr id="53" name="Freeform 24"/>
            <p:cNvSpPr>
              <a:spLocks/>
            </p:cNvSpPr>
            <p:nvPr/>
          </p:nvSpPr>
          <p:spPr bwMode="auto">
            <a:xfrm>
              <a:off x="3458" y="2349"/>
              <a:ext cx="64" cy="64"/>
            </a:xfrm>
            <a:custGeom>
              <a:avLst/>
              <a:gdLst>
                <a:gd name="T0" fmla="*/ 56 w 64"/>
                <a:gd name="T1" fmla="*/ 64 h 64"/>
                <a:gd name="T2" fmla="*/ 56 w 64"/>
                <a:gd name="T3" fmla="*/ 64 h 64"/>
                <a:gd name="T4" fmla="*/ 52 w 64"/>
                <a:gd name="T5" fmla="*/ 62 h 64"/>
                <a:gd name="T6" fmla="*/ 50 w 64"/>
                <a:gd name="T7" fmla="*/ 58 h 64"/>
                <a:gd name="T8" fmla="*/ 50 w 64"/>
                <a:gd name="T9" fmla="*/ 58 h 64"/>
                <a:gd name="T10" fmla="*/ 48 w 64"/>
                <a:gd name="T11" fmla="*/ 48 h 64"/>
                <a:gd name="T12" fmla="*/ 46 w 64"/>
                <a:gd name="T13" fmla="*/ 40 h 64"/>
                <a:gd name="T14" fmla="*/ 42 w 64"/>
                <a:gd name="T15" fmla="*/ 32 h 64"/>
                <a:gd name="T16" fmla="*/ 36 w 64"/>
                <a:gd name="T17" fmla="*/ 26 h 64"/>
                <a:gd name="T18" fmla="*/ 30 w 64"/>
                <a:gd name="T19" fmla="*/ 22 h 64"/>
                <a:gd name="T20" fmla="*/ 22 w 64"/>
                <a:gd name="T21" fmla="*/ 18 h 64"/>
                <a:gd name="T22" fmla="*/ 14 w 64"/>
                <a:gd name="T23" fmla="*/ 16 h 64"/>
                <a:gd name="T24" fmla="*/ 6 w 64"/>
                <a:gd name="T25" fmla="*/ 14 h 64"/>
                <a:gd name="T26" fmla="*/ 6 w 64"/>
                <a:gd name="T27" fmla="*/ 14 h 64"/>
                <a:gd name="T28" fmla="*/ 2 w 64"/>
                <a:gd name="T29" fmla="*/ 12 h 64"/>
                <a:gd name="T30" fmla="*/ 0 w 64"/>
                <a:gd name="T31" fmla="*/ 8 h 64"/>
                <a:gd name="T32" fmla="*/ 0 w 64"/>
                <a:gd name="T33" fmla="*/ 8 h 64"/>
                <a:gd name="T34" fmla="*/ 2 w 64"/>
                <a:gd name="T35" fmla="*/ 2 h 64"/>
                <a:gd name="T36" fmla="*/ 6 w 64"/>
                <a:gd name="T37" fmla="*/ 0 h 64"/>
                <a:gd name="T38" fmla="*/ 6 w 64"/>
                <a:gd name="T39" fmla="*/ 0 h 64"/>
                <a:gd name="T40" fmla="*/ 18 w 64"/>
                <a:gd name="T41" fmla="*/ 2 h 64"/>
                <a:gd name="T42" fmla="*/ 28 w 64"/>
                <a:gd name="T43" fmla="*/ 4 h 64"/>
                <a:gd name="T44" fmla="*/ 38 w 64"/>
                <a:gd name="T45" fmla="*/ 10 h 64"/>
                <a:gd name="T46" fmla="*/ 46 w 64"/>
                <a:gd name="T47" fmla="*/ 18 h 64"/>
                <a:gd name="T48" fmla="*/ 54 w 64"/>
                <a:gd name="T49" fmla="*/ 26 h 64"/>
                <a:gd name="T50" fmla="*/ 60 w 64"/>
                <a:gd name="T51" fmla="*/ 36 h 64"/>
                <a:gd name="T52" fmla="*/ 62 w 64"/>
                <a:gd name="T53" fmla="*/ 46 h 64"/>
                <a:gd name="T54" fmla="*/ 64 w 64"/>
                <a:gd name="T55" fmla="*/ 58 h 64"/>
                <a:gd name="T56" fmla="*/ 64 w 64"/>
                <a:gd name="T57" fmla="*/ 58 h 64"/>
                <a:gd name="T58" fmla="*/ 62 w 64"/>
                <a:gd name="T59" fmla="*/ 62 h 64"/>
                <a:gd name="T60" fmla="*/ 56 w 64"/>
                <a:gd name="T61" fmla="*/ 64 h 64"/>
                <a:gd name="T62" fmla="*/ 56 w 64"/>
                <a:gd name="T63" fmla="*/ 6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64" h="64">
                  <a:moveTo>
                    <a:pt x="56" y="64"/>
                  </a:moveTo>
                  <a:lnTo>
                    <a:pt x="56" y="64"/>
                  </a:lnTo>
                  <a:lnTo>
                    <a:pt x="52" y="62"/>
                  </a:lnTo>
                  <a:lnTo>
                    <a:pt x="50" y="58"/>
                  </a:lnTo>
                  <a:lnTo>
                    <a:pt x="50" y="58"/>
                  </a:lnTo>
                  <a:lnTo>
                    <a:pt x="48" y="48"/>
                  </a:lnTo>
                  <a:lnTo>
                    <a:pt x="46" y="40"/>
                  </a:lnTo>
                  <a:lnTo>
                    <a:pt x="42" y="32"/>
                  </a:lnTo>
                  <a:lnTo>
                    <a:pt x="36" y="26"/>
                  </a:lnTo>
                  <a:lnTo>
                    <a:pt x="30" y="22"/>
                  </a:lnTo>
                  <a:lnTo>
                    <a:pt x="22" y="18"/>
                  </a:lnTo>
                  <a:lnTo>
                    <a:pt x="14" y="16"/>
                  </a:lnTo>
                  <a:lnTo>
                    <a:pt x="6" y="14"/>
                  </a:lnTo>
                  <a:lnTo>
                    <a:pt x="6" y="14"/>
                  </a:lnTo>
                  <a:lnTo>
                    <a:pt x="2" y="12"/>
                  </a:lnTo>
                  <a:lnTo>
                    <a:pt x="0" y="8"/>
                  </a:lnTo>
                  <a:lnTo>
                    <a:pt x="0" y="8"/>
                  </a:lnTo>
                  <a:lnTo>
                    <a:pt x="2" y="2"/>
                  </a:lnTo>
                  <a:lnTo>
                    <a:pt x="6" y="0"/>
                  </a:lnTo>
                  <a:lnTo>
                    <a:pt x="6" y="0"/>
                  </a:lnTo>
                  <a:lnTo>
                    <a:pt x="18" y="2"/>
                  </a:lnTo>
                  <a:lnTo>
                    <a:pt x="28" y="4"/>
                  </a:lnTo>
                  <a:lnTo>
                    <a:pt x="38" y="10"/>
                  </a:lnTo>
                  <a:lnTo>
                    <a:pt x="46" y="18"/>
                  </a:lnTo>
                  <a:lnTo>
                    <a:pt x="54" y="26"/>
                  </a:lnTo>
                  <a:lnTo>
                    <a:pt x="60" y="36"/>
                  </a:lnTo>
                  <a:lnTo>
                    <a:pt x="62" y="46"/>
                  </a:lnTo>
                  <a:lnTo>
                    <a:pt x="64" y="58"/>
                  </a:lnTo>
                  <a:lnTo>
                    <a:pt x="64" y="58"/>
                  </a:lnTo>
                  <a:lnTo>
                    <a:pt x="62" y="62"/>
                  </a:lnTo>
                  <a:lnTo>
                    <a:pt x="56" y="64"/>
                  </a:lnTo>
                  <a:lnTo>
                    <a:pt x="56" y="6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T America" panose="00000500000000000000" pitchFamily="2" charset="0"/>
                <a:ea typeface="+mn-ea"/>
                <a:cs typeface="+mn-cs"/>
              </a:endParaRPr>
            </a:p>
          </p:txBody>
        </p:sp>
        <p:sp>
          <p:nvSpPr>
            <p:cNvPr id="54" name="Freeform 25"/>
            <p:cNvSpPr>
              <a:spLocks/>
            </p:cNvSpPr>
            <p:nvPr/>
          </p:nvSpPr>
          <p:spPr bwMode="auto">
            <a:xfrm>
              <a:off x="4208" y="2349"/>
              <a:ext cx="64" cy="64"/>
            </a:xfrm>
            <a:custGeom>
              <a:avLst/>
              <a:gdLst>
                <a:gd name="T0" fmla="*/ 56 w 64"/>
                <a:gd name="T1" fmla="*/ 64 h 64"/>
                <a:gd name="T2" fmla="*/ 56 w 64"/>
                <a:gd name="T3" fmla="*/ 64 h 64"/>
                <a:gd name="T4" fmla="*/ 52 w 64"/>
                <a:gd name="T5" fmla="*/ 62 h 64"/>
                <a:gd name="T6" fmla="*/ 50 w 64"/>
                <a:gd name="T7" fmla="*/ 58 h 64"/>
                <a:gd name="T8" fmla="*/ 50 w 64"/>
                <a:gd name="T9" fmla="*/ 58 h 64"/>
                <a:gd name="T10" fmla="*/ 48 w 64"/>
                <a:gd name="T11" fmla="*/ 48 h 64"/>
                <a:gd name="T12" fmla="*/ 46 w 64"/>
                <a:gd name="T13" fmla="*/ 40 h 64"/>
                <a:gd name="T14" fmla="*/ 42 w 64"/>
                <a:gd name="T15" fmla="*/ 32 h 64"/>
                <a:gd name="T16" fmla="*/ 36 w 64"/>
                <a:gd name="T17" fmla="*/ 26 h 64"/>
                <a:gd name="T18" fmla="*/ 28 w 64"/>
                <a:gd name="T19" fmla="*/ 22 h 64"/>
                <a:gd name="T20" fmla="*/ 22 w 64"/>
                <a:gd name="T21" fmla="*/ 18 h 64"/>
                <a:gd name="T22" fmla="*/ 14 w 64"/>
                <a:gd name="T23" fmla="*/ 16 h 64"/>
                <a:gd name="T24" fmla="*/ 6 w 64"/>
                <a:gd name="T25" fmla="*/ 14 h 64"/>
                <a:gd name="T26" fmla="*/ 6 w 64"/>
                <a:gd name="T27" fmla="*/ 14 h 64"/>
                <a:gd name="T28" fmla="*/ 2 w 64"/>
                <a:gd name="T29" fmla="*/ 12 h 64"/>
                <a:gd name="T30" fmla="*/ 0 w 64"/>
                <a:gd name="T31" fmla="*/ 8 h 64"/>
                <a:gd name="T32" fmla="*/ 0 w 64"/>
                <a:gd name="T33" fmla="*/ 8 h 64"/>
                <a:gd name="T34" fmla="*/ 2 w 64"/>
                <a:gd name="T35" fmla="*/ 2 h 64"/>
                <a:gd name="T36" fmla="*/ 6 w 64"/>
                <a:gd name="T37" fmla="*/ 0 h 64"/>
                <a:gd name="T38" fmla="*/ 6 w 64"/>
                <a:gd name="T39" fmla="*/ 0 h 64"/>
                <a:gd name="T40" fmla="*/ 18 w 64"/>
                <a:gd name="T41" fmla="*/ 2 h 64"/>
                <a:gd name="T42" fmla="*/ 28 w 64"/>
                <a:gd name="T43" fmla="*/ 4 h 64"/>
                <a:gd name="T44" fmla="*/ 38 w 64"/>
                <a:gd name="T45" fmla="*/ 10 h 64"/>
                <a:gd name="T46" fmla="*/ 46 w 64"/>
                <a:gd name="T47" fmla="*/ 18 h 64"/>
                <a:gd name="T48" fmla="*/ 54 w 64"/>
                <a:gd name="T49" fmla="*/ 26 h 64"/>
                <a:gd name="T50" fmla="*/ 58 w 64"/>
                <a:gd name="T51" fmla="*/ 36 h 64"/>
                <a:gd name="T52" fmla="*/ 62 w 64"/>
                <a:gd name="T53" fmla="*/ 46 h 64"/>
                <a:gd name="T54" fmla="*/ 64 w 64"/>
                <a:gd name="T55" fmla="*/ 58 h 64"/>
                <a:gd name="T56" fmla="*/ 64 w 64"/>
                <a:gd name="T57" fmla="*/ 58 h 64"/>
                <a:gd name="T58" fmla="*/ 62 w 64"/>
                <a:gd name="T59" fmla="*/ 62 h 64"/>
                <a:gd name="T60" fmla="*/ 56 w 64"/>
                <a:gd name="T61" fmla="*/ 64 h 64"/>
                <a:gd name="T62" fmla="*/ 56 w 64"/>
                <a:gd name="T63" fmla="*/ 6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64" h="64">
                  <a:moveTo>
                    <a:pt x="56" y="64"/>
                  </a:moveTo>
                  <a:lnTo>
                    <a:pt x="56" y="64"/>
                  </a:lnTo>
                  <a:lnTo>
                    <a:pt x="52" y="62"/>
                  </a:lnTo>
                  <a:lnTo>
                    <a:pt x="50" y="58"/>
                  </a:lnTo>
                  <a:lnTo>
                    <a:pt x="50" y="58"/>
                  </a:lnTo>
                  <a:lnTo>
                    <a:pt x="48" y="48"/>
                  </a:lnTo>
                  <a:lnTo>
                    <a:pt x="46" y="40"/>
                  </a:lnTo>
                  <a:lnTo>
                    <a:pt x="42" y="32"/>
                  </a:lnTo>
                  <a:lnTo>
                    <a:pt x="36" y="26"/>
                  </a:lnTo>
                  <a:lnTo>
                    <a:pt x="28" y="22"/>
                  </a:lnTo>
                  <a:lnTo>
                    <a:pt x="22" y="18"/>
                  </a:lnTo>
                  <a:lnTo>
                    <a:pt x="14" y="16"/>
                  </a:lnTo>
                  <a:lnTo>
                    <a:pt x="6" y="14"/>
                  </a:lnTo>
                  <a:lnTo>
                    <a:pt x="6" y="14"/>
                  </a:lnTo>
                  <a:lnTo>
                    <a:pt x="2" y="12"/>
                  </a:lnTo>
                  <a:lnTo>
                    <a:pt x="0" y="8"/>
                  </a:lnTo>
                  <a:lnTo>
                    <a:pt x="0" y="8"/>
                  </a:lnTo>
                  <a:lnTo>
                    <a:pt x="2" y="2"/>
                  </a:lnTo>
                  <a:lnTo>
                    <a:pt x="6" y="0"/>
                  </a:lnTo>
                  <a:lnTo>
                    <a:pt x="6" y="0"/>
                  </a:lnTo>
                  <a:lnTo>
                    <a:pt x="18" y="2"/>
                  </a:lnTo>
                  <a:lnTo>
                    <a:pt x="28" y="4"/>
                  </a:lnTo>
                  <a:lnTo>
                    <a:pt x="38" y="10"/>
                  </a:lnTo>
                  <a:lnTo>
                    <a:pt x="46" y="18"/>
                  </a:lnTo>
                  <a:lnTo>
                    <a:pt x="54" y="26"/>
                  </a:lnTo>
                  <a:lnTo>
                    <a:pt x="58" y="36"/>
                  </a:lnTo>
                  <a:lnTo>
                    <a:pt x="62" y="46"/>
                  </a:lnTo>
                  <a:lnTo>
                    <a:pt x="64" y="58"/>
                  </a:lnTo>
                  <a:lnTo>
                    <a:pt x="64" y="58"/>
                  </a:lnTo>
                  <a:lnTo>
                    <a:pt x="62" y="62"/>
                  </a:lnTo>
                  <a:lnTo>
                    <a:pt x="56" y="64"/>
                  </a:lnTo>
                  <a:lnTo>
                    <a:pt x="56" y="6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T America" panose="00000500000000000000" pitchFamily="2" charset="0"/>
                <a:ea typeface="+mn-ea"/>
                <a:cs typeface="+mn-cs"/>
              </a:endParaRPr>
            </a:p>
          </p:txBody>
        </p:sp>
        <p:sp>
          <p:nvSpPr>
            <p:cNvPr id="55" name="Freeform 26"/>
            <p:cNvSpPr>
              <a:spLocks noEditPoints="1"/>
            </p:cNvSpPr>
            <p:nvPr/>
          </p:nvSpPr>
          <p:spPr bwMode="auto">
            <a:xfrm>
              <a:off x="3296" y="1494"/>
              <a:ext cx="1088" cy="1332"/>
            </a:xfrm>
            <a:custGeom>
              <a:avLst/>
              <a:gdLst>
                <a:gd name="T0" fmla="*/ 1088 w 1088"/>
                <a:gd name="T1" fmla="*/ 599 h 1332"/>
                <a:gd name="T2" fmla="*/ 1028 w 1088"/>
                <a:gd name="T3" fmla="*/ 172 h 1332"/>
                <a:gd name="T4" fmla="*/ 970 w 1088"/>
                <a:gd name="T5" fmla="*/ 98 h 1332"/>
                <a:gd name="T6" fmla="*/ 852 w 1088"/>
                <a:gd name="T7" fmla="*/ 46 h 1332"/>
                <a:gd name="T8" fmla="*/ 607 w 1088"/>
                <a:gd name="T9" fmla="*/ 2 h 1332"/>
                <a:gd name="T10" fmla="*/ 393 w 1088"/>
                <a:gd name="T11" fmla="*/ 12 h 1332"/>
                <a:gd name="T12" fmla="*/ 212 w 1088"/>
                <a:gd name="T13" fmla="*/ 54 h 1332"/>
                <a:gd name="T14" fmla="*/ 94 w 1088"/>
                <a:gd name="T15" fmla="*/ 116 h 1332"/>
                <a:gd name="T16" fmla="*/ 52 w 1088"/>
                <a:gd name="T17" fmla="*/ 204 h 1332"/>
                <a:gd name="T18" fmla="*/ 6 w 1088"/>
                <a:gd name="T19" fmla="*/ 551 h 1332"/>
                <a:gd name="T20" fmla="*/ 0 w 1088"/>
                <a:gd name="T21" fmla="*/ 1158 h 1332"/>
                <a:gd name="T22" fmla="*/ 90 w 1088"/>
                <a:gd name="T23" fmla="*/ 1172 h 1332"/>
                <a:gd name="T24" fmla="*/ 102 w 1088"/>
                <a:gd name="T25" fmla="*/ 1296 h 1332"/>
                <a:gd name="T26" fmla="*/ 142 w 1088"/>
                <a:gd name="T27" fmla="*/ 1328 h 1332"/>
                <a:gd name="T28" fmla="*/ 204 w 1088"/>
                <a:gd name="T29" fmla="*/ 1324 h 1332"/>
                <a:gd name="T30" fmla="*/ 240 w 1088"/>
                <a:gd name="T31" fmla="*/ 1290 h 1332"/>
                <a:gd name="T32" fmla="*/ 248 w 1088"/>
                <a:gd name="T33" fmla="*/ 1164 h 1332"/>
                <a:gd name="T34" fmla="*/ 840 w 1088"/>
                <a:gd name="T35" fmla="*/ 1234 h 1332"/>
                <a:gd name="T36" fmla="*/ 856 w 1088"/>
                <a:gd name="T37" fmla="*/ 1304 h 1332"/>
                <a:gd name="T38" fmla="*/ 924 w 1088"/>
                <a:gd name="T39" fmla="*/ 1332 h 1332"/>
                <a:gd name="T40" fmla="*/ 978 w 1088"/>
                <a:gd name="T41" fmla="*/ 1306 h 1332"/>
                <a:gd name="T42" fmla="*/ 998 w 1088"/>
                <a:gd name="T43" fmla="*/ 1254 h 1332"/>
                <a:gd name="T44" fmla="*/ 1088 w 1088"/>
                <a:gd name="T45" fmla="*/ 1164 h 1332"/>
                <a:gd name="T46" fmla="*/ 301 w 1088"/>
                <a:gd name="T47" fmla="*/ 108 h 1332"/>
                <a:gd name="T48" fmla="*/ 759 w 1088"/>
                <a:gd name="T49" fmla="*/ 102 h 1332"/>
                <a:gd name="T50" fmla="*/ 787 w 1088"/>
                <a:gd name="T51" fmla="*/ 108 h 1332"/>
                <a:gd name="T52" fmla="*/ 801 w 1088"/>
                <a:gd name="T53" fmla="*/ 134 h 1332"/>
                <a:gd name="T54" fmla="*/ 781 w 1088"/>
                <a:gd name="T55" fmla="*/ 164 h 1332"/>
                <a:gd name="T56" fmla="*/ 325 w 1088"/>
                <a:gd name="T57" fmla="*/ 168 h 1332"/>
                <a:gd name="T58" fmla="*/ 293 w 1088"/>
                <a:gd name="T59" fmla="*/ 152 h 1332"/>
                <a:gd name="T60" fmla="*/ 170 w 1088"/>
                <a:gd name="T61" fmla="*/ 987 h 1332"/>
                <a:gd name="T62" fmla="*/ 100 w 1088"/>
                <a:gd name="T63" fmla="*/ 941 h 1332"/>
                <a:gd name="T64" fmla="*/ 106 w 1088"/>
                <a:gd name="T65" fmla="*/ 871 h 1332"/>
                <a:gd name="T66" fmla="*/ 170 w 1088"/>
                <a:gd name="T67" fmla="*/ 837 h 1332"/>
                <a:gd name="T68" fmla="*/ 238 w 1088"/>
                <a:gd name="T69" fmla="*/ 883 h 1332"/>
                <a:gd name="T70" fmla="*/ 230 w 1088"/>
                <a:gd name="T71" fmla="*/ 955 h 1332"/>
                <a:gd name="T72" fmla="*/ 170 w 1088"/>
                <a:gd name="T73" fmla="*/ 987 h 1332"/>
                <a:gd name="T74" fmla="*/ 741 w 1088"/>
                <a:gd name="T75" fmla="*/ 957 h 1332"/>
                <a:gd name="T76" fmla="*/ 391 w 1088"/>
                <a:gd name="T77" fmla="*/ 969 h 1332"/>
                <a:gd name="T78" fmla="*/ 351 w 1088"/>
                <a:gd name="T79" fmla="*/ 943 h 1332"/>
                <a:gd name="T80" fmla="*/ 351 w 1088"/>
                <a:gd name="T81" fmla="*/ 891 h 1332"/>
                <a:gd name="T82" fmla="*/ 391 w 1088"/>
                <a:gd name="T83" fmla="*/ 865 h 1332"/>
                <a:gd name="T84" fmla="*/ 741 w 1088"/>
                <a:gd name="T85" fmla="*/ 877 h 1332"/>
                <a:gd name="T86" fmla="*/ 543 w 1088"/>
                <a:gd name="T87" fmla="*/ 645 h 1332"/>
                <a:gd name="T88" fmla="*/ 112 w 1088"/>
                <a:gd name="T89" fmla="*/ 639 h 1332"/>
                <a:gd name="T90" fmla="*/ 94 w 1088"/>
                <a:gd name="T91" fmla="*/ 603 h 1332"/>
                <a:gd name="T92" fmla="*/ 118 w 1088"/>
                <a:gd name="T93" fmla="*/ 425 h 1332"/>
                <a:gd name="T94" fmla="*/ 148 w 1088"/>
                <a:gd name="T95" fmla="*/ 258 h 1332"/>
                <a:gd name="T96" fmla="*/ 194 w 1088"/>
                <a:gd name="T97" fmla="*/ 234 h 1332"/>
                <a:gd name="T98" fmla="*/ 900 w 1088"/>
                <a:gd name="T99" fmla="*/ 236 h 1332"/>
                <a:gd name="T100" fmla="*/ 940 w 1088"/>
                <a:gd name="T101" fmla="*/ 260 h 1332"/>
                <a:gd name="T102" fmla="*/ 958 w 1088"/>
                <a:gd name="T103" fmla="*/ 347 h 1332"/>
                <a:gd name="T104" fmla="*/ 992 w 1088"/>
                <a:gd name="T105" fmla="*/ 615 h 1332"/>
                <a:gd name="T106" fmla="*/ 960 w 1088"/>
                <a:gd name="T107" fmla="*/ 645 h 1332"/>
                <a:gd name="T108" fmla="*/ 918 w 1088"/>
                <a:gd name="T109" fmla="*/ 987 h 1332"/>
                <a:gd name="T110" fmla="*/ 848 w 1088"/>
                <a:gd name="T111" fmla="*/ 939 h 1332"/>
                <a:gd name="T112" fmla="*/ 858 w 1088"/>
                <a:gd name="T113" fmla="*/ 869 h 1332"/>
                <a:gd name="T114" fmla="*/ 920 w 1088"/>
                <a:gd name="T115" fmla="*/ 837 h 1332"/>
                <a:gd name="T116" fmla="*/ 988 w 1088"/>
                <a:gd name="T117" fmla="*/ 885 h 1332"/>
                <a:gd name="T118" fmla="*/ 980 w 1088"/>
                <a:gd name="T119" fmla="*/ 955 h 1332"/>
                <a:gd name="T120" fmla="*/ 918 w 1088"/>
                <a:gd name="T121" fmla="*/ 987 h 1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088" h="1332">
                  <a:moveTo>
                    <a:pt x="1088" y="1156"/>
                  </a:moveTo>
                  <a:lnTo>
                    <a:pt x="1088" y="1156"/>
                  </a:lnTo>
                  <a:lnTo>
                    <a:pt x="1088" y="607"/>
                  </a:lnTo>
                  <a:lnTo>
                    <a:pt x="1088" y="607"/>
                  </a:lnTo>
                  <a:lnTo>
                    <a:pt x="1088" y="599"/>
                  </a:lnTo>
                  <a:lnTo>
                    <a:pt x="1088" y="599"/>
                  </a:lnTo>
                  <a:lnTo>
                    <a:pt x="1062" y="401"/>
                  </a:lnTo>
                  <a:lnTo>
                    <a:pt x="1062" y="401"/>
                  </a:lnTo>
                  <a:lnTo>
                    <a:pt x="1036" y="204"/>
                  </a:lnTo>
                  <a:lnTo>
                    <a:pt x="1036" y="204"/>
                  </a:lnTo>
                  <a:lnTo>
                    <a:pt x="1032" y="186"/>
                  </a:lnTo>
                  <a:lnTo>
                    <a:pt x="1028" y="172"/>
                  </a:lnTo>
                  <a:lnTo>
                    <a:pt x="1022" y="156"/>
                  </a:lnTo>
                  <a:lnTo>
                    <a:pt x="1016" y="142"/>
                  </a:lnTo>
                  <a:lnTo>
                    <a:pt x="1006" y="130"/>
                  </a:lnTo>
                  <a:lnTo>
                    <a:pt x="996" y="118"/>
                  </a:lnTo>
                  <a:lnTo>
                    <a:pt x="984" y="108"/>
                  </a:lnTo>
                  <a:lnTo>
                    <a:pt x="970" y="98"/>
                  </a:lnTo>
                  <a:lnTo>
                    <a:pt x="970" y="98"/>
                  </a:lnTo>
                  <a:lnTo>
                    <a:pt x="942" y="82"/>
                  </a:lnTo>
                  <a:lnTo>
                    <a:pt x="912" y="68"/>
                  </a:lnTo>
                  <a:lnTo>
                    <a:pt x="882" y="56"/>
                  </a:lnTo>
                  <a:lnTo>
                    <a:pt x="852" y="46"/>
                  </a:lnTo>
                  <a:lnTo>
                    <a:pt x="852" y="46"/>
                  </a:lnTo>
                  <a:lnTo>
                    <a:pt x="807" y="34"/>
                  </a:lnTo>
                  <a:lnTo>
                    <a:pt x="763" y="24"/>
                  </a:lnTo>
                  <a:lnTo>
                    <a:pt x="717" y="16"/>
                  </a:lnTo>
                  <a:lnTo>
                    <a:pt x="673" y="10"/>
                  </a:lnTo>
                  <a:lnTo>
                    <a:pt x="673" y="10"/>
                  </a:lnTo>
                  <a:lnTo>
                    <a:pt x="607" y="2"/>
                  </a:lnTo>
                  <a:lnTo>
                    <a:pt x="573" y="0"/>
                  </a:lnTo>
                  <a:lnTo>
                    <a:pt x="539" y="0"/>
                  </a:lnTo>
                  <a:lnTo>
                    <a:pt x="539" y="0"/>
                  </a:lnTo>
                  <a:lnTo>
                    <a:pt x="503" y="0"/>
                  </a:lnTo>
                  <a:lnTo>
                    <a:pt x="467" y="4"/>
                  </a:lnTo>
                  <a:lnTo>
                    <a:pt x="393" y="12"/>
                  </a:lnTo>
                  <a:lnTo>
                    <a:pt x="393" y="12"/>
                  </a:lnTo>
                  <a:lnTo>
                    <a:pt x="319" y="26"/>
                  </a:lnTo>
                  <a:lnTo>
                    <a:pt x="283" y="34"/>
                  </a:lnTo>
                  <a:lnTo>
                    <a:pt x="244" y="44"/>
                  </a:lnTo>
                  <a:lnTo>
                    <a:pt x="244" y="44"/>
                  </a:lnTo>
                  <a:lnTo>
                    <a:pt x="212" y="54"/>
                  </a:lnTo>
                  <a:lnTo>
                    <a:pt x="180" y="66"/>
                  </a:lnTo>
                  <a:lnTo>
                    <a:pt x="150" y="78"/>
                  </a:lnTo>
                  <a:lnTo>
                    <a:pt x="120" y="96"/>
                  </a:lnTo>
                  <a:lnTo>
                    <a:pt x="120" y="96"/>
                  </a:lnTo>
                  <a:lnTo>
                    <a:pt x="106" y="106"/>
                  </a:lnTo>
                  <a:lnTo>
                    <a:pt x="94" y="116"/>
                  </a:lnTo>
                  <a:lnTo>
                    <a:pt x="82" y="128"/>
                  </a:lnTo>
                  <a:lnTo>
                    <a:pt x="74" y="142"/>
                  </a:lnTo>
                  <a:lnTo>
                    <a:pt x="66" y="156"/>
                  </a:lnTo>
                  <a:lnTo>
                    <a:pt x="60" y="170"/>
                  </a:lnTo>
                  <a:lnTo>
                    <a:pt x="54" y="186"/>
                  </a:lnTo>
                  <a:lnTo>
                    <a:pt x="52" y="204"/>
                  </a:lnTo>
                  <a:lnTo>
                    <a:pt x="52" y="204"/>
                  </a:lnTo>
                  <a:lnTo>
                    <a:pt x="38" y="308"/>
                  </a:lnTo>
                  <a:lnTo>
                    <a:pt x="38" y="308"/>
                  </a:lnTo>
                  <a:lnTo>
                    <a:pt x="18" y="459"/>
                  </a:lnTo>
                  <a:lnTo>
                    <a:pt x="18" y="459"/>
                  </a:lnTo>
                  <a:lnTo>
                    <a:pt x="6" y="551"/>
                  </a:lnTo>
                  <a:lnTo>
                    <a:pt x="6" y="551"/>
                  </a:lnTo>
                  <a:lnTo>
                    <a:pt x="2" y="579"/>
                  </a:lnTo>
                  <a:lnTo>
                    <a:pt x="0" y="607"/>
                  </a:lnTo>
                  <a:lnTo>
                    <a:pt x="0" y="607"/>
                  </a:lnTo>
                  <a:lnTo>
                    <a:pt x="0" y="1158"/>
                  </a:lnTo>
                  <a:lnTo>
                    <a:pt x="0" y="1158"/>
                  </a:lnTo>
                  <a:lnTo>
                    <a:pt x="0" y="1164"/>
                  </a:lnTo>
                  <a:lnTo>
                    <a:pt x="0" y="1164"/>
                  </a:lnTo>
                  <a:lnTo>
                    <a:pt x="90" y="1164"/>
                  </a:lnTo>
                  <a:lnTo>
                    <a:pt x="90" y="1164"/>
                  </a:lnTo>
                  <a:lnTo>
                    <a:pt x="90" y="1172"/>
                  </a:lnTo>
                  <a:lnTo>
                    <a:pt x="90" y="1172"/>
                  </a:lnTo>
                  <a:lnTo>
                    <a:pt x="92" y="1256"/>
                  </a:lnTo>
                  <a:lnTo>
                    <a:pt x="92" y="1256"/>
                  </a:lnTo>
                  <a:lnTo>
                    <a:pt x="92" y="1268"/>
                  </a:lnTo>
                  <a:lnTo>
                    <a:pt x="94" y="1278"/>
                  </a:lnTo>
                  <a:lnTo>
                    <a:pt x="98" y="1288"/>
                  </a:lnTo>
                  <a:lnTo>
                    <a:pt x="102" y="1296"/>
                  </a:lnTo>
                  <a:lnTo>
                    <a:pt x="108" y="1304"/>
                  </a:lnTo>
                  <a:lnTo>
                    <a:pt x="114" y="1312"/>
                  </a:lnTo>
                  <a:lnTo>
                    <a:pt x="122" y="1318"/>
                  </a:lnTo>
                  <a:lnTo>
                    <a:pt x="132" y="1324"/>
                  </a:lnTo>
                  <a:lnTo>
                    <a:pt x="132" y="1324"/>
                  </a:lnTo>
                  <a:lnTo>
                    <a:pt x="142" y="1328"/>
                  </a:lnTo>
                  <a:lnTo>
                    <a:pt x="152" y="1330"/>
                  </a:lnTo>
                  <a:lnTo>
                    <a:pt x="164" y="1332"/>
                  </a:lnTo>
                  <a:lnTo>
                    <a:pt x="174" y="1332"/>
                  </a:lnTo>
                  <a:lnTo>
                    <a:pt x="184" y="1332"/>
                  </a:lnTo>
                  <a:lnTo>
                    <a:pt x="194" y="1328"/>
                  </a:lnTo>
                  <a:lnTo>
                    <a:pt x="204" y="1324"/>
                  </a:lnTo>
                  <a:lnTo>
                    <a:pt x="214" y="1318"/>
                  </a:lnTo>
                  <a:lnTo>
                    <a:pt x="214" y="1318"/>
                  </a:lnTo>
                  <a:lnTo>
                    <a:pt x="222" y="1312"/>
                  </a:lnTo>
                  <a:lnTo>
                    <a:pt x="230" y="1306"/>
                  </a:lnTo>
                  <a:lnTo>
                    <a:pt x="234" y="1298"/>
                  </a:lnTo>
                  <a:lnTo>
                    <a:pt x="240" y="1290"/>
                  </a:lnTo>
                  <a:lnTo>
                    <a:pt x="246" y="1272"/>
                  </a:lnTo>
                  <a:lnTo>
                    <a:pt x="248" y="1252"/>
                  </a:lnTo>
                  <a:lnTo>
                    <a:pt x="248" y="1252"/>
                  </a:lnTo>
                  <a:lnTo>
                    <a:pt x="248" y="1172"/>
                  </a:lnTo>
                  <a:lnTo>
                    <a:pt x="248" y="1172"/>
                  </a:lnTo>
                  <a:lnTo>
                    <a:pt x="248" y="1164"/>
                  </a:lnTo>
                  <a:lnTo>
                    <a:pt x="248" y="1164"/>
                  </a:lnTo>
                  <a:lnTo>
                    <a:pt x="840" y="1164"/>
                  </a:lnTo>
                  <a:lnTo>
                    <a:pt x="840" y="1164"/>
                  </a:lnTo>
                  <a:lnTo>
                    <a:pt x="840" y="1204"/>
                  </a:lnTo>
                  <a:lnTo>
                    <a:pt x="840" y="1204"/>
                  </a:lnTo>
                  <a:lnTo>
                    <a:pt x="840" y="1234"/>
                  </a:lnTo>
                  <a:lnTo>
                    <a:pt x="842" y="1264"/>
                  </a:lnTo>
                  <a:lnTo>
                    <a:pt x="842" y="1264"/>
                  </a:lnTo>
                  <a:lnTo>
                    <a:pt x="844" y="1276"/>
                  </a:lnTo>
                  <a:lnTo>
                    <a:pt x="846" y="1286"/>
                  </a:lnTo>
                  <a:lnTo>
                    <a:pt x="850" y="1294"/>
                  </a:lnTo>
                  <a:lnTo>
                    <a:pt x="856" y="1304"/>
                  </a:lnTo>
                  <a:lnTo>
                    <a:pt x="862" y="1310"/>
                  </a:lnTo>
                  <a:lnTo>
                    <a:pt x="870" y="1316"/>
                  </a:lnTo>
                  <a:lnTo>
                    <a:pt x="878" y="1322"/>
                  </a:lnTo>
                  <a:lnTo>
                    <a:pt x="886" y="1326"/>
                  </a:lnTo>
                  <a:lnTo>
                    <a:pt x="906" y="1332"/>
                  </a:lnTo>
                  <a:lnTo>
                    <a:pt x="924" y="1332"/>
                  </a:lnTo>
                  <a:lnTo>
                    <a:pt x="944" y="1328"/>
                  </a:lnTo>
                  <a:lnTo>
                    <a:pt x="954" y="1324"/>
                  </a:lnTo>
                  <a:lnTo>
                    <a:pt x="962" y="1320"/>
                  </a:lnTo>
                  <a:lnTo>
                    <a:pt x="962" y="1320"/>
                  </a:lnTo>
                  <a:lnTo>
                    <a:pt x="970" y="1314"/>
                  </a:lnTo>
                  <a:lnTo>
                    <a:pt x="978" y="1306"/>
                  </a:lnTo>
                  <a:lnTo>
                    <a:pt x="984" y="1300"/>
                  </a:lnTo>
                  <a:lnTo>
                    <a:pt x="988" y="1292"/>
                  </a:lnTo>
                  <a:lnTo>
                    <a:pt x="992" y="1282"/>
                  </a:lnTo>
                  <a:lnTo>
                    <a:pt x="994" y="1274"/>
                  </a:lnTo>
                  <a:lnTo>
                    <a:pt x="998" y="1254"/>
                  </a:lnTo>
                  <a:lnTo>
                    <a:pt x="998" y="1254"/>
                  </a:lnTo>
                  <a:lnTo>
                    <a:pt x="998" y="1172"/>
                  </a:lnTo>
                  <a:lnTo>
                    <a:pt x="998" y="1172"/>
                  </a:lnTo>
                  <a:lnTo>
                    <a:pt x="998" y="1164"/>
                  </a:lnTo>
                  <a:lnTo>
                    <a:pt x="998" y="1164"/>
                  </a:lnTo>
                  <a:lnTo>
                    <a:pt x="1088" y="1164"/>
                  </a:lnTo>
                  <a:lnTo>
                    <a:pt x="1088" y="1164"/>
                  </a:lnTo>
                  <a:lnTo>
                    <a:pt x="1088" y="1156"/>
                  </a:lnTo>
                  <a:lnTo>
                    <a:pt x="1088" y="1156"/>
                  </a:lnTo>
                  <a:close/>
                  <a:moveTo>
                    <a:pt x="289" y="122"/>
                  </a:moveTo>
                  <a:lnTo>
                    <a:pt x="289" y="122"/>
                  </a:lnTo>
                  <a:lnTo>
                    <a:pt x="295" y="114"/>
                  </a:lnTo>
                  <a:lnTo>
                    <a:pt x="301" y="108"/>
                  </a:lnTo>
                  <a:lnTo>
                    <a:pt x="309" y="104"/>
                  </a:lnTo>
                  <a:lnTo>
                    <a:pt x="321" y="102"/>
                  </a:lnTo>
                  <a:lnTo>
                    <a:pt x="321" y="102"/>
                  </a:lnTo>
                  <a:lnTo>
                    <a:pt x="543" y="102"/>
                  </a:lnTo>
                  <a:lnTo>
                    <a:pt x="543" y="102"/>
                  </a:lnTo>
                  <a:lnTo>
                    <a:pt x="759" y="102"/>
                  </a:lnTo>
                  <a:lnTo>
                    <a:pt x="759" y="102"/>
                  </a:lnTo>
                  <a:lnTo>
                    <a:pt x="769" y="102"/>
                  </a:lnTo>
                  <a:lnTo>
                    <a:pt x="769" y="102"/>
                  </a:lnTo>
                  <a:lnTo>
                    <a:pt x="775" y="102"/>
                  </a:lnTo>
                  <a:lnTo>
                    <a:pt x="781" y="104"/>
                  </a:lnTo>
                  <a:lnTo>
                    <a:pt x="787" y="108"/>
                  </a:lnTo>
                  <a:lnTo>
                    <a:pt x="791" y="112"/>
                  </a:lnTo>
                  <a:lnTo>
                    <a:pt x="795" y="116"/>
                  </a:lnTo>
                  <a:lnTo>
                    <a:pt x="797" y="122"/>
                  </a:lnTo>
                  <a:lnTo>
                    <a:pt x="799" y="128"/>
                  </a:lnTo>
                  <a:lnTo>
                    <a:pt x="801" y="134"/>
                  </a:lnTo>
                  <a:lnTo>
                    <a:pt x="801" y="134"/>
                  </a:lnTo>
                  <a:lnTo>
                    <a:pt x="799" y="142"/>
                  </a:lnTo>
                  <a:lnTo>
                    <a:pt x="797" y="148"/>
                  </a:lnTo>
                  <a:lnTo>
                    <a:pt x="795" y="154"/>
                  </a:lnTo>
                  <a:lnTo>
                    <a:pt x="791" y="158"/>
                  </a:lnTo>
                  <a:lnTo>
                    <a:pt x="787" y="162"/>
                  </a:lnTo>
                  <a:lnTo>
                    <a:pt x="781" y="164"/>
                  </a:lnTo>
                  <a:lnTo>
                    <a:pt x="775" y="166"/>
                  </a:lnTo>
                  <a:lnTo>
                    <a:pt x="769" y="168"/>
                  </a:lnTo>
                  <a:lnTo>
                    <a:pt x="769" y="168"/>
                  </a:lnTo>
                  <a:lnTo>
                    <a:pt x="763" y="168"/>
                  </a:lnTo>
                  <a:lnTo>
                    <a:pt x="763" y="168"/>
                  </a:lnTo>
                  <a:lnTo>
                    <a:pt x="325" y="168"/>
                  </a:lnTo>
                  <a:lnTo>
                    <a:pt x="325" y="168"/>
                  </a:lnTo>
                  <a:lnTo>
                    <a:pt x="311" y="166"/>
                  </a:lnTo>
                  <a:lnTo>
                    <a:pt x="305" y="164"/>
                  </a:lnTo>
                  <a:lnTo>
                    <a:pt x="299" y="160"/>
                  </a:lnTo>
                  <a:lnTo>
                    <a:pt x="299" y="160"/>
                  </a:lnTo>
                  <a:lnTo>
                    <a:pt x="293" y="152"/>
                  </a:lnTo>
                  <a:lnTo>
                    <a:pt x="289" y="144"/>
                  </a:lnTo>
                  <a:lnTo>
                    <a:pt x="287" y="132"/>
                  </a:lnTo>
                  <a:lnTo>
                    <a:pt x="289" y="122"/>
                  </a:lnTo>
                  <a:lnTo>
                    <a:pt x="289" y="122"/>
                  </a:lnTo>
                  <a:close/>
                  <a:moveTo>
                    <a:pt x="170" y="987"/>
                  </a:moveTo>
                  <a:lnTo>
                    <a:pt x="170" y="987"/>
                  </a:lnTo>
                  <a:lnTo>
                    <a:pt x="154" y="987"/>
                  </a:lnTo>
                  <a:lnTo>
                    <a:pt x="140" y="981"/>
                  </a:lnTo>
                  <a:lnTo>
                    <a:pt x="128" y="975"/>
                  </a:lnTo>
                  <a:lnTo>
                    <a:pt x="116" y="965"/>
                  </a:lnTo>
                  <a:lnTo>
                    <a:pt x="106" y="955"/>
                  </a:lnTo>
                  <a:lnTo>
                    <a:pt x="100" y="941"/>
                  </a:lnTo>
                  <a:lnTo>
                    <a:pt x="96" y="927"/>
                  </a:lnTo>
                  <a:lnTo>
                    <a:pt x="94" y="913"/>
                  </a:lnTo>
                  <a:lnTo>
                    <a:pt x="94" y="913"/>
                  </a:lnTo>
                  <a:lnTo>
                    <a:pt x="96" y="897"/>
                  </a:lnTo>
                  <a:lnTo>
                    <a:pt x="100" y="883"/>
                  </a:lnTo>
                  <a:lnTo>
                    <a:pt x="106" y="871"/>
                  </a:lnTo>
                  <a:lnTo>
                    <a:pt x="116" y="859"/>
                  </a:lnTo>
                  <a:lnTo>
                    <a:pt x="126" y="851"/>
                  </a:lnTo>
                  <a:lnTo>
                    <a:pt x="140" y="843"/>
                  </a:lnTo>
                  <a:lnTo>
                    <a:pt x="154" y="839"/>
                  </a:lnTo>
                  <a:lnTo>
                    <a:pt x="170" y="837"/>
                  </a:lnTo>
                  <a:lnTo>
                    <a:pt x="170" y="837"/>
                  </a:lnTo>
                  <a:lnTo>
                    <a:pt x="184" y="839"/>
                  </a:lnTo>
                  <a:lnTo>
                    <a:pt x="198" y="843"/>
                  </a:lnTo>
                  <a:lnTo>
                    <a:pt x="210" y="849"/>
                  </a:lnTo>
                  <a:lnTo>
                    <a:pt x="222" y="859"/>
                  </a:lnTo>
                  <a:lnTo>
                    <a:pt x="232" y="871"/>
                  </a:lnTo>
                  <a:lnTo>
                    <a:pt x="238" y="883"/>
                  </a:lnTo>
                  <a:lnTo>
                    <a:pt x="242" y="897"/>
                  </a:lnTo>
                  <a:lnTo>
                    <a:pt x="244" y="913"/>
                  </a:lnTo>
                  <a:lnTo>
                    <a:pt x="244" y="913"/>
                  </a:lnTo>
                  <a:lnTo>
                    <a:pt x="242" y="927"/>
                  </a:lnTo>
                  <a:lnTo>
                    <a:pt x="238" y="941"/>
                  </a:lnTo>
                  <a:lnTo>
                    <a:pt x="230" y="955"/>
                  </a:lnTo>
                  <a:lnTo>
                    <a:pt x="222" y="965"/>
                  </a:lnTo>
                  <a:lnTo>
                    <a:pt x="210" y="975"/>
                  </a:lnTo>
                  <a:lnTo>
                    <a:pt x="198" y="981"/>
                  </a:lnTo>
                  <a:lnTo>
                    <a:pt x="184" y="987"/>
                  </a:lnTo>
                  <a:lnTo>
                    <a:pt x="170" y="987"/>
                  </a:lnTo>
                  <a:lnTo>
                    <a:pt x="170" y="987"/>
                  </a:lnTo>
                  <a:close/>
                  <a:moveTo>
                    <a:pt x="753" y="929"/>
                  </a:moveTo>
                  <a:lnTo>
                    <a:pt x="753" y="929"/>
                  </a:lnTo>
                  <a:lnTo>
                    <a:pt x="753" y="937"/>
                  </a:lnTo>
                  <a:lnTo>
                    <a:pt x="751" y="945"/>
                  </a:lnTo>
                  <a:lnTo>
                    <a:pt x="747" y="951"/>
                  </a:lnTo>
                  <a:lnTo>
                    <a:pt x="741" y="957"/>
                  </a:lnTo>
                  <a:lnTo>
                    <a:pt x="737" y="961"/>
                  </a:lnTo>
                  <a:lnTo>
                    <a:pt x="729" y="965"/>
                  </a:lnTo>
                  <a:lnTo>
                    <a:pt x="723" y="967"/>
                  </a:lnTo>
                  <a:lnTo>
                    <a:pt x="715" y="969"/>
                  </a:lnTo>
                  <a:lnTo>
                    <a:pt x="391" y="969"/>
                  </a:lnTo>
                  <a:lnTo>
                    <a:pt x="391" y="969"/>
                  </a:lnTo>
                  <a:lnTo>
                    <a:pt x="381" y="967"/>
                  </a:lnTo>
                  <a:lnTo>
                    <a:pt x="373" y="965"/>
                  </a:lnTo>
                  <a:lnTo>
                    <a:pt x="367" y="961"/>
                  </a:lnTo>
                  <a:lnTo>
                    <a:pt x="361" y="957"/>
                  </a:lnTo>
                  <a:lnTo>
                    <a:pt x="355" y="949"/>
                  </a:lnTo>
                  <a:lnTo>
                    <a:pt x="351" y="943"/>
                  </a:lnTo>
                  <a:lnTo>
                    <a:pt x="349" y="935"/>
                  </a:lnTo>
                  <a:lnTo>
                    <a:pt x="347" y="927"/>
                  </a:lnTo>
                  <a:lnTo>
                    <a:pt x="347" y="907"/>
                  </a:lnTo>
                  <a:lnTo>
                    <a:pt x="347" y="907"/>
                  </a:lnTo>
                  <a:lnTo>
                    <a:pt x="349" y="899"/>
                  </a:lnTo>
                  <a:lnTo>
                    <a:pt x="351" y="891"/>
                  </a:lnTo>
                  <a:lnTo>
                    <a:pt x="355" y="883"/>
                  </a:lnTo>
                  <a:lnTo>
                    <a:pt x="361" y="877"/>
                  </a:lnTo>
                  <a:lnTo>
                    <a:pt x="367" y="873"/>
                  </a:lnTo>
                  <a:lnTo>
                    <a:pt x="375" y="869"/>
                  </a:lnTo>
                  <a:lnTo>
                    <a:pt x="383" y="865"/>
                  </a:lnTo>
                  <a:lnTo>
                    <a:pt x="391" y="865"/>
                  </a:lnTo>
                  <a:lnTo>
                    <a:pt x="713" y="865"/>
                  </a:lnTo>
                  <a:lnTo>
                    <a:pt x="713" y="865"/>
                  </a:lnTo>
                  <a:lnTo>
                    <a:pt x="721" y="865"/>
                  </a:lnTo>
                  <a:lnTo>
                    <a:pt x="729" y="867"/>
                  </a:lnTo>
                  <a:lnTo>
                    <a:pt x="735" y="871"/>
                  </a:lnTo>
                  <a:lnTo>
                    <a:pt x="741" y="877"/>
                  </a:lnTo>
                  <a:lnTo>
                    <a:pt x="747" y="883"/>
                  </a:lnTo>
                  <a:lnTo>
                    <a:pt x="751" y="889"/>
                  </a:lnTo>
                  <a:lnTo>
                    <a:pt x="753" y="897"/>
                  </a:lnTo>
                  <a:lnTo>
                    <a:pt x="753" y="905"/>
                  </a:lnTo>
                  <a:lnTo>
                    <a:pt x="753" y="929"/>
                  </a:lnTo>
                  <a:close/>
                  <a:moveTo>
                    <a:pt x="543" y="645"/>
                  </a:moveTo>
                  <a:lnTo>
                    <a:pt x="543" y="645"/>
                  </a:lnTo>
                  <a:lnTo>
                    <a:pt x="144" y="645"/>
                  </a:lnTo>
                  <a:lnTo>
                    <a:pt x="144" y="645"/>
                  </a:lnTo>
                  <a:lnTo>
                    <a:pt x="126" y="645"/>
                  </a:lnTo>
                  <a:lnTo>
                    <a:pt x="126" y="645"/>
                  </a:lnTo>
                  <a:lnTo>
                    <a:pt x="112" y="639"/>
                  </a:lnTo>
                  <a:lnTo>
                    <a:pt x="108" y="635"/>
                  </a:lnTo>
                  <a:lnTo>
                    <a:pt x="102" y="631"/>
                  </a:lnTo>
                  <a:lnTo>
                    <a:pt x="100" y="625"/>
                  </a:lnTo>
                  <a:lnTo>
                    <a:pt x="96" y="619"/>
                  </a:lnTo>
                  <a:lnTo>
                    <a:pt x="96" y="611"/>
                  </a:lnTo>
                  <a:lnTo>
                    <a:pt x="94" y="603"/>
                  </a:lnTo>
                  <a:lnTo>
                    <a:pt x="94" y="603"/>
                  </a:lnTo>
                  <a:lnTo>
                    <a:pt x="96" y="579"/>
                  </a:lnTo>
                  <a:lnTo>
                    <a:pt x="100" y="557"/>
                  </a:lnTo>
                  <a:lnTo>
                    <a:pt x="100" y="557"/>
                  </a:lnTo>
                  <a:lnTo>
                    <a:pt x="118" y="425"/>
                  </a:lnTo>
                  <a:lnTo>
                    <a:pt x="118" y="425"/>
                  </a:lnTo>
                  <a:lnTo>
                    <a:pt x="138" y="286"/>
                  </a:lnTo>
                  <a:lnTo>
                    <a:pt x="138" y="286"/>
                  </a:lnTo>
                  <a:lnTo>
                    <a:pt x="140" y="274"/>
                  </a:lnTo>
                  <a:lnTo>
                    <a:pt x="140" y="274"/>
                  </a:lnTo>
                  <a:lnTo>
                    <a:pt x="144" y="266"/>
                  </a:lnTo>
                  <a:lnTo>
                    <a:pt x="148" y="258"/>
                  </a:lnTo>
                  <a:lnTo>
                    <a:pt x="154" y="250"/>
                  </a:lnTo>
                  <a:lnTo>
                    <a:pt x="160" y="244"/>
                  </a:lnTo>
                  <a:lnTo>
                    <a:pt x="166" y="240"/>
                  </a:lnTo>
                  <a:lnTo>
                    <a:pt x="176" y="238"/>
                  </a:lnTo>
                  <a:lnTo>
                    <a:pt x="184" y="236"/>
                  </a:lnTo>
                  <a:lnTo>
                    <a:pt x="194" y="234"/>
                  </a:lnTo>
                  <a:lnTo>
                    <a:pt x="194" y="234"/>
                  </a:lnTo>
                  <a:lnTo>
                    <a:pt x="202" y="234"/>
                  </a:lnTo>
                  <a:lnTo>
                    <a:pt x="202" y="234"/>
                  </a:lnTo>
                  <a:lnTo>
                    <a:pt x="886" y="234"/>
                  </a:lnTo>
                  <a:lnTo>
                    <a:pt x="886" y="234"/>
                  </a:lnTo>
                  <a:lnTo>
                    <a:pt x="900" y="236"/>
                  </a:lnTo>
                  <a:lnTo>
                    <a:pt x="900" y="236"/>
                  </a:lnTo>
                  <a:lnTo>
                    <a:pt x="918" y="240"/>
                  </a:lnTo>
                  <a:lnTo>
                    <a:pt x="924" y="242"/>
                  </a:lnTo>
                  <a:lnTo>
                    <a:pt x="932" y="248"/>
                  </a:lnTo>
                  <a:lnTo>
                    <a:pt x="936" y="252"/>
                  </a:lnTo>
                  <a:lnTo>
                    <a:pt x="940" y="260"/>
                  </a:lnTo>
                  <a:lnTo>
                    <a:pt x="944" y="268"/>
                  </a:lnTo>
                  <a:lnTo>
                    <a:pt x="946" y="276"/>
                  </a:lnTo>
                  <a:lnTo>
                    <a:pt x="946" y="276"/>
                  </a:lnTo>
                  <a:lnTo>
                    <a:pt x="954" y="310"/>
                  </a:lnTo>
                  <a:lnTo>
                    <a:pt x="958" y="347"/>
                  </a:lnTo>
                  <a:lnTo>
                    <a:pt x="958" y="347"/>
                  </a:lnTo>
                  <a:lnTo>
                    <a:pt x="978" y="493"/>
                  </a:lnTo>
                  <a:lnTo>
                    <a:pt x="978" y="493"/>
                  </a:lnTo>
                  <a:lnTo>
                    <a:pt x="992" y="593"/>
                  </a:lnTo>
                  <a:lnTo>
                    <a:pt x="992" y="593"/>
                  </a:lnTo>
                  <a:lnTo>
                    <a:pt x="992" y="605"/>
                  </a:lnTo>
                  <a:lnTo>
                    <a:pt x="992" y="615"/>
                  </a:lnTo>
                  <a:lnTo>
                    <a:pt x="992" y="615"/>
                  </a:lnTo>
                  <a:lnTo>
                    <a:pt x="988" y="627"/>
                  </a:lnTo>
                  <a:lnTo>
                    <a:pt x="980" y="635"/>
                  </a:lnTo>
                  <a:lnTo>
                    <a:pt x="970" y="641"/>
                  </a:lnTo>
                  <a:lnTo>
                    <a:pt x="960" y="645"/>
                  </a:lnTo>
                  <a:lnTo>
                    <a:pt x="960" y="645"/>
                  </a:lnTo>
                  <a:lnTo>
                    <a:pt x="942" y="645"/>
                  </a:lnTo>
                  <a:lnTo>
                    <a:pt x="942" y="645"/>
                  </a:lnTo>
                  <a:lnTo>
                    <a:pt x="543" y="645"/>
                  </a:lnTo>
                  <a:lnTo>
                    <a:pt x="543" y="645"/>
                  </a:lnTo>
                  <a:close/>
                  <a:moveTo>
                    <a:pt x="918" y="987"/>
                  </a:moveTo>
                  <a:lnTo>
                    <a:pt x="918" y="987"/>
                  </a:lnTo>
                  <a:lnTo>
                    <a:pt x="902" y="985"/>
                  </a:lnTo>
                  <a:lnTo>
                    <a:pt x="888" y="981"/>
                  </a:lnTo>
                  <a:lnTo>
                    <a:pt x="876" y="973"/>
                  </a:lnTo>
                  <a:lnTo>
                    <a:pt x="864" y="965"/>
                  </a:lnTo>
                  <a:lnTo>
                    <a:pt x="856" y="953"/>
                  </a:lnTo>
                  <a:lnTo>
                    <a:pt x="848" y="939"/>
                  </a:lnTo>
                  <a:lnTo>
                    <a:pt x="844" y="925"/>
                  </a:lnTo>
                  <a:lnTo>
                    <a:pt x="844" y="909"/>
                  </a:lnTo>
                  <a:lnTo>
                    <a:pt x="844" y="909"/>
                  </a:lnTo>
                  <a:lnTo>
                    <a:pt x="846" y="895"/>
                  </a:lnTo>
                  <a:lnTo>
                    <a:pt x="850" y="881"/>
                  </a:lnTo>
                  <a:lnTo>
                    <a:pt x="858" y="869"/>
                  </a:lnTo>
                  <a:lnTo>
                    <a:pt x="866" y="857"/>
                  </a:lnTo>
                  <a:lnTo>
                    <a:pt x="878" y="849"/>
                  </a:lnTo>
                  <a:lnTo>
                    <a:pt x="892" y="843"/>
                  </a:lnTo>
                  <a:lnTo>
                    <a:pt x="906" y="839"/>
                  </a:lnTo>
                  <a:lnTo>
                    <a:pt x="920" y="837"/>
                  </a:lnTo>
                  <a:lnTo>
                    <a:pt x="920" y="837"/>
                  </a:lnTo>
                  <a:lnTo>
                    <a:pt x="936" y="839"/>
                  </a:lnTo>
                  <a:lnTo>
                    <a:pt x="950" y="843"/>
                  </a:lnTo>
                  <a:lnTo>
                    <a:pt x="962" y="851"/>
                  </a:lnTo>
                  <a:lnTo>
                    <a:pt x="972" y="861"/>
                  </a:lnTo>
                  <a:lnTo>
                    <a:pt x="982" y="871"/>
                  </a:lnTo>
                  <a:lnTo>
                    <a:pt x="988" y="885"/>
                  </a:lnTo>
                  <a:lnTo>
                    <a:pt x="992" y="899"/>
                  </a:lnTo>
                  <a:lnTo>
                    <a:pt x="994" y="913"/>
                  </a:lnTo>
                  <a:lnTo>
                    <a:pt x="994" y="913"/>
                  </a:lnTo>
                  <a:lnTo>
                    <a:pt x="992" y="929"/>
                  </a:lnTo>
                  <a:lnTo>
                    <a:pt x="986" y="943"/>
                  </a:lnTo>
                  <a:lnTo>
                    <a:pt x="980" y="955"/>
                  </a:lnTo>
                  <a:lnTo>
                    <a:pt x="970" y="967"/>
                  </a:lnTo>
                  <a:lnTo>
                    <a:pt x="960" y="975"/>
                  </a:lnTo>
                  <a:lnTo>
                    <a:pt x="946" y="983"/>
                  </a:lnTo>
                  <a:lnTo>
                    <a:pt x="932" y="987"/>
                  </a:lnTo>
                  <a:lnTo>
                    <a:pt x="918" y="987"/>
                  </a:lnTo>
                  <a:lnTo>
                    <a:pt x="918" y="98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T America" panose="00000500000000000000" pitchFamily="2" charset="0"/>
                <a:ea typeface="+mn-ea"/>
                <a:cs typeface="+mn-cs"/>
              </a:endParaRPr>
            </a:p>
          </p:txBody>
        </p:sp>
      </p:grpSp>
      <p:grpSp>
        <p:nvGrpSpPr>
          <p:cNvPr id="161" name="Gruppieren 160"/>
          <p:cNvGrpSpPr/>
          <p:nvPr/>
        </p:nvGrpSpPr>
        <p:grpSpPr>
          <a:xfrm>
            <a:off x="2726503" y="1801837"/>
            <a:ext cx="852058" cy="494217"/>
            <a:chOff x="4343597" y="1478802"/>
            <a:chExt cx="1241123" cy="719886"/>
          </a:xfrm>
        </p:grpSpPr>
        <p:sp>
          <p:nvSpPr>
            <p:cNvPr id="47" name="Freeform 18"/>
            <p:cNvSpPr>
              <a:spLocks noEditPoints="1"/>
            </p:cNvSpPr>
            <p:nvPr/>
          </p:nvSpPr>
          <p:spPr bwMode="auto">
            <a:xfrm>
              <a:off x="4360668" y="1554146"/>
              <a:ext cx="1222240" cy="637908"/>
            </a:xfrm>
            <a:custGeom>
              <a:avLst/>
              <a:gdLst>
                <a:gd name="T0" fmla="*/ 1460 w 1460"/>
                <a:gd name="T1" fmla="*/ 348 h 762"/>
                <a:gd name="T2" fmla="*/ 1025 w 1460"/>
                <a:gd name="T3" fmla="*/ 284 h 762"/>
                <a:gd name="T4" fmla="*/ 719 w 1460"/>
                <a:gd name="T5" fmla="*/ 8 h 762"/>
                <a:gd name="T6" fmla="*/ 4 w 1460"/>
                <a:gd name="T7" fmla="*/ 326 h 762"/>
                <a:gd name="T8" fmla="*/ 0 w 1460"/>
                <a:gd name="T9" fmla="*/ 544 h 762"/>
                <a:gd name="T10" fmla="*/ 82 w 1460"/>
                <a:gd name="T11" fmla="*/ 762 h 762"/>
                <a:gd name="T12" fmla="*/ 673 w 1460"/>
                <a:gd name="T13" fmla="*/ 648 h 762"/>
                <a:gd name="T14" fmla="*/ 769 w 1460"/>
                <a:gd name="T15" fmla="*/ 552 h 762"/>
                <a:gd name="T16" fmla="*/ 889 w 1460"/>
                <a:gd name="T17" fmla="*/ 762 h 762"/>
                <a:gd name="T18" fmla="*/ 1446 w 1460"/>
                <a:gd name="T19" fmla="*/ 762 h 762"/>
                <a:gd name="T20" fmla="*/ 58 w 1460"/>
                <a:gd name="T21" fmla="*/ 416 h 762"/>
                <a:gd name="T22" fmla="*/ 140 w 1460"/>
                <a:gd name="T23" fmla="*/ 516 h 762"/>
                <a:gd name="T24" fmla="*/ 32 w 1460"/>
                <a:gd name="T25" fmla="*/ 432 h 762"/>
                <a:gd name="T26" fmla="*/ 32 w 1460"/>
                <a:gd name="T27" fmla="*/ 654 h 762"/>
                <a:gd name="T28" fmla="*/ 58 w 1460"/>
                <a:gd name="T29" fmla="*/ 552 h 762"/>
                <a:gd name="T30" fmla="*/ 288 w 1460"/>
                <a:gd name="T31" fmla="*/ 578 h 762"/>
                <a:gd name="T32" fmla="*/ 180 w 1460"/>
                <a:gd name="T33" fmla="*/ 596 h 762"/>
                <a:gd name="T34" fmla="*/ 286 w 1460"/>
                <a:gd name="T35" fmla="*/ 552 h 762"/>
                <a:gd name="T36" fmla="*/ 198 w 1460"/>
                <a:gd name="T37" fmla="*/ 516 h 762"/>
                <a:gd name="T38" fmla="*/ 180 w 1460"/>
                <a:gd name="T39" fmla="*/ 418 h 762"/>
                <a:gd name="T40" fmla="*/ 288 w 1460"/>
                <a:gd name="T41" fmla="*/ 438 h 762"/>
                <a:gd name="T42" fmla="*/ 441 w 1460"/>
                <a:gd name="T43" fmla="*/ 422 h 762"/>
                <a:gd name="T44" fmla="*/ 330 w 1460"/>
                <a:gd name="T45" fmla="*/ 510 h 762"/>
                <a:gd name="T46" fmla="*/ 439 w 1460"/>
                <a:gd name="T47" fmla="*/ 654 h 762"/>
                <a:gd name="T48" fmla="*/ 330 w 1460"/>
                <a:gd name="T49" fmla="*/ 560 h 762"/>
                <a:gd name="T50" fmla="*/ 439 w 1460"/>
                <a:gd name="T51" fmla="*/ 554 h 762"/>
                <a:gd name="T52" fmla="*/ 495 w 1460"/>
                <a:gd name="T53" fmla="*/ 418 h 762"/>
                <a:gd name="T54" fmla="*/ 605 w 1460"/>
                <a:gd name="T55" fmla="*/ 438 h 762"/>
                <a:gd name="T56" fmla="*/ 605 w 1460"/>
                <a:gd name="T57" fmla="*/ 578 h 762"/>
                <a:gd name="T58" fmla="*/ 495 w 1460"/>
                <a:gd name="T59" fmla="*/ 596 h 762"/>
                <a:gd name="T60" fmla="*/ 601 w 1460"/>
                <a:gd name="T61" fmla="*/ 552 h 762"/>
                <a:gd name="T62" fmla="*/ 513 w 1460"/>
                <a:gd name="T63" fmla="*/ 378 h 762"/>
                <a:gd name="T64" fmla="*/ 495 w 1460"/>
                <a:gd name="T65" fmla="*/ 280 h 762"/>
                <a:gd name="T66" fmla="*/ 605 w 1460"/>
                <a:gd name="T67" fmla="*/ 302 h 762"/>
                <a:gd name="T68" fmla="*/ 673 w 1460"/>
                <a:gd name="T69" fmla="*/ 512 h 762"/>
                <a:gd name="T70" fmla="*/ 701 w 1460"/>
                <a:gd name="T71" fmla="*/ 416 h 762"/>
                <a:gd name="T72" fmla="*/ 783 w 1460"/>
                <a:gd name="T73" fmla="*/ 334 h 762"/>
                <a:gd name="T74" fmla="*/ 673 w 1460"/>
                <a:gd name="T75" fmla="*/ 294 h 762"/>
                <a:gd name="T76" fmla="*/ 783 w 1460"/>
                <a:gd name="T77" fmla="*/ 280 h 762"/>
                <a:gd name="T78" fmla="*/ 959 w 1460"/>
                <a:gd name="T79" fmla="*/ 278 h 762"/>
                <a:gd name="T80" fmla="*/ 947 w 1460"/>
                <a:gd name="T81" fmla="*/ 380 h 762"/>
                <a:gd name="T82" fmla="*/ 959 w 1460"/>
                <a:gd name="T83" fmla="*/ 654 h 762"/>
                <a:gd name="T84" fmla="*/ 849 w 1460"/>
                <a:gd name="T85" fmla="*/ 642 h 762"/>
                <a:gd name="T86" fmla="*/ 959 w 1460"/>
                <a:gd name="T87" fmla="*/ 558 h 762"/>
                <a:gd name="T88" fmla="*/ 931 w 1460"/>
                <a:gd name="T89" fmla="*/ 516 h 762"/>
                <a:gd name="T90" fmla="*/ 849 w 1460"/>
                <a:gd name="T91" fmla="*/ 416 h 762"/>
                <a:gd name="T92" fmla="*/ 959 w 1460"/>
                <a:gd name="T93" fmla="*/ 498 h 762"/>
                <a:gd name="T94" fmla="*/ 1108 w 1460"/>
                <a:gd name="T95" fmla="*/ 416 h 762"/>
                <a:gd name="T96" fmla="*/ 1005 w 1460"/>
                <a:gd name="T97" fmla="*/ 516 h 762"/>
                <a:gd name="T98" fmla="*/ 1112 w 1460"/>
                <a:gd name="T99" fmla="*/ 578 h 762"/>
                <a:gd name="T100" fmla="*/ 1003 w 1460"/>
                <a:gd name="T101" fmla="*/ 596 h 762"/>
                <a:gd name="T102" fmla="*/ 1110 w 1460"/>
                <a:gd name="T103" fmla="*/ 552 h 762"/>
                <a:gd name="T104" fmla="*/ 1168 w 1460"/>
                <a:gd name="T105" fmla="*/ 654 h 762"/>
                <a:gd name="T106" fmla="*/ 1154 w 1460"/>
                <a:gd name="T107" fmla="*/ 554 h 762"/>
                <a:gd name="T108" fmla="*/ 1262 w 1460"/>
                <a:gd name="T109" fmla="*/ 566 h 762"/>
                <a:gd name="T110" fmla="*/ 1154 w 1460"/>
                <a:gd name="T111" fmla="*/ 514 h 762"/>
                <a:gd name="T112" fmla="*/ 1180 w 1460"/>
                <a:gd name="T113" fmla="*/ 416 h 762"/>
                <a:gd name="T114" fmla="*/ 1316 w 1460"/>
                <a:gd name="T115" fmla="*/ 416 h 762"/>
                <a:gd name="T116" fmla="*/ 1410 w 1460"/>
                <a:gd name="T117" fmla="*/ 472 h 762"/>
                <a:gd name="T118" fmla="*/ 1302 w 1460"/>
                <a:gd name="T119" fmla="*/ 432 h 762"/>
                <a:gd name="T120" fmla="*/ 1304 w 1460"/>
                <a:gd name="T121" fmla="*/ 654 h 762"/>
                <a:gd name="T122" fmla="*/ 1330 w 1460"/>
                <a:gd name="T123" fmla="*/ 552 h 7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460" h="762">
                  <a:moveTo>
                    <a:pt x="1460" y="676"/>
                  </a:moveTo>
                  <a:lnTo>
                    <a:pt x="1460" y="676"/>
                  </a:lnTo>
                  <a:lnTo>
                    <a:pt x="1460" y="674"/>
                  </a:lnTo>
                  <a:lnTo>
                    <a:pt x="1460" y="674"/>
                  </a:lnTo>
                  <a:lnTo>
                    <a:pt x="1460" y="624"/>
                  </a:lnTo>
                  <a:lnTo>
                    <a:pt x="1460" y="624"/>
                  </a:lnTo>
                  <a:lnTo>
                    <a:pt x="1460" y="508"/>
                  </a:lnTo>
                  <a:lnTo>
                    <a:pt x="1460" y="508"/>
                  </a:lnTo>
                  <a:lnTo>
                    <a:pt x="1460" y="506"/>
                  </a:lnTo>
                  <a:lnTo>
                    <a:pt x="1460" y="506"/>
                  </a:lnTo>
                  <a:lnTo>
                    <a:pt x="1460" y="398"/>
                  </a:lnTo>
                  <a:lnTo>
                    <a:pt x="1460" y="398"/>
                  </a:lnTo>
                  <a:lnTo>
                    <a:pt x="1460" y="348"/>
                  </a:lnTo>
                  <a:lnTo>
                    <a:pt x="1460" y="348"/>
                  </a:lnTo>
                  <a:lnTo>
                    <a:pt x="1460" y="336"/>
                  </a:lnTo>
                  <a:lnTo>
                    <a:pt x="1460" y="330"/>
                  </a:lnTo>
                  <a:lnTo>
                    <a:pt x="1458" y="326"/>
                  </a:lnTo>
                  <a:lnTo>
                    <a:pt x="1458" y="326"/>
                  </a:lnTo>
                  <a:lnTo>
                    <a:pt x="1454" y="322"/>
                  </a:lnTo>
                  <a:lnTo>
                    <a:pt x="1446" y="320"/>
                  </a:lnTo>
                  <a:lnTo>
                    <a:pt x="1434" y="322"/>
                  </a:lnTo>
                  <a:lnTo>
                    <a:pt x="1434" y="322"/>
                  </a:lnTo>
                  <a:lnTo>
                    <a:pt x="1378" y="322"/>
                  </a:lnTo>
                  <a:lnTo>
                    <a:pt x="1170" y="322"/>
                  </a:lnTo>
                  <a:lnTo>
                    <a:pt x="1170" y="322"/>
                  </a:lnTo>
                  <a:lnTo>
                    <a:pt x="1071" y="322"/>
                  </a:lnTo>
                  <a:lnTo>
                    <a:pt x="1071" y="322"/>
                  </a:lnTo>
                  <a:lnTo>
                    <a:pt x="1025" y="284"/>
                  </a:lnTo>
                  <a:lnTo>
                    <a:pt x="1025" y="284"/>
                  </a:lnTo>
                  <a:lnTo>
                    <a:pt x="1003" y="264"/>
                  </a:lnTo>
                  <a:lnTo>
                    <a:pt x="1003" y="264"/>
                  </a:lnTo>
                  <a:lnTo>
                    <a:pt x="869" y="136"/>
                  </a:lnTo>
                  <a:lnTo>
                    <a:pt x="869" y="136"/>
                  </a:lnTo>
                  <a:lnTo>
                    <a:pt x="745" y="16"/>
                  </a:lnTo>
                  <a:lnTo>
                    <a:pt x="745" y="16"/>
                  </a:lnTo>
                  <a:lnTo>
                    <a:pt x="737" y="6"/>
                  </a:lnTo>
                  <a:lnTo>
                    <a:pt x="731" y="2"/>
                  </a:lnTo>
                  <a:lnTo>
                    <a:pt x="727" y="0"/>
                  </a:lnTo>
                  <a:lnTo>
                    <a:pt x="727" y="0"/>
                  </a:lnTo>
                  <a:lnTo>
                    <a:pt x="723" y="4"/>
                  </a:lnTo>
                  <a:lnTo>
                    <a:pt x="719" y="8"/>
                  </a:lnTo>
                  <a:lnTo>
                    <a:pt x="719" y="8"/>
                  </a:lnTo>
                  <a:lnTo>
                    <a:pt x="701" y="26"/>
                  </a:lnTo>
                  <a:lnTo>
                    <a:pt x="701" y="26"/>
                  </a:lnTo>
                  <a:lnTo>
                    <a:pt x="441" y="276"/>
                  </a:lnTo>
                  <a:lnTo>
                    <a:pt x="441" y="276"/>
                  </a:lnTo>
                  <a:lnTo>
                    <a:pt x="399" y="322"/>
                  </a:lnTo>
                  <a:lnTo>
                    <a:pt x="399" y="322"/>
                  </a:lnTo>
                  <a:lnTo>
                    <a:pt x="356" y="322"/>
                  </a:lnTo>
                  <a:lnTo>
                    <a:pt x="148" y="322"/>
                  </a:lnTo>
                  <a:lnTo>
                    <a:pt x="148" y="322"/>
                  </a:lnTo>
                  <a:lnTo>
                    <a:pt x="22" y="322"/>
                  </a:lnTo>
                  <a:lnTo>
                    <a:pt x="22" y="322"/>
                  </a:lnTo>
                  <a:lnTo>
                    <a:pt x="16" y="322"/>
                  </a:lnTo>
                  <a:lnTo>
                    <a:pt x="8" y="322"/>
                  </a:lnTo>
                  <a:lnTo>
                    <a:pt x="4" y="326"/>
                  </a:lnTo>
                  <a:lnTo>
                    <a:pt x="0" y="334"/>
                  </a:lnTo>
                  <a:lnTo>
                    <a:pt x="0" y="334"/>
                  </a:lnTo>
                  <a:lnTo>
                    <a:pt x="0" y="346"/>
                  </a:lnTo>
                  <a:lnTo>
                    <a:pt x="0" y="358"/>
                  </a:lnTo>
                  <a:lnTo>
                    <a:pt x="0" y="358"/>
                  </a:lnTo>
                  <a:lnTo>
                    <a:pt x="0" y="376"/>
                  </a:lnTo>
                  <a:lnTo>
                    <a:pt x="0" y="376"/>
                  </a:lnTo>
                  <a:lnTo>
                    <a:pt x="0" y="378"/>
                  </a:lnTo>
                  <a:lnTo>
                    <a:pt x="0" y="378"/>
                  </a:lnTo>
                  <a:lnTo>
                    <a:pt x="0" y="428"/>
                  </a:lnTo>
                  <a:lnTo>
                    <a:pt x="0" y="428"/>
                  </a:lnTo>
                  <a:lnTo>
                    <a:pt x="0" y="542"/>
                  </a:lnTo>
                  <a:lnTo>
                    <a:pt x="0" y="542"/>
                  </a:lnTo>
                  <a:lnTo>
                    <a:pt x="0" y="544"/>
                  </a:lnTo>
                  <a:lnTo>
                    <a:pt x="0" y="544"/>
                  </a:lnTo>
                  <a:lnTo>
                    <a:pt x="0" y="686"/>
                  </a:lnTo>
                  <a:lnTo>
                    <a:pt x="0" y="686"/>
                  </a:lnTo>
                  <a:lnTo>
                    <a:pt x="0" y="734"/>
                  </a:lnTo>
                  <a:lnTo>
                    <a:pt x="0" y="734"/>
                  </a:lnTo>
                  <a:lnTo>
                    <a:pt x="0" y="746"/>
                  </a:lnTo>
                  <a:lnTo>
                    <a:pt x="0" y="752"/>
                  </a:lnTo>
                  <a:lnTo>
                    <a:pt x="2" y="758"/>
                  </a:lnTo>
                  <a:lnTo>
                    <a:pt x="2" y="758"/>
                  </a:lnTo>
                  <a:lnTo>
                    <a:pt x="8" y="760"/>
                  </a:lnTo>
                  <a:lnTo>
                    <a:pt x="14" y="762"/>
                  </a:lnTo>
                  <a:lnTo>
                    <a:pt x="28" y="762"/>
                  </a:lnTo>
                  <a:lnTo>
                    <a:pt x="28" y="762"/>
                  </a:lnTo>
                  <a:lnTo>
                    <a:pt x="82" y="762"/>
                  </a:lnTo>
                  <a:lnTo>
                    <a:pt x="82" y="762"/>
                  </a:lnTo>
                  <a:lnTo>
                    <a:pt x="419" y="762"/>
                  </a:lnTo>
                  <a:lnTo>
                    <a:pt x="419" y="762"/>
                  </a:lnTo>
                  <a:lnTo>
                    <a:pt x="429" y="760"/>
                  </a:lnTo>
                  <a:lnTo>
                    <a:pt x="429" y="760"/>
                  </a:lnTo>
                  <a:lnTo>
                    <a:pt x="439" y="762"/>
                  </a:lnTo>
                  <a:lnTo>
                    <a:pt x="447" y="762"/>
                  </a:lnTo>
                  <a:lnTo>
                    <a:pt x="447" y="762"/>
                  </a:lnTo>
                  <a:lnTo>
                    <a:pt x="503" y="762"/>
                  </a:lnTo>
                  <a:lnTo>
                    <a:pt x="675" y="760"/>
                  </a:lnTo>
                  <a:lnTo>
                    <a:pt x="675" y="760"/>
                  </a:lnTo>
                  <a:lnTo>
                    <a:pt x="673" y="704"/>
                  </a:lnTo>
                  <a:lnTo>
                    <a:pt x="673" y="648"/>
                  </a:lnTo>
                  <a:lnTo>
                    <a:pt x="673" y="648"/>
                  </a:lnTo>
                  <a:lnTo>
                    <a:pt x="673" y="596"/>
                  </a:lnTo>
                  <a:lnTo>
                    <a:pt x="673" y="596"/>
                  </a:lnTo>
                  <a:lnTo>
                    <a:pt x="673" y="568"/>
                  </a:lnTo>
                  <a:lnTo>
                    <a:pt x="673" y="568"/>
                  </a:lnTo>
                  <a:lnTo>
                    <a:pt x="673" y="560"/>
                  </a:lnTo>
                  <a:lnTo>
                    <a:pt x="673" y="554"/>
                  </a:lnTo>
                  <a:lnTo>
                    <a:pt x="673" y="554"/>
                  </a:lnTo>
                  <a:lnTo>
                    <a:pt x="679" y="552"/>
                  </a:lnTo>
                  <a:lnTo>
                    <a:pt x="687" y="552"/>
                  </a:lnTo>
                  <a:lnTo>
                    <a:pt x="701" y="552"/>
                  </a:lnTo>
                  <a:lnTo>
                    <a:pt x="701" y="552"/>
                  </a:lnTo>
                  <a:lnTo>
                    <a:pt x="759" y="552"/>
                  </a:lnTo>
                  <a:lnTo>
                    <a:pt x="759" y="552"/>
                  </a:lnTo>
                  <a:lnTo>
                    <a:pt x="769" y="552"/>
                  </a:lnTo>
                  <a:lnTo>
                    <a:pt x="779" y="552"/>
                  </a:lnTo>
                  <a:lnTo>
                    <a:pt x="779" y="552"/>
                  </a:lnTo>
                  <a:lnTo>
                    <a:pt x="781" y="552"/>
                  </a:lnTo>
                  <a:lnTo>
                    <a:pt x="783" y="554"/>
                  </a:lnTo>
                  <a:lnTo>
                    <a:pt x="783" y="554"/>
                  </a:lnTo>
                  <a:lnTo>
                    <a:pt x="783" y="560"/>
                  </a:lnTo>
                  <a:lnTo>
                    <a:pt x="783" y="566"/>
                  </a:lnTo>
                  <a:lnTo>
                    <a:pt x="783" y="576"/>
                  </a:lnTo>
                  <a:lnTo>
                    <a:pt x="783" y="576"/>
                  </a:lnTo>
                  <a:lnTo>
                    <a:pt x="783" y="608"/>
                  </a:lnTo>
                  <a:lnTo>
                    <a:pt x="783" y="608"/>
                  </a:lnTo>
                  <a:lnTo>
                    <a:pt x="783" y="760"/>
                  </a:lnTo>
                  <a:lnTo>
                    <a:pt x="889" y="762"/>
                  </a:lnTo>
                  <a:lnTo>
                    <a:pt x="889" y="762"/>
                  </a:lnTo>
                  <a:lnTo>
                    <a:pt x="1015" y="762"/>
                  </a:lnTo>
                  <a:lnTo>
                    <a:pt x="1015" y="762"/>
                  </a:lnTo>
                  <a:lnTo>
                    <a:pt x="1021" y="762"/>
                  </a:lnTo>
                  <a:lnTo>
                    <a:pt x="1027" y="760"/>
                  </a:lnTo>
                  <a:lnTo>
                    <a:pt x="1027" y="760"/>
                  </a:lnTo>
                  <a:lnTo>
                    <a:pt x="1033" y="762"/>
                  </a:lnTo>
                  <a:lnTo>
                    <a:pt x="1037" y="762"/>
                  </a:lnTo>
                  <a:lnTo>
                    <a:pt x="1049" y="762"/>
                  </a:lnTo>
                  <a:lnTo>
                    <a:pt x="1049" y="762"/>
                  </a:lnTo>
                  <a:lnTo>
                    <a:pt x="1104" y="762"/>
                  </a:lnTo>
                  <a:lnTo>
                    <a:pt x="1104" y="762"/>
                  </a:lnTo>
                  <a:lnTo>
                    <a:pt x="1438" y="762"/>
                  </a:lnTo>
                  <a:lnTo>
                    <a:pt x="1438" y="762"/>
                  </a:lnTo>
                  <a:lnTo>
                    <a:pt x="1446" y="762"/>
                  </a:lnTo>
                  <a:lnTo>
                    <a:pt x="1452" y="760"/>
                  </a:lnTo>
                  <a:lnTo>
                    <a:pt x="1458" y="756"/>
                  </a:lnTo>
                  <a:lnTo>
                    <a:pt x="1460" y="750"/>
                  </a:lnTo>
                  <a:lnTo>
                    <a:pt x="1460" y="750"/>
                  </a:lnTo>
                  <a:lnTo>
                    <a:pt x="1460" y="738"/>
                  </a:lnTo>
                  <a:lnTo>
                    <a:pt x="1460" y="726"/>
                  </a:lnTo>
                  <a:lnTo>
                    <a:pt x="1460" y="726"/>
                  </a:lnTo>
                  <a:lnTo>
                    <a:pt x="1460" y="676"/>
                  </a:lnTo>
                  <a:lnTo>
                    <a:pt x="1460" y="676"/>
                  </a:lnTo>
                  <a:close/>
                  <a:moveTo>
                    <a:pt x="32" y="418"/>
                  </a:moveTo>
                  <a:lnTo>
                    <a:pt x="32" y="418"/>
                  </a:lnTo>
                  <a:lnTo>
                    <a:pt x="36" y="416"/>
                  </a:lnTo>
                  <a:lnTo>
                    <a:pt x="44" y="416"/>
                  </a:lnTo>
                  <a:lnTo>
                    <a:pt x="58" y="416"/>
                  </a:lnTo>
                  <a:lnTo>
                    <a:pt x="58" y="416"/>
                  </a:lnTo>
                  <a:lnTo>
                    <a:pt x="116" y="416"/>
                  </a:lnTo>
                  <a:lnTo>
                    <a:pt x="116" y="416"/>
                  </a:lnTo>
                  <a:lnTo>
                    <a:pt x="128" y="416"/>
                  </a:lnTo>
                  <a:lnTo>
                    <a:pt x="136" y="416"/>
                  </a:lnTo>
                  <a:lnTo>
                    <a:pt x="140" y="418"/>
                  </a:lnTo>
                  <a:lnTo>
                    <a:pt x="140" y="418"/>
                  </a:lnTo>
                  <a:lnTo>
                    <a:pt x="140" y="422"/>
                  </a:lnTo>
                  <a:lnTo>
                    <a:pt x="140" y="428"/>
                  </a:lnTo>
                  <a:lnTo>
                    <a:pt x="140" y="438"/>
                  </a:lnTo>
                  <a:lnTo>
                    <a:pt x="140" y="438"/>
                  </a:lnTo>
                  <a:lnTo>
                    <a:pt x="140" y="472"/>
                  </a:lnTo>
                  <a:lnTo>
                    <a:pt x="140" y="472"/>
                  </a:lnTo>
                  <a:lnTo>
                    <a:pt x="140" y="516"/>
                  </a:lnTo>
                  <a:lnTo>
                    <a:pt x="140" y="516"/>
                  </a:lnTo>
                  <a:lnTo>
                    <a:pt x="48" y="516"/>
                  </a:lnTo>
                  <a:lnTo>
                    <a:pt x="48" y="516"/>
                  </a:lnTo>
                  <a:lnTo>
                    <a:pt x="40" y="516"/>
                  </a:lnTo>
                  <a:lnTo>
                    <a:pt x="32" y="516"/>
                  </a:lnTo>
                  <a:lnTo>
                    <a:pt x="32" y="516"/>
                  </a:lnTo>
                  <a:lnTo>
                    <a:pt x="32" y="514"/>
                  </a:lnTo>
                  <a:lnTo>
                    <a:pt x="32" y="510"/>
                  </a:lnTo>
                  <a:lnTo>
                    <a:pt x="32" y="510"/>
                  </a:lnTo>
                  <a:lnTo>
                    <a:pt x="30" y="486"/>
                  </a:lnTo>
                  <a:lnTo>
                    <a:pt x="32" y="460"/>
                  </a:lnTo>
                  <a:lnTo>
                    <a:pt x="32" y="460"/>
                  </a:lnTo>
                  <a:lnTo>
                    <a:pt x="32" y="432"/>
                  </a:lnTo>
                  <a:lnTo>
                    <a:pt x="32" y="432"/>
                  </a:lnTo>
                  <a:lnTo>
                    <a:pt x="30" y="424"/>
                  </a:lnTo>
                  <a:lnTo>
                    <a:pt x="32" y="418"/>
                  </a:lnTo>
                  <a:lnTo>
                    <a:pt x="32" y="418"/>
                  </a:lnTo>
                  <a:close/>
                  <a:moveTo>
                    <a:pt x="140" y="578"/>
                  </a:moveTo>
                  <a:lnTo>
                    <a:pt x="140" y="578"/>
                  </a:lnTo>
                  <a:lnTo>
                    <a:pt x="140" y="610"/>
                  </a:lnTo>
                  <a:lnTo>
                    <a:pt x="140" y="610"/>
                  </a:lnTo>
                  <a:lnTo>
                    <a:pt x="140" y="654"/>
                  </a:lnTo>
                  <a:lnTo>
                    <a:pt x="140" y="654"/>
                  </a:lnTo>
                  <a:lnTo>
                    <a:pt x="46" y="654"/>
                  </a:lnTo>
                  <a:lnTo>
                    <a:pt x="46" y="654"/>
                  </a:lnTo>
                  <a:lnTo>
                    <a:pt x="40" y="654"/>
                  </a:lnTo>
                  <a:lnTo>
                    <a:pt x="32" y="654"/>
                  </a:lnTo>
                  <a:lnTo>
                    <a:pt x="32" y="654"/>
                  </a:lnTo>
                  <a:lnTo>
                    <a:pt x="32" y="652"/>
                  </a:lnTo>
                  <a:lnTo>
                    <a:pt x="32" y="648"/>
                  </a:lnTo>
                  <a:lnTo>
                    <a:pt x="32" y="648"/>
                  </a:lnTo>
                  <a:lnTo>
                    <a:pt x="32" y="596"/>
                  </a:lnTo>
                  <a:lnTo>
                    <a:pt x="32" y="596"/>
                  </a:lnTo>
                  <a:lnTo>
                    <a:pt x="32" y="568"/>
                  </a:lnTo>
                  <a:lnTo>
                    <a:pt x="32" y="568"/>
                  </a:lnTo>
                  <a:lnTo>
                    <a:pt x="30" y="560"/>
                  </a:lnTo>
                  <a:lnTo>
                    <a:pt x="32" y="554"/>
                  </a:lnTo>
                  <a:lnTo>
                    <a:pt x="32" y="554"/>
                  </a:lnTo>
                  <a:lnTo>
                    <a:pt x="36" y="552"/>
                  </a:lnTo>
                  <a:lnTo>
                    <a:pt x="44" y="552"/>
                  </a:lnTo>
                  <a:lnTo>
                    <a:pt x="58" y="552"/>
                  </a:lnTo>
                  <a:lnTo>
                    <a:pt x="58" y="552"/>
                  </a:lnTo>
                  <a:lnTo>
                    <a:pt x="118" y="552"/>
                  </a:lnTo>
                  <a:lnTo>
                    <a:pt x="118" y="552"/>
                  </a:lnTo>
                  <a:lnTo>
                    <a:pt x="128" y="552"/>
                  </a:lnTo>
                  <a:lnTo>
                    <a:pt x="136" y="552"/>
                  </a:lnTo>
                  <a:lnTo>
                    <a:pt x="136" y="552"/>
                  </a:lnTo>
                  <a:lnTo>
                    <a:pt x="140" y="552"/>
                  </a:lnTo>
                  <a:lnTo>
                    <a:pt x="140" y="554"/>
                  </a:lnTo>
                  <a:lnTo>
                    <a:pt x="140" y="554"/>
                  </a:lnTo>
                  <a:lnTo>
                    <a:pt x="140" y="560"/>
                  </a:lnTo>
                  <a:lnTo>
                    <a:pt x="140" y="566"/>
                  </a:lnTo>
                  <a:lnTo>
                    <a:pt x="140" y="578"/>
                  </a:lnTo>
                  <a:lnTo>
                    <a:pt x="140" y="578"/>
                  </a:lnTo>
                  <a:close/>
                  <a:moveTo>
                    <a:pt x="288" y="578"/>
                  </a:moveTo>
                  <a:lnTo>
                    <a:pt x="288" y="578"/>
                  </a:lnTo>
                  <a:lnTo>
                    <a:pt x="288" y="610"/>
                  </a:lnTo>
                  <a:lnTo>
                    <a:pt x="288" y="610"/>
                  </a:lnTo>
                  <a:lnTo>
                    <a:pt x="288" y="654"/>
                  </a:lnTo>
                  <a:lnTo>
                    <a:pt x="288" y="654"/>
                  </a:lnTo>
                  <a:lnTo>
                    <a:pt x="196" y="654"/>
                  </a:lnTo>
                  <a:lnTo>
                    <a:pt x="196" y="654"/>
                  </a:lnTo>
                  <a:lnTo>
                    <a:pt x="188" y="654"/>
                  </a:lnTo>
                  <a:lnTo>
                    <a:pt x="182" y="654"/>
                  </a:lnTo>
                  <a:lnTo>
                    <a:pt x="182" y="654"/>
                  </a:lnTo>
                  <a:lnTo>
                    <a:pt x="180" y="652"/>
                  </a:lnTo>
                  <a:lnTo>
                    <a:pt x="180" y="648"/>
                  </a:lnTo>
                  <a:lnTo>
                    <a:pt x="180" y="648"/>
                  </a:lnTo>
                  <a:lnTo>
                    <a:pt x="180" y="596"/>
                  </a:lnTo>
                  <a:lnTo>
                    <a:pt x="180" y="596"/>
                  </a:lnTo>
                  <a:lnTo>
                    <a:pt x="180" y="568"/>
                  </a:lnTo>
                  <a:lnTo>
                    <a:pt x="180" y="568"/>
                  </a:lnTo>
                  <a:lnTo>
                    <a:pt x="180" y="560"/>
                  </a:lnTo>
                  <a:lnTo>
                    <a:pt x="180" y="554"/>
                  </a:lnTo>
                  <a:lnTo>
                    <a:pt x="180" y="554"/>
                  </a:lnTo>
                  <a:lnTo>
                    <a:pt x="186" y="552"/>
                  </a:lnTo>
                  <a:lnTo>
                    <a:pt x="194" y="552"/>
                  </a:lnTo>
                  <a:lnTo>
                    <a:pt x="208" y="552"/>
                  </a:lnTo>
                  <a:lnTo>
                    <a:pt x="208" y="552"/>
                  </a:lnTo>
                  <a:lnTo>
                    <a:pt x="268" y="552"/>
                  </a:lnTo>
                  <a:lnTo>
                    <a:pt x="268" y="552"/>
                  </a:lnTo>
                  <a:lnTo>
                    <a:pt x="276" y="552"/>
                  </a:lnTo>
                  <a:lnTo>
                    <a:pt x="286" y="552"/>
                  </a:lnTo>
                  <a:lnTo>
                    <a:pt x="286" y="552"/>
                  </a:lnTo>
                  <a:lnTo>
                    <a:pt x="288" y="552"/>
                  </a:lnTo>
                  <a:lnTo>
                    <a:pt x="288" y="554"/>
                  </a:lnTo>
                  <a:lnTo>
                    <a:pt x="288" y="554"/>
                  </a:lnTo>
                  <a:lnTo>
                    <a:pt x="290" y="560"/>
                  </a:lnTo>
                  <a:lnTo>
                    <a:pt x="290" y="566"/>
                  </a:lnTo>
                  <a:lnTo>
                    <a:pt x="288" y="578"/>
                  </a:lnTo>
                  <a:lnTo>
                    <a:pt x="288" y="578"/>
                  </a:lnTo>
                  <a:close/>
                  <a:moveTo>
                    <a:pt x="288" y="438"/>
                  </a:moveTo>
                  <a:lnTo>
                    <a:pt x="288" y="438"/>
                  </a:lnTo>
                  <a:lnTo>
                    <a:pt x="288" y="472"/>
                  </a:lnTo>
                  <a:lnTo>
                    <a:pt x="288" y="472"/>
                  </a:lnTo>
                  <a:lnTo>
                    <a:pt x="288" y="516"/>
                  </a:lnTo>
                  <a:lnTo>
                    <a:pt x="288" y="516"/>
                  </a:lnTo>
                  <a:lnTo>
                    <a:pt x="198" y="516"/>
                  </a:lnTo>
                  <a:lnTo>
                    <a:pt x="198" y="516"/>
                  </a:lnTo>
                  <a:lnTo>
                    <a:pt x="190" y="516"/>
                  </a:lnTo>
                  <a:lnTo>
                    <a:pt x="182" y="516"/>
                  </a:lnTo>
                  <a:lnTo>
                    <a:pt x="182" y="516"/>
                  </a:lnTo>
                  <a:lnTo>
                    <a:pt x="180" y="514"/>
                  </a:lnTo>
                  <a:lnTo>
                    <a:pt x="180" y="510"/>
                  </a:lnTo>
                  <a:lnTo>
                    <a:pt x="180" y="510"/>
                  </a:lnTo>
                  <a:lnTo>
                    <a:pt x="180" y="486"/>
                  </a:lnTo>
                  <a:lnTo>
                    <a:pt x="180" y="460"/>
                  </a:lnTo>
                  <a:lnTo>
                    <a:pt x="180" y="460"/>
                  </a:lnTo>
                  <a:lnTo>
                    <a:pt x="180" y="432"/>
                  </a:lnTo>
                  <a:lnTo>
                    <a:pt x="180" y="432"/>
                  </a:lnTo>
                  <a:lnTo>
                    <a:pt x="180" y="424"/>
                  </a:lnTo>
                  <a:lnTo>
                    <a:pt x="180" y="418"/>
                  </a:lnTo>
                  <a:lnTo>
                    <a:pt x="180" y="418"/>
                  </a:lnTo>
                  <a:lnTo>
                    <a:pt x="186" y="416"/>
                  </a:lnTo>
                  <a:lnTo>
                    <a:pt x="194" y="416"/>
                  </a:lnTo>
                  <a:lnTo>
                    <a:pt x="208" y="416"/>
                  </a:lnTo>
                  <a:lnTo>
                    <a:pt x="208" y="416"/>
                  </a:lnTo>
                  <a:lnTo>
                    <a:pt x="266" y="416"/>
                  </a:lnTo>
                  <a:lnTo>
                    <a:pt x="266" y="416"/>
                  </a:lnTo>
                  <a:lnTo>
                    <a:pt x="278" y="416"/>
                  </a:lnTo>
                  <a:lnTo>
                    <a:pt x="286" y="416"/>
                  </a:lnTo>
                  <a:lnTo>
                    <a:pt x="288" y="418"/>
                  </a:lnTo>
                  <a:lnTo>
                    <a:pt x="288" y="418"/>
                  </a:lnTo>
                  <a:lnTo>
                    <a:pt x="290" y="422"/>
                  </a:lnTo>
                  <a:lnTo>
                    <a:pt x="290" y="428"/>
                  </a:lnTo>
                  <a:lnTo>
                    <a:pt x="288" y="438"/>
                  </a:lnTo>
                  <a:lnTo>
                    <a:pt x="288" y="438"/>
                  </a:lnTo>
                  <a:close/>
                  <a:moveTo>
                    <a:pt x="330" y="418"/>
                  </a:moveTo>
                  <a:lnTo>
                    <a:pt x="330" y="418"/>
                  </a:lnTo>
                  <a:lnTo>
                    <a:pt x="334" y="416"/>
                  </a:lnTo>
                  <a:lnTo>
                    <a:pt x="342" y="416"/>
                  </a:lnTo>
                  <a:lnTo>
                    <a:pt x="356" y="416"/>
                  </a:lnTo>
                  <a:lnTo>
                    <a:pt x="356" y="416"/>
                  </a:lnTo>
                  <a:lnTo>
                    <a:pt x="415" y="416"/>
                  </a:lnTo>
                  <a:lnTo>
                    <a:pt x="415" y="416"/>
                  </a:lnTo>
                  <a:lnTo>
                    <a:pt x="429" y="416"/>
                  </a:lnTo>
                  <a:lnTo>
                    <a:pt x="435" y="416"/>
                  </a:lnTo>
                  <a:lnTo>
                    <a:pt x="439" y="418"/>
                  </a:lnTo>
                  <a:lnTo>
                    <a:pt x="439" y="418"/>
                  </a:lnTo>
                  <a:lnTo>
                    <a:pt x="441" y="422"/>
                  </a:lnTo>
                  <a:lnTo>
                    <a:pt x="441" y="428"/>
                  </a:lnTo>
                  <a:lnTo>
                    <a:pt x="439" y="438"/>
                  </a:lnTo>
                  <a:lnTo>
                    <a:pt x="439" y="438"/>
                  </a:lnTo>
                  <a:lnTo>
                    <a:pt x="439" y="472"/>
                  </a:lnTo>
                  <a:lnTo>
                    <a:pt x="439" y="472"/>
                  </a:lnTo>
                  <a:lnTo>
                    <a:pt x="439" y="516"/>
                  </a:lnTo>
                  <a:lnTo>
                    <a:pt x="439" y="516"/>
                  </a:lnTo>
                  <a:lnTo>
                    <a:pt x="348" y="516"/>
                  </a:lnTo>
                  <a:lnTo>
                    <a:pt x="348" y="516"/>
                  </a:lnTo>
                  <a:lnTo>
                    <a:pt x="340" y="516"/>
                  </a:lnTo>
                  <a:lnTo>
                    <a:pt x="332" y="516"/>
                  </a:lnTo>
                  <a:lnTo>
                    <a:pt x="332" y="516"/>
                  </a:lnTo>
                  <a:lnTo>
                    <a:pt x="330" y="514"/>
                  </a:lnTo>
                  <a:lnTo>
                    <a:pt x="330" y="510"/>
                  </a:lnTo>
                  <a:lnTo>
                    <a:pt x="330" y="510"/>
                  </a:lnTo>
                  <a:lnTo>
                    <a:pt x="330" y="486"/>
                  </a:lnTo>
                  <a:lnTo>
                    <a:pt x="330" y="460"/>
                  </a:lnTo>
                  <a:lnTo>
                    <a:pt x="330" y="460"/>
                  </a:lnTo>
                  <a:lnTo>
                    <a:pt x="330" y="432"/>
                  </a:lnTo>
                  <a:lnTo>
                    <a:pt x="330" y="432"/>
                  </a:lnTo>
                  <a:lnTo>
                    <a:pt x="330" y="424"/>
                  </a:lnTo>
                  <a:lnTo>
                    <a:pt x="330" y="418"/>
                  </a:lnTo>
                  <a:lnTo>
                    <a:pt x="330" y="418"/>
                  </a:lnTo>
                  <a:close/>
                  <a:moveTo>
                    <a:pt x="439" y="578"/>
                  </a:moveTo>
                  <a:lnTo>
                    <a:pt x="439" y="578"/>
                  </a:lnTo>
                  <a:lnTo>
                    <a:pt x="439" y="610"/>
                  </a:lnTo>
                  <a:lnTo>
                    <a:pt x="439" y="610"/>
                  </a:lnTo>
                  <a:lnTo>
                    <a:pt x="439" y="654"/>
                  </a:lnTo>
                  <a:lnTo>
                    <a:pt x="439" y="654"/>
                  </a:lnTo>
                  <a:lnTo>
                    <a:pt x="346" y="654"/>
                  </a:lnTo>
                  <a:lnTo>
                    <a:pt x="346" y="654"/>
                  </a:lnTo>
                  <a:lnTo>
                    <a:pt x="338" y="654"/>
                  </a:lnTo>
                  <a:lnTo>
                    <a:pt x="330" y="654"/>
                  </a:lnTo>
                  <a:lnTo>
                    <a:pt x="330" y="654"/>
                  </a:lnTo>
                  <a:lnTo>
                    <a:pt x="330" y="652"/>
                  </a:lnTo>
                  <a:lnTo>
                    <a:pt x="330" y="648"/>
                  </a:lnTo>
                  <a:lnTo>
                    <a:pt x="330" y="648"/>
                  </a:lnTo>
                  <a:lnTo>
                    <a:pt x="330" y="596"/>
                  </a:lnTo>
                  <a:lnTo>
                    <a:pt x="330" y="596"/>
                  </a:lnTo>
                  <a:lnTo>
                    <a:pt x="330" y="568"/>
                  </a:lnTo>
                  <a:lnTo>
                    <a:pt x="330" y="568"/>
                  </a:lnTo>
                  <a:lnTo>
                    <a:pt x="330" y="560"/>
                  </a:lnTo>
                  <a:lnTo>
                    <a:pt x="330" y="554"/>
                  </a:lnTo>
                  <a:lnTo>
                    <a:pt x="330" y="554"/>
                  </a:lnTo>
                  <a:lnTo>
                    <a:pt x="334" y="552"/>
                  </a:lnTo>
                  <a:lnTo>
                    <a:pt x="342" y="552"/>
                  </a:lnTo>
                  <a:lnTo>
                    <a:pt x="358" y="552"/>
                  </a:lnTo>
                  <a:lnTo>
                    <a:pt x="358" y="552"/>
                  </a:lnTo>
                  <a:lnTo>
                    <a:pt x="417" y="552"/>
                  </a:lnTo>
                  <a:lnTo>
                    <a:pt x="417" y="552"/>
                  </a:lnTo>
                  <a:lnTo>
                    <a:pt x="427" y="552"/>
                  </a:lnTo>
                  <a:lnTo>
                    <a:pt x="437" y="552"/>
                  </a:lnTo>
                  <a:lnTo>
                    <a:pt x="437" y="552"/>
                  </a:lnTo>
                  <a:lnTo>
                    <a:pt x="439" y="552"/>
                  </a:lnTo>
                  <a:lnTo>
                    <a:pt x="439" y="554"/>
                  </a:lnTo>
                  <a:lnTo>
                    <a:pt x="439" y="554"/>
                  </a:lnTo>
                  <a:lnTo>
                    <a:pt x="441" y="560"/>
                  </a:lnTo>
                  <a:lnTo>
                    <a:pt x="441" y="566"/>
                  </a:lnTo>
                  <a:lnTo>
                    <a:pt x="439" y="578"/>
                  </a:lnTo>
                  <a:lnTo>
                    <a:pt x="439" y="578"/>
                  </a:lnTo>
                  <a:close/>
                  <a:moveTo>
                    <a:pt x="495" y="510"/>
                  </a:moveTo>
                  <a:lnTo>
                    <a:pt x="495" y="510"/>
                  </a:lnTo>
                  <a:lnTo>
                    <a:pt x="495" y="486"/>
                  </a:lnTo>
                  <a:lnTo>
                    <a:pt x="495" y="460"/>
                  </a:lnTo>
                  <a:lnTo>
                    <a:pt x="495" y="460"/>
                  </a:lnTo>
                  <a:lnTo>
                    <a:pt x="495" y="432"/>
                  </a:lnTo>
                  <a:lnTo>
                    <a:pt x="495" y="432"/>
                  </a:lnTo>
                  <a:lnTo>
                    <a:pt x="495" y="424"/>
                  </a:lnTo>
                  <a:lnTo>
                    <a:pt x="495" y="418"/>
                  </a:lnTo>
                  <a:lnTo>
                    <a:pt x="495" y="418"/>
                  </a:lnTo>
                  <a:lnTo>
                    <a:pt x="501" y="416"/>
                  </a:lnTo>
                  <a:lnTo>
                    <a:pt x="509" y="416"/>
                  </a:lnTo>
                  <a:lnTo>
                    <a:pt x="523" y="416"/>
                  </a:lnTo>
                  <a:lnTo>
                    <a:pt x="523" y="416"/>
                  </a:lnTo>
                  <a:lnTo>
                    <a:pt x="581" y="416"/>
                  </a:lnTo>
                  <a:lnTo>
                    <a:pt x="581" y="416"/>
                  </a:lnTo>
                  <a:lnTo>
                    <a:pt x="593" y="416"/>
                  </a:lnTo>
                  <a:lnTo>
                    <a:pt x="601" y="416"/>
                  </a:lnTo>
                  <a:lnTo>
                    <a:pt x="605" y="418"/>
                  </a:lnTo>
                  <a:lnTo>
                    <a:pt x="605" y="418"/>
                  </a:lnTo>
                  <a:lnTo>
                    <a:pt x="605" y="422"/>
                  </a:lnTo>
                  <a:lnTo>
                    <a:pt x="605" y="428"/>
                  </a:lnTo>
                  <a:lnTo>
                    <a:pt x="605" y="438"/>
                  </a:lnTo>
                  <a:lnTo>
                    <a:pt x="605" y="438"/>
                  </a:lnTo>
                  <a:lnTo>
                    <a:pt x="605" y="472"/>
                  </a:lnTo>
                  <a:lnTo>
                    <a:pt x="605" y="472"/>
                  </a:lnTo>
                  <a:lnTo>
                    <a:pt x="605" y="516"/>
                  </a:lnTo>
                  <a:lnTo>
                    <a:pt x="605" y="516"/>
                  </a:lnTo>
                  <a:lnTo>
                    <a:pt x="513" y="516"/>
                  </a:lnTo>
                  <a:lnTo>
                    <a:pt x="513" y="516"/>
                  </a:lnTo>
                  <a:lnTo>
                    <a:pt x="505" y="516"/>
                  </a:lnTo>
                  <a:lnTo>
                    <a:pt x="497" y="516"/>
                  </a:lnTo>
                  <a:lnTo>
                    <a:pt x="497" y="516"/>
                  </a:lnTo>
                  <a:lnTo>
                    <a:pt x="495" y="514"/>
                  </a:lnTo>
                  <a:lnTo>
                    <a:pt x="495" y="510"/>
                  </a:lnTo>
                  <a:lnTo>
                    <a:pt x="495" y="510"/>
                  </a:lnTo>
                  <a:close/>
                  <a:moveTo>
                    <a:pt x="605" y="578"/>
                  </a:moveTo>
                  <a:lnTo>
                    <a:pt x="605" y="578"/>
                  </a:lnTo>
                  <a:lnTo>
                    <a:pt x="605" y="610"/>
                  </a:lnTo>
                  <a:lnTo>
                    <a:pt x="605" y="610"/>
                  </a:lnTo>
                  <a:lnTo>
                    <a:pt x="605" y="654"/>
                  </a:lnTo>
                  <a:lnTo>
                    <a:pt x="605" y="654"/>
                  </a:lnTo>
                  <a:lnTo>
                    <a:pt x="511" y="654"/>
                  </a:lnTo>
                  <a:lnTo>
                    <a:pt x="511" y="654"/>
                  </a:lnTo>
                  <a:lnTo>
                    <a:pt x="503" y="654"/>
                  </a:lnTo>
                  <a:lnTo>
                    <a:pt x="497" y="654"/>
                  </a:lnTo>
                  <a:lnTo>
                    <a:pt x="497" y="654"/>
                  </a:lnTo>
                  <a:lnTo>
                    <a:pt x="495" y="652"/>
                  </a:lnTo>
                  <a:lnTo>
                    <a:pt x="495" y="648"/>
                  </a:lnTo>
                  <a:lnTo>
                    <a:pt x="495" y="648"/>
                  </a:lnTo>
                  <a:lnTo>
                    <a:pt x="495" y="596"/>
                  </a:lnTo>
                  <a:lnTo>
                    <a:pt x="495" y="596"/>
                  </a:lnTo>
                  <a:lnTo>
                    <a:pt x="495" y="568"/>
                  </a:lnTo>
                  <a:lnTo>
                    <a:pt x="495" y="568"/>
                  </a:lnTo>
                  <a:lnTo>
                    <a:pt x="495" y="560"/>
                  </a:lnTo>
                  <a:lnTo>
                    <a:pt x="495" y="554"/>
                  </a:lnTo>
                  <a:lnTo>
                    <a:pt x="495" y="554"/>
                  </a:lnTo>
                  <a:lnTo>
                    <a:pt x="501" y="552"/>
                  </a:lnTo>
                  <a:lnTo>
                    <a:pt x="509" y="552"/>
                  </a:lnTo>
                  <a:lnTo>
                    <a:pt x="523" y="552"/>
                  </a:lnTo>
                  <a:lnTo>
                    <a:pt x="523" y="552"/>
                  </a:lnTo>
                  <a:lnTo>
                    <a:pt x="583" y="552"/>
                  </a:lnTo>
                  <a:lnTo>
                    <a:pt x="583" y="552"/>
                  </a:lnTo>
                  <a:lnTo>
                    <a:pt x="591" y="552"/>
                  </a:lnTo>
                  <a:lnTo>
                    <a:pt x="601" y="552"/>
                  </a:lnTo>
                  <a:lnTo>
                    <a:pt x="601" y="552"/>
                  </a:lnTo>
                  <a:lnTo>
                    <a:pt x="603" y="552"/>
                  </a:lnTo>
                  <a:lnTo>
                    <a:pt x="605" y="554"/>
                  </a:lnTo>
                  <a:lnTo>
                    <a:pt x="605" y="554"/>
                  </a:lnTo>
                  <a:lnTo>
                    <a:pt x="605" y="560"/>
                  </a:lnTo>
                  <a:lnTo>
                    <a:pt x="605" y="566"/>
                  </a:lnTo>
                  <a:lnTo>
                    <a:pt x="605" y="578"/>
                  </a:lnTo>
                  <a:lnTo>
                    <a:pt x="605" y="578"/>
                  </a:lnTo>
                  <a:close/>
                  <a:moveTo>
                    <a:pt x="605" y="302"/>
                  </a:moveTo>
                  <a:lnTo>
                    <a:pt x="605" y="302"/>
                  </a:lnTo>
                  <a:lnTo>
                    <a:pt x="605" y="334"/>
                  </a:lnTo>
                  <a:lnTo>
                    <a:pt x="605" y="334"/>
                  </a:lnTo>
                  <a:lnTo>
                    <a:pt x="605" y="378"/>
                  </a:lnTo>
                  <a:lnTo>
                    <a:pt x="605" y="378"/>
                  </a:lnTo>
                  <a:lnTo>
                    <a:pt x="513" y="378"/>
                  </a:lnTo>
                  <a:lnTo>
                    <a:pt x="513" y="378"/>
                  </a:lnTo>
                  <a:lnTo>
                    <a:pt x="505" y="380"/>
                  </a:lnTo>
                  <a:lnTo>
                    <a:pt x="497" y="378"/>
                  </a:lnTo>
                  <a:lnTo>
                    <a:pt x="497" y="378"/>
                  </a:lnTo>
                  <a:lnTo>
                    <a:pt x="495" y="376"/>
                  </a:lnTo>
                  <a:lnTo>
                    <a:pt x="495" y="374"/>
                  </a:lnTo>
                  <a:lnTo>
                    <a:pt x="495" y="374"/>
                  </a:lnTo>
                  <a:lnTo>
                    <a:pt x="495" y="348"/>
                  </a:lnTo>
                  <a:lnTo>
                    <a:pt x="495" y="322"/>
                  </a:lnTo>
                  <a:lnTo>
                    <a:pt x="495" y="322"/>
                  </a:lnTo>
                  <a:lnTo>
                    <a:pt x="495" y="294"/>
                  </a:lnTo>
                  <a:lnTo>
                    <a:pt x="495" y="294"/>
                  </a:lnTo>
                  <a:lnTo>
                    <a:pt x="495" y="286"/>
                  </a:lnTo>
                  <a:lnTo>
                    <a:pt x="495" y="280"/>
                  </a:lnTo>
                  <a:lnTo>
                    <a:pt x="495" y="280"/>
                  </a:lnTo>
                  <a:lnTo>
                    <a:pt x="501" y="278"/>
                  </a:lnTo>
                  <a:lnTo>
                    <a:pt x="509" y="278"/>
                  </a:lnTo>
                  <a:lnTo>
                    <a:pt x="523" y="278"/>
                  </a:lnTo>
                  <a:lnTo>
                    <a:pt x="523" y="278"/>
                  </a:lnTo>
                  <a:lnTo>
                    <a:pt x="581" y="278"/>
                  </a:lnTo>
                  <a:lnTo>
                    <a:pt x="581" y="278"/>
                  </a:lnTo>
                  <a:lnTo>
                    <a:pt x="595" y="278"/>
                  </a:lnTo>
                  <a:lnTo>
                    <a:pt x="601" y="278"/>
                  </a:lnTo>
                  <a:lnTo>
                    <a:pt x="605" y="280"/>
                  </a:lnTo>
                  <a:lnTo>
                    <a:pt x="605" y="280"/>
                  </a:lnTo>
                  <a:lnTo>
                    <a:pt x="605" y="284"/>
                  </a:lnTo>
                  <a:lnTo>
                    <a:pt x="605" y="290"/>
                  </a:lnTo>
                  <a:lnTo>
                    <a:pt x="605" y="302"/>
                  </a:lnTo>
                  <a:lnTo>
                    <a:pt x="605" y="302"/>
                  </a:lnTo>
                  <a:close/>
                  <a:moveTo>
                    <a:pt x="783" y="438"/>
                  </a:moveTo>
                  <a:lnTo>
                    <a:pt x="783" y="438"/>
                  </a:lnTo>
                  <a:lnTo>
                    <a:pt x="783" y="470"/>
                  </a:lnTo>
                  <a:lnTo>
                    <a:pt x="783" y="470"/>
                  </a:lnTo>
                  <a:lnTo>
                    <a:pt x="783" y="516"/>
                  </a:lnTo>
                  <a:lnTo>
                    <a:pt x="783" y="516"/>
                  </a:lnTo>
                  <a:lnTo>
                    <a:pt x="691" y="516"/>
                  </a:lnTo>
                  <a:lnTo>
                    <a:pt x="691" y="516"/>
                  </a:lnTo>
                  <a:lnTo>
                    <a:pt x="683" y="516"/>
                  </a:lnTo>
                  <a:lnTo>
                    <a:pt x="675" y="516"/>
                  </a:lnTo>
                  <a:lnTo>
                    <a:pt x="675" y="516"/>
                  </a:lnTo>
                  <a:lnTo>
                    <a:pt x="673" y="514"/>
                  </a:lnTo>
                  <a:lnTo>
                    <a:pt x="673" y="512"/>
                  </a:lnTo>
                  <a:lnTo>
                    <a:pt x="673" y="512"/>
                  </a:lnTo>
                  <a:lnTo>
                    <a:pt x="673" y="498"/>
                  </a:lnTo>
                  <a:lnTo>
                    <a:pt x="673" y="486"/>
                  </a:lnTo>
                  <a:lnTo>
                    <a:pt x="673" y="460"/>
                  </a:lnTo>
                  <a:lnTo>
                    <a:pt x="673" y="460"/>
                  </a:lnTo>
                  <a:lnTo>
                    <a:pt x="673" y="434"/>
                  </a:lnTo>
                  <a:lnTo>
                    <a:pt x="673" y="434"/>
                  </a:lnTo>
                  <a:lnTo>
                    <a:pt x="673" y="424"/>
                  </a:lnTo>
                  <a:lnTo>
                    <a:pt x="673" y="418"/>
                  </a:lnTo>
                  <a:lnTo>
                    <a:pt x="673" y="418"/>
                  </a:lnTo>
                  <a:lnTo>
                    <a:pt x="679" y="416"/>
                  </a:lnTo>
                  <a:lnTo>
                    <a:pt x="687" y="416"/>
                  </a:lnTo>
                  <a:lnTo>
                    <a:pt x="701" y="416"/>
                  </a:lnTo>
                  <a:lnTo>
                    <a:pt x="701" y="416"/>
                  </a:lnTo>
                  <a:lnTo>
                    <a:pt x="759" y="416"/>
                  </a:lnTo>
                  <a:lnTo>
                    <a:pt x="759" y="416"/>
                  </a:lnTo>
                  <a:lnTo>
                    <a:pt x="771" y="416"/>
                  </a:lnTo>
                  <a:lnTo>
                    <a:pt x="779" y="416"/>
                  </a:lnTo>
                  <a:lnTo>
                    <a:pt x="783" y="418"/>
                  </a:lnTo>
                  <a:lnTo>
                    <a:pt x="783" y="418"/>
                  </a:lnTo>
                  <a:lnTo>
                    <a:pt x="783" y="422"/>
                  </a:lnTo>
                  <a:lnTo>
                    <a:pt x="783" y="428"/>
                  </a:lnTo>
                  <a:lnTo>
                    <a:pt x="783" y="438"/>
                  </a:lnTo>
                  <a:lnTo>
                    <a:pt x="783" y="438"/>
                  </a:lnTo>
                  <a:close/>
                  <a:moveTo>
                    <a:pt x="783" y="302"/>
                  </a:moveTo>
                  <a:lnTo>
                    <a:pt x="783" y="302"/>
                  </a:lnTo>
                  <a:lnTo>
                    <a:pt x="783" y="334"/>
                  </a:lnTo>
                  <a:lnTo>
                    <a:pt x="783" y="334"/>
                  </a:lnTo>
                  <a:lnTo>
                    <a:pt x="783" y="378"/>
                  </a:lnTo>
                  <a:lnTo>
                    <a:pt x="783" y="378"/>
                  </a:lnTo>
                  <a:lnTo>
                    <a:pt x="691" y="378"/>
                  </a:lnTo>
                  <a:lnTo>
                    <a:pt x="691" y="378"/>
                  </a:lnTo>
                  <a:lnTo>
                    <a:pt x="683" y="380"/>
                  </a:lnTo>
                  <a:lnTo>
                    <a:pt x="675" y="378"/>
                  </a:lnTo>
                  <a:lnTo>
                    <a:pt x="675" y="378"/>
                  </a:lnTo>
                  <a:lnTo>
                    <a:pt x="673" y="376"/>
                  </a:lnTo>
                  <a:lnTo>
                    <a:pt x="673" y="374"/>
                  </a:lnTo>
                  <a:lnTo>
                    <a:pt x="673" y="374"/>
                  </a:lnTo>
                  <a:lnTo>
                    <a:pt x="673" y="348"/>
                  </a:lnTo>
                  <a:lnTo>
                    <a:pt x="673" y="322"/>
                  </a:lnTo>
                  <a:lnTo>
                    <a:pt x="673" y="322"/>
                  </a:lnTo>
                  <a:lnTo>
                    <a:pt x="673" y="294"/>
                  </a:lnTo>
                  <a:lnTo>
                    <a:pt x="673" y="294"/>
                  </a:lnTo>
                  <a:lnTo>
                    <a:pt x="673" y="286"/>
                  </a:lnTo>
                  <a:lnTo>
                    <a:pt x="673" y="280"/>
                  </a:lnTo>
                  <a:lnTo>
                    <a:pt x="673" y="280"/>
                  </a:lnTo>
                  <a:lnTo>
                    <a:pt x="679" y="278"/>
                  </a:lnTo>
                  <a:lnTo>
                    <a:pt x="687" y="278"/>
                  </a:lnTo>
                  <a:lnTo>
                    <a:pt x="701" y="278"/>
                  </a:lnTo>
                  <a:lnTo>
                    <a:pt x="701" y="278"/>
                  </a:lnTo>
                  <a:lnTo>
                    <a:pt x="759" y="278"/>
                  </a:lnTo>
                  <a:lnTo>
                    <a:pt x="759" y="278"/>
                  </a:lnTo>
                  <a:lnTo>
                    <a:pt x="771" y="278"/>
                  </a:lnTo>
                  <a:lnTo>
                    <a:pt x="779" y="278"/>
                  </a:lnTo>
                  <a:lnTo>
                    <a:pt x="783" y="280"/>
                  </a:lnTo>
                  <a:lnTo>
                    <a:pt x="783" y="280"/>
                  </a:lnTo>
                  <a:lnTo>
                    <a:pt x="783" y="284"/>
                  </a:lnTo>
                  <a:lnTo>
                    <a:pt x="783" y="290"/>
                  </a:lnTo>
                  <a:lnTo>
                    <a:pt x="783" y="302"/>
                  </a:lnTo>
                  <a:lnTo>
                    <a:pt x="783" y="302"/>
                  </a:lnTo>
                  <a:close/>
                  <a:moveTo>
                    <a:pt x="849" y="356"/>
                  </a:moveTo>
                  <a:lnTo>
                    <a:pt x="849" y="356"/>
                  </a:lnTo>
                  <a:lnTo>
                    <a:pt x="849" y="322"/>
                  </a:lnTo>
                  <a:lnTo>
                    <a:pt x="849" y="322"/>
                  </a:lnTo>
                  <a:lnTo>
                    <a:pt x="849" y="278"/>
                  </a:lnTo>
                  <a:lnTo>
                    <a:pt x="849" y="278"/>
                  </a:lnTo>
                  <a:lnTo>
                    <a:pt x="943" y="278"/>
                  </a:lnTo>
                  <a:lnTo>
                    <a:pt x="943" y="278"/>
                  </a:lnTo>
                  <a:lnTo>
                    <a:pt x="951" y="278"/>
                  </a:lnTo>
                  <a:lnTo>
                    <a:pt x="959" y="278"/>
                  </a:lnTo>
                  <a:lnTo>
                    <a:pt x="959" y="278"/>
                  </a:lnTo>
                  <a:lnTo>
                    <a:pt x="959" y="280"/>
                  </a:lnTo>
                  <a:lnTo>
                    <a:pt x="959" y="284"/>
                  </a:lnTo>
                  <a:lnTo>
                    <a:pt x="959" y="284"/>
                  </a:lnTo>
                  <a:lnTo>
                    <a:pt x="959" y="308"/>
                  </a:lnTo>
                  <a:lnTo>
                    <a:pt x="959" y="334"/>
                  </a:lnTo>
                  <a:lnTo>
                    <a:pt x="959" y="334"/>
                  </a:lnTo>
                  <a:lnTo>
                    <a:pt x="959" y="362"/>
                  </a:lnTo>
                  <a:lnTo>
                    <a:pt x="959" y="362"/>
                  </a:lnTo>
                  <a:lnTo>
                    <a:pt x="959" y="370"/>
                  </a:lnTo>
                  <a:lnTo>
                    <a:pt x="959" y="378"/>
                  </a:lnTo>
                  <a:lnTo>
                    <a:pt x="959" y="378"/>
                  </a:lnTo>
                  <a:lnTo>
                    <a:pt x="955" y="380"/>
                  </a:lnTo>
                  <a:lnTo>
                    <a:pt x="947" y="380"/>
                  </a:lnTo>
                  <a:lnTo>
                    <a:pt x="931" y="378"/>
                  </a:lnTo>
                  <a:lnTo>
                    <a:pt x="931" y="378"/>
                  </a:lnTo>
                  <a:lnTo>
                    <a:pt x="873" y="378"/>
                  </a:lnTo>
                  <a:lnTo>
                    <a:pt x="873" y="378"/>
                  </a:lnTo>
                  <a:lnTo>
                    <a:pt x="861" y="380"/>
                  </a:lnTo>
                  <a:lnTo>
                    <a:pt x="853" y="378"/>
                  </a:lnTo>
                  <a:lnTo>
                    <a:pt x="849" y="376"/>
                  </a:lnTo>
                  <a:lnTo>
                    <a:pt x="849" y="376"/>
                  </a:lnTo>
                  <a:lnTo>
                    <a:pt x="849" y="372"/>
                  </a:lnTo>
                  <a:lnTo>
                    <a:pt x="849" y="366"/>
                  </a:lnTo>
                  <a:lnTo>
                    <a:pt x="849" y="356"/>
                  </a:lnTo>
                  <a:lnTo>
                    <a:pt x="849" y="356"/>
                  </a:lnTo>
                  <a:close/>
                  <a:moveTo>
                    <a:pt x="959" y="654"/>
                  </a:moveTo>
                  <a:lnTo>
                    <a:pt x="959" y="654"/>
                  </a:lnTo>
                  <a:lnTo>
                    <a:pt x="955" y="654"/>
                  </a:lnTo>
                  <a:lnTo>
                    <a:pt x="947" y="654"/>
                  </a:lnTo>
                  <a:lnTo>
                    <a:pt x="931" y="654"/>
                  </a:lnTo>
                  <a:lnTo>
                    <a:pt x="931" y="654"/>
                  </a:lnTo>
                  <a:lnTo>
                    <a:pt x="873" y="654"/>
                  </a:lnTo>
                  <a:lnTo>
                    <a:pt x="873" y="654"/>
                  </a:lnTo>
                  <a:lnTo>
                    <a:pt x="863" y="654"/>
                  </a:lnTo>
                  <a:lnTo>
                    <a:pt x="853" y="654"/>
                  </a:lnTo>
                  <a:lnTo>
                    <a:pt x="853" y="654"/>
                  </a:lnTo>
                  <a:lnTo>
                    <a:pt x="851" y="654"/>
                  </a:lnTo>
                  <a:lnTo>
                    <a:pt x="849" y="652"/>
                  </a:lnTo>
                  <a:lnTo>
                    <a:pt x="849" y="652"/>
                  </a:lnTo>
                  <a:lnTo>
                    <a:pt x="849" y="648"/>
                  </a:lnTo>
                  <a:lnTo>
                    <a:pt x="849" y="642"/>
                  </a:lnTo>
                  <a:lnTo>
                    <a:pt x="849" y="630"/>
                  </a:lnTo>
                  <a:lnTo>
                    <a:pt x="849" y="630"/>
                  </a:lnTo>
                  <a:lnTo>
                    <a:pt x="849" y="598"/>
                  </a:lnTo>
                  <a:lnTo>
                    <a:pt x="849" y="598"/>
                  </a:lnTo>
                  <a:lnTo>
                    <a:pt x="849" y="552"/>
                  </a:lnTo>
                  <a:lnTo>
                    <a:pt x="849" y="552"/>
                  </a:lnTo>
                  <a:lnTo>
                    <a:pt x="943" y="552"/>
                  </a:lnTo>
                  <a:lnTo>
                    <a:pt x="943" y="552"/>
                  </a:lnTo>
                  <a:lnTo>
                    <a:pt x="951" y="552"/>
                  </a:lnTo>
                  <a:lnTo>
                    <a:pt x="955" y="552"/>
                  </a:lnTo>
                  <a:lnTo>
                    <a:pt x="959" y="552"/>
                  </a:lnTo>
                  <a:lnTo>
                    <a:pt x="959" y="552"/>
                  </a:lnTo>
                  <a:lnTo>
                    <a:pt x="959" y="554"/>
                  </a:lnTo>
                  <a:lnTo>
                    <a:pt x="959" y="558"/>
                  </a:lnTo>
                  <a:lnTo>
                    <a:pt x="959" y="558"/>
                  </a:lnTo>
                  <a:lnTo>
                    <a:pt x="959" y="610"/>
                  </a:lnTo>
                  <a:lnTo>
                    <a:pt x="959" y="610"/>
                  </a:lnTo>
                  <a:lnTo>
                    <a:pt x="959" y="638"/>
                  </a:lnTo>
                  <a:lnTo>
                    <a:pt x="959" y="638"/>
                  </a:lnTo>
                  <a:lnTo>
                    <a:pt x="959" y="646"/>
                  </a:lnTo>
                  <a:lnTo>
                    <a:pt x="959" y="654"/>
                  </a:lnTo>
                  <a:lnTo>
                    <a:pt x="959" y="654"/>
                  </a:lnTo>
                  <a:close/>
                  <a:moveTo>
                    <a:pt x="959" y="514"/>
                  </a:moveTo>
                  <a:lnTo>
                    <a:pt x="959" y="514"/>
                  </a:lnTo>
                  <a:lnTo>
                    <a:pt x="955" y="516"/>
                  </a:lnTo>
                  <a:lnTo>
                    <a:pt x="947" y="516"/>
                  </a:lnTo>
                  <a:lnTo>
                    <a:pt x="931" y="516"/>
                  </a:lnTo>
                  <a:lnTo>
                    <a:pt x="931" y="516"/>
                  </a:lnTo>
                  <a:lnTo>
                    <a:pt x="873" y="516"/>
                  </a:lnTo>
                  <a:lnTo>
                    <a:pt x="873" y="516"/>
                  </a:lnTo>
                  <a:lnTo>
                    <a:pt x="861" y="516"/>
                  </a:lnTo>
                  <a:lnTo>
                    <a:pt x="853" y="516"/>
                  </a:lnTo>
                  <a:lnTo>
                    <a:pt x="849" y="514"/>
                  </a:lnTo>
                  <a:lnTo>
                    <a:pt x="849" y="514"/>
                  </a:lnTo>
                  <a:lnTo>
                    <a:pt x="849" y="510"/>
                  </a:lnTo>
                  <a:lnTo>
                    <a:pt x="849" y="504"/>
                  </a:lnTo>
                  <a:lnTo>
                    <a:pt x="849" y="494"/>
                  </a:lnTo>
                  <a:lnTo>
                    <a:pt x="849" y="494"/>
                  </a:lnTo>
                  <a:lnTo>
                    <a:pt x="849" y="462"/>
                  </a:lnTo>
                  <a:lnTo>
                    <a:pt x="849" y="462"/>
                  </a:lnTo>
                  <a:lnTo>
                    <a:pt x="849" y="416"/>
                  </a:lnTo>
                  <a:lnTo>
                    <a:pt x="849" y="416"/>
                  </a:lnTo>
                  <a:lnTo>
                    <a:pt x="941" y="416"/>
                  </a:lnTo>
                  <a:lnTo>
                    <a:pt x="941" y="416"/>
                  </a:lnTo>
                  <a:lnTo>
                    <a:pt x="949" y="416"/>
                  </a:lnTo>
                  <a:lnTo>
                    <a:pt x="955" y="416"/>
                  </a:lnTo>
                  <a:lnTo>
                    <a:pt x="957" y="416"/>
                  </a:lnTo>
                  <a:lnTo>
                    <a:pt x="957" y="416"/>
                  </a:lnTo>
                  <a:lnTo>
                    <a:pt x="959" y="418"/>
                  </a:lnTo>
                  <a:lnTo>
                    <a:pt x="959" y="420"/>
                  </a:lnTo>
                  <a:lnTo>
                    <a:pt x="959" y="420"/>
                  </a:lnTo>
                  <a:lnTo>
                    <a:pt x="961" y="432"/>
                  </a:lnTo>
                  <a:lnTo>
                    <a:pt x="961" y="446"/>
                  </a:lnTo>
                  <a:lnTo>
                    <a:pt x="959" y="472"/>
                  </a:lnTo>
                  <a:lnTo>
                    <a:pt x="959" y="472"/>
                  </a:lnTo>
                  <a:lnTo>
                    <a:pt x="959" y="498"/>
                  </a:lnTo>
                  <a:lnTo>
                    <a:pt x="959" y="498"/>
                  </a:lnTo>
                  <a:lnTo>
                    <a:pt x="959" y="506"/>
                  </a:lnTo>
                  <a:lnTo>
                    <a:pt x="959" y="514"/>
                  </a:lnTo>
                  <a:lnTo>
                    <a:pt x="959" y="514"/>
                  </a:lnTo>
                  <a:close/>
                  <a:moveTo>
                    <a:pt x="1003" y="418"/>
                  </a:moveTo>
                  <a:lnTo>
                    <a:pt x="1003" y="418"/>
                  </a:lnTo>
                  <a:lnTo>
                    <a:pt x="1007" y="416"/>
                  </a:lnTo>
                  <a:lnTo>
                    <a:pt x="1015" y="416"/>
                  </a:lnTo>
                  <a:lnTo>
                    <a:pt x="1029" y="416"/>
                  </a:lnTo>
                  <a:lnTo>
                    <a:pt x="1029" y="416"/>
                  </a:lnTo>
                  <a:lnTo>
                    <a:pt x="1087" y="416"/>
                  </a:lnTo>
                  <a:lnTo>
                    <a:pt x="1087" y="416"/>
                  </a:lnTo>
                  <a:lnTo>
                    <a:pt x="1102" y="416"/>
                  </a:lnTo>
                  <a:lnTo>
                    <a:pt x="1108" y="416"/>
                  </a:lnTo>
                  <a:lnTo>
                    <a:pt x="1112" y="418"/>
                  </a:lnTo>
                  <a:lnTo>
                    <a:pt x="1112" y="418"/>
                  </a:lnTo>
                  <a:lnTo>
                    <a:pt x="1114" y="422"/>
                  </a:lnTo>
                  <a:lnTo>
                    <a:pt x="1114" y="428"/>
                  </a:lnTo>
                  <a:lnTo>
                    <a:pt x="1112" y="438"/>
                  </a:lnTo>
                  <a:lnTo>
                    <a:pt x="1112" y="438"/>
                  </a:lnTo>
                  <a:lnTo>
                    <a:pt x="1112" y="472"/>
                  </a:lnTo>
                  <a:lnTo>
                    <a:pt x="1112" y="472"/>
                  </a:lnTo>
                  <a:lnTo>
                    <a:pt x="1112" y="516"/>
                  </a:lnTo>
                  <a:lnTo>
                    <a:pt x="1112" y="516"/>
                  </a:lnTo>
                  <a:lnTo>
                    <a:pt x="1021" y="516"/>
                  </a:lnTo>
                  <a:lnTo>
                    <a:pt x="1021" y="516"/>
                  </a:lnTo>
                  <a:lnTo>
                    <a:pt x="1013" y="516"/>
                  </a:lnTo>
                  <a:lnTo>
                    <a:pt x="1005" y="516"/>
                  </a:lnTo>
                  <a:lnTo>
                    <a:pt x="1005" y="516"/>
                  </a:lnTo>
                  <a:lnTo>
                    <a:pt x="1003" y="514"/>
                  </a:lnTo>
                  <a:lnTo>
                    <a:pt x="1003" y="510"/>
                  </a:lnTo>
                  <a:lnTo>
                    <a:pt x="1003" y="510"/>
                  </a:lnTo>
                  <a:lnTo>
                    <a:pt x="1003" y="486"/>
                  </a:lnTo>
                  <a:lnTo>
                    <a:pt x="1003" y="460"/>
                  </a:lnTo>
                  <a:lnTo>
                    <a:pt x="1003" y="460"/>
                  </a:lnTo>
                  <a:lnTo>
                    <a:pt x="1003" y="432"/>
                  </a:lnTo>
                  <a:lnTo>
                    <a:pt x="1003" y="432"/>
                  </a:lnTo>
                  <a:lnTo>
                    <a:pt x="1003" y="424"/>
                  </a:lnTo>
                  <a:lnTo>
                    <a:pt x="1003" y="418"/>
                  </a:lnTo>
                  <a:lnTo>
                    <a:pt x="1003" y="418"/>
                  </a:lnTo>
                  <a:close/>
                  <a:moveTo>
                    <a:pt x="1112" y="578"/>
                  </a:moveTo>
                  <a:lnTo>
                    <a:pt x="1112" y="578"/>
                  </a:lnTo>
                  <a:lnTo>
                    <a:pt x="1112" y="610"/>
                  </a:lnTo>
                  <a:lnTo>
                    <a:pt x="1112" y="610"/>
                  </a:lnTo>
                  <a:lnTo>
                    <a:pt x="1112" y="654"/>
                  </a:lnTo>
                  <a:lnTo>
                    <a:pt x="1112" y="654"/>
                  </a:lnTo>
                  <a:lnTo>
                    <a:pt x="1019" y="654"/>
                  </a:lnTo>
                  <a:lnTo>
                    <a:pt x="1019" y="654"/>
                  </a:lnTo>
                  <a:lnTo>
                    <a:pt x="1011" y="654"/>
                  </a:lnTo>
                  <a:lnTo>
                    <a:pt x="1003" y="654"/>
                  </a:lnTo>
                  <a:lnTo>
                    <a:pt x="1003" y="654"/>
                  </a:lnTo>
                  <a:lnTo>
                    <a:pt x="1003" y="652"/>
                  </a:lnTo>
                  <a:lnTo>
                    <a:pt x="1003" y="648"/>
                  </a:lnTo>
                  <a:lnTo>
                    <a:pt x="1003" y="648"/>
                  </a:lnTo>
                  <a:lnTo>
                    <a:pt x="1003" y="596"/>
                  </a:lnTo>
                  <a:lnTo>
                    <a:pt x="1003" y="596"/>
                  </a:lnTo>
                  <a:lnTo>
                    <a:pt x="1003" y="568"/>
                  </a:lnTo>
                  <a:lnTo>
                    <a:pt x="1003" y="568"/>
                  </a:lnTo>
                  <a:lnTo>
                    <a:pt x="1003" y="560"/>
                  </a:lnTo>
                  <a:lnTo>
                    <a:pt x="1003" y="554"/>
                  </a:lnTo>
                  <a:lnTo>
                    <a:pt x="1003" y="554"/>
                  </a:lnTo>
                  <a:lnTo>
                    <a:pt x="1007" y="552"/>
                  </a:lnTo>
                  <a:lnTo>
                    <a:pt x="1015" y="552"/>
                  </a:lnTo>
                  <a:lnTo>
                    <a:pt x="1031" y="552"/>
                  </a:lnTo>
                  <a:lnTo>
                    <a:pt x="1031" y="552"/>
                  </a:lnTo>
                  <a:lnTo>
                    <a:pt x="1089" y="552"/>
                  </a:lnTo>
                  <a:lnTo>
                    <a:pt x="1089" y="552"/>
                  </a:lnTo>
                  <a:lnTo>
                    <a:pt x="1100" y="552"/>
                  </a:lnTo>
                  <a:lnTo>
                    <a:pt x="1110" y="552"/>
                  </a:lnTo>
                  <a:lnTo>
                    <a:pt x="1110" y="552"/>
                  </a:lnTo>
                  <a:lnTo>
                    <a:pt x="1112" y="552"/>
                  </a:lnTo>
                  <a:lnTo>
                    <a:pt x="1112" y="554"/>
                  </a:lnTo>
                  <a:lnTo>
                    <a:pt x="1112" y="554"/>
                  </a:lnTo>
                  <a:lnTo>
                    <a:pt x="1114" y="560"/>
                  </a:lnTo>
                  <a:lnTo>
                    <a:pt x="1114" y="566"/>
                  </a:lnTo>
                  <a:lnTo>
                    <a:pt x="1112" y="578"/>
                  </a:lnTo>
                  <a:lnTo>
                    <a:pt x="1112" y="578"/>
                  </a:lnTo>
                  <a:close/>
                  <a:moveTo>
                    <a:pt x="1262" y="578"/>
                  </a:moveTo>
                  <a:lnTo>
                    <a:pt x="1262" y="578"/>
                  </a:lnTo>
                  <a:lnTo>
                    <a:pt x="1262" y="610"/>
                  </a:lnTo>
                  <a:lnTo>
                    <a:pt x="1262" y="610"/>
                  </a:lnTo>
                  <a:lnTo>
                    <a:pt x="1262" y="654"/>
                  </a:lnTo>
                  <a:lnTo>
                    <a:pt x="1262" y="654"/>
                  </a:lnTo>
                  <a:lnTo>
                    <a:pt x="1168" y="654"/>
                  </a:lnTo>
                  <a:lnTo>
                    <a:pt x="1168" y="654"/>
                  </a:lnTo>
                  <a:lnTo>
                    <a:pt x="1162" y="654"/>
                  </a:lnTo>
                  <a:lnTo>
                    <a:pt x="1154" y="654"/>
                  </a:lnTo>
                  <a:lnTo>
                    <a:pt x="1154" y="654"/>
                  </a:lnTo>
                  <a:lnTo>
                    <a:pt x="1154" y="652"/>
                  </a:lnTo>
                  <a:lnTo>
                    <a:pt x="1154" y="648"/>
                  </a:lnTo>
                  <a:lnTo>
                    <a:pt x="1154" y="648"/>
                  </a:lnTo>
                  <a:lnTo>
                    <a:pt x="1154" y="596"/>
                  </a:lnTo>
                  <a:lnTo>
                    <a:pt x="1154" y="596"/>
                  </a:lnTo>
                  <a:lnTo>
                    <a:pt x="1154" y="568"/>
                  </a:lnTo>
                  <a:lnTo>
                    <a:pt x="1154" y="568"/>
                  </a:lnTo>
                  <a:lnTo>
                    <a:pt x="1152" y="560"/>
                  </a:lnTo>
                  <a:lnTo>
                    <a:pt x="1154" y="554"/>
                  </a:lnTo>
                  <a:lnTo>
                    <a:pt x="1154" y="554"/>
                  </a:lnTo>
                  <a:lnTo>
                    <a:pt x="1158" y="552"/>
                  </a:lnTo>
                  <a:lnTo>
                    <a:pt x="1166" y="552"/>
                  </a:lnTo>
                  <a:lnTo>
                    <a:pt x="1180" y="552"/>
                  </a:lnTo>
                  <a:lnTo>
                    <a:pt x="1180" y="552"/>
                  </a:lnTo>
                  <a:lnTo>
                    <a:pt x="1240" y="552"/>
                  </a:lnTo>
                  <a:lnTo>
                    <a:pt x="1240" y="552"/>
                  </a:lnTo>
                  <a:lnTo>
                    <a:pt x="1250" y="552"/>
                  </a:lnTo>
                  <a:lnTo>
                    <a:pt x="1258" y="552"/>
                  </a:lnTo>
                  <a:lnTo>
                    <a:pt x="1258" y="552"/>
                  </a:lnTo>
                  <a:lnTo>
                    <a:pt x="1262" y="552"/>
                  </a:lnTo>
                  <a:lnTo>
                    <a:pt x="1262" y="554"/>
                  </a:lnTo>
                  <a:lnTo>
                    <a:pt x="1262" y="554"/>
                  </a:lnTo>
                  <a:lnTo>
                    <a:pt x="1262" y="560"/>
                  </a:lnTo>
                  <a:lnTo>
                    <a:pt x="1262" y="566"/>
                  </a:lnTo>
                  <a:lnTo>
                    <a:pt x="1262" y="578"/>
                  </a:lnTo>
                  <a:lnTo>
                    <a:pt x="1262" y="578"/>
                  </a:lnTo>
                  <a:close/>
                  <a:moveTo>
                    <a:pt x="1262" y="438"/>
                  </a:moveTo>
                  <a:lnTo>
                    <a:pt x="1262" y="438"/>
                  </a:lnTo>
                  <a:lnTo>
                    <a:pt x="1262" y="472"/>
                  </a:lnTo>
                  <a:lnTo>
                    <a:pt x="1262" y="472"/>
                  </a:lnTo>
                  <a:lnTo>
                    <a:pt x="1262" y="516"/>
                  </a:lnTo>
                  <a:lnTo>
                    <a:pt x="1262" y="516"/>
                  </a:lnTo>
                  <a:lnTo>
                    <a:pt x="1170" y="516"/>
                  </a:lnTo>
                  <a:lnTo>
                    <a:pt x="1170" y="516"/>
                  </a:lnTo>
                  <a:lnTo>
                    <a:pt x="1162" y="516"/>
                  </a:lnTo>
                  <a:lnTo>
                    <a:pt x="1154" y="516"/>
                  </a:lnTo>
                  <a:lnTo>
                    <a:pt x="1154" y="516"/>
                  </a:lnTo>
                  <a:lnTo>
                    <a:pt x="1154" y="514"/>
                  </a:lnTo>
                  <a:lnTo>
                    <a:pt x="1154" y="510"/>
                  </a:lnTo>
                  <a:lnTo>
                    <a:pt x="1154" y="510"/>
                  </a:lnTo>
                  <a:lnTo>
                    <a:pt x="1152" y="486"/>
                  </a:lnTo>
                  <a:lnTo>
                    <a:pt x="1154" y="460"/>
                  </a:lnTo>
                  <a:lnTo>
                    <a:pt x="1154" y="460"/>
                  </a:lnTo>
                  <a:lnTo>
                    <a:pt x="1154" y="432"/>
                  </a:lnTo>
                  <a:lnTo>
                    <a:pt x="1154" y="432"/>
                  </a:lnTo>
                  <a:lnTo>
                    <a:pt x="1152" y="424"/>
                  </a:lnTo>
                  <a:lnTo>
                    <a:pt x="1154" y="418"/>
                  </a:lnTo>
                  <a:lnTo>
                    <a:pt x="1154" y="418"/>
                  </a:lnTo>
                  <a:lnTo>
                    <a:pt x="1158" y="416"/>
                  </a:lnTo>
                  <a:lnTo>
                    <a:pt x="1166" y="416"/>
                  </a:lnTo>
                  <a:lnTo>
                    <a:pt x="1180" y="416"/>
                  </a:lnTo>
                  <a:lnTo>
                    <a:pt x="1180" y="416"/>
                  </a:lnTo>
                  <a:lnTo>
                    <a:pt x="1238" y="416"/>
                  </a:lnTo>
                  <a:lnTo>
                    <a:pt x="1238" y="416"/>
                  </a:lnTo>
                  <a:lnTo>
                    <a:pt x="1250" y="416"/>
                  </a:lnTo>
                  <a:lnTo>
                    <a:pt x="1258" y="416"/>
                  </a:lnTo>
                  <a:lnTo>
                    <a:pt x="1262" y="418"/>
                  </a:lnTo>
                  <a:lnTo>
                    <a:pt x="1262" y="418"/>
                  </a:lnTo>
                  <a:lnTo>
                    <a:pt x="1262" y="422"/>
                  </a:lnTo>
                  <a:lnTo>
                    <a:pt x="1262" y="428"/>
                  </a:lnTo>
                  <a:lnTo>
                    <a:pt x="1262" y="438"/>
                  </a:lnTo>
                  <a:lnTo>
                    <a:pt x="1262" y="438"/>
                  </a:lnTo>
                  <a:close/>
                  <a:moveTo>
                    <a:pt x="1302" y="418"/>
                  </a:moveTo>
                  <a:lnTo>
                    <a:pt x="1302" y="418"/>
                  </a:lnTo>
                  <a:lnTo>
                    <a:pt x="1308" y="416"/>
                  </a:lnTo>
                  <a:lnTo>
                    <a:pt x="1316" y="416"/>
                  </a:lnTo>
                  <a:lnTo>
                    <a:pt x="1330" y="416"/>
                  </a:lnTo>
                  <a:lnTo>
                    <a:pt x="1330" y="416"/>
                  </a:lnTo>
                  <a:lnTo>
                    <a:pt x="1388" y="416"/>
                  </a:lnTo>
                  <a:lnTo>
                    <a:pt x="1388" y="416"/>
                  </a:lnTo>
                  <a:lnTo>
                    <a:pt x="1400" y="416"/>
                  </a:lnTo>
                  <a:lnTo>
                    <a:pt x="1408" y="416"/>
                  </a:lnTo>
                  <a:lnTo>
                    <a:pt x="1410" y="418"/>
                  </a:lnTo>
                  <a:lnTo>
                    <a:pt x="1410" y="418"/>
                  </a:lnTo>
                  <a:lnTo>
                    <a:pt x="1412" y="422"/>
                  </a:lnTo>
                  <a:lnTo>
                    <a:pt x="1412" y="428"/>
                  </a:lnTo>
                  <a:lnTo>
                    <a:pt x="1410" y="438"/>
                  </a:lnTo>
                  <a:lnTo>
                    <a:pt x="1410" y="438"/>
                  </a:lnTo>
                  <a:lnTo>
                    <a:pt x="1410" y="472"/>
                  </a:lnTo>
                  <a:lnTo>
                    <a:pt x="1410" y="472"/>
                  </a:lnTo>
                  <a:lnTo>
                    <a:pt x="1410" y="516"/>
                  </a:lnTo>
                  <a:lnTo>
                    <a:pt x="1410" y="516"/>
                  </a:lnTo>
                  <a:lnTo>
                    <a:pt x="1320" y="516"/>
                  </a:lnTo>
                  <a:lnTo>
                    <a:pt x="1320" y="516"/>
                  </a:lnTo>
                  <a:lnTo>
                    <a:pt x="1312" y="516"/>
                  </a:lnTo>
                  <a:lnTo>
                    <a:pt x="1304" y="516"/>
                  </a:lnTo>
                  <a:lnTo>
                    <a:pt x="1304" y="516"/>
                  </a:lnTo>
                  <a:lnTo>
                    <a:pt x="1302" y="514"/>
                  </a:lnTo>
                  <a:lnTo>
                    <a:pt x="1302" y="510"/>
                  </a:lnTo>
                  <a:lnTo>
                    <a:pt x="1302" y="510"/>
                  </a:lnTo>
                  <a:lnTo>
                    <a:pt x="1302" y="486"/>
                  </a:lnTo>
                  <a:lnTo>
                    <a:pt x="1302" y="460"/>
                  </a:lnTo>
                  <a:lnTo>
                    <a:pt x="1302" y="460"/>
                  </a:lnTo>
                  <a:lnTo>
                    <a:pt x="1302" y="432"/>
                  </a:lnTo>
                  <a:lnTo>
                    <a:pt x="1302" y="432"/>
                  </a:lnTo>
                  <a:lnTo>
                    <a:pt x="1302" y="424"/>
                  </a:lnTo>
                  <a:lnTo>
                    <a:pt x="1302" y="418"/>
                  </a:lnTo>
                  <a:lnTo>
                    <a:pt x="1302" y="418"/>
                  </a:lnTo>
                  <a:close/>
                  <a:moveTo>
                    <a:pt x="1410" y="578"/>
                  </a:moveTo>
                  <a:lnTo>
                    <a:pt x="1410" y="578"/>
                  </a:lnTo>
                  <a:lnTo>
                    <a:pt x="1410" y="610"/>
                  </a:lnTo>
                  <a:lnTo>
                    <a:pt x="1410" y="610"/>
                  </a:lnTo>
                  <a:lnTo>
                    <a:pt x="1410" y="654"/>
                  </a:lnTo>
                  <a:lnTo>
                    <a:pt x="1410" y="654"/>
                  </a:lnTo>
                  <a:lnTo>
                    <a:pt x="1318" y="654"/>
                  </a:lnTo>
                  <a:lnTo>
                    <a:pt x="1318" y="654"/>
                  </a:lnTo>
                  <a:lnTo>
                    <a:pt x="1310" y="654"/>
                  </a:lnTo>
                  <a:lnTo>
                    <a:pt x="1304" y="654"/>
                  </a:lnTo>
                  <a:lnTo>
                    <a:pt x="1304" y="654"/>
                  </a:lnTo>
                  <a:lnTo>
                    <a:pt x="1302" y="652"/>
                  </a:lnTo>
                  <a:lnTo>
                    <a:pt x="1302" y="648"/>
                  </a:lnTo>
                  <a:lnTo>
                    <a:pt x="1302" y="648"/>
                  </a:lnTo>
                  <a:lnTo>
                    <a:pt x="1302" y="596"/>
                  </a:lnTo>
                  <a:lnTo>
                    <a:pt x="1302" y="596"/>
                  </a:lnTo>
                  <a:lnTo>
                    <a:pt x="1302" y="568"/>
                  </a:lnTo>
                  <a:lnTo>
                    <a:pt x="1302" y="568"/>
                  </a:lnTo>
                  <a:lnTo>
                    <a:pt x="1302" y="560"/>
                  </a:lnTo>
                  <a:lnTo>
                    <a:pt x="1302" y="554"/>
                  </a:lnTo>
                  <a:lnTo>
                    <a:pt x="1302" y="554"/>
                  </a:lnTo>
                  <a:lnTo>
                    <a:pt x="1308" y="552"/>
                  </a:lnTo>
                  <a:lnTo>
                    <a:pt x="1316" y="552"/>
                  </a:lnTo>
                  <a:lnTo>
                    <a:pt x="1330" y="552"/>
                  </a:lnTo>
                  <a:lnTo>
                    <a:pt x="1330" y="552"/>
                  </a:lnTo>
                  <a:lnTo>
                    <a:pt x="1390" y="552"/>
                  </a:lnTo>
                  <a:lnTo>
                    <a:pt x="1390" y="552"/>
                  </a:lnTo>
                  <a:lnTo>
                    <a:pt x="1398" y="552"/>
                  </a:lnTo>
                  <a:lnTo>
                    <a:pt x="1408" y="552"/>
                  </a:lnTo>
                  <a:lnTo>
                    <a:pt x="1408" y="552"/>
                  </a:lnTo>
                  <a:lnTo>
                    <a:pt x="1410" y="552"/>
                  </a:lnTo>
                  <a:lnTo>
                    <a:pt x="1410" y="554"/>
                  </a:lnTo>
                  <a:lnTo>
                    <a:pt x="1410" y="554"/>
                  </a:lnTo>
                  <a:lnTo>
                    <a:pt x="1412" y="560"/>
                  </a:lnTo>
                  <a:lnTo>
                    <a:pt x="1412" y="566"/>
                  </a:lnTo>
                  <a:lnTo>
                    <a:pt x="1410" y="578"/>
                  </a:lnTo>
                  <a:lnTo>
                    <a:pt x="1410" y="5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T America" panose="00000500000000000000" pitchFamily="2" charset="0"/>
                <a:ea typeface="+mn-ea"/>
                <a:cs typeface="+mn-cs"/>
              </a:endParaRPr>
            </a:p>
          </p:txBody>
        </p:sp>
        <p:sp>
          <p:nvSpPr>
            <p:cNvPr id="159" name="Freihandform 158"/>
            <p:cNvSpPr/>
            <p:nvPr/>
          </p:nvSpPr>
          <p:spPr>
            <a:xfrm flipH="1">
              <a:off x="4478585" y="1478802"/>
              <a:ext cx="969936" cy="334860"/>
            </a:xfrm>
            <a:custGeom>
              <a:avLst/>
              <a:gdLst>
                <a:gd name="connsiteX0" fmla="*/ 480919 w 969936"/>
                <a:gd name="connsiteY0" fmla="*/ 0 h 334860"/>
                <a:gd name="connsiteX1" fmla="*/ 477570 w 969936"/>
                <a:gd name="connsiteY1" fmla="*/ 0 h 334860"/>
                <a:gd name="connsiteX2" fmla="*/ 472547 w 969936"/>
                <a:gd name="connsiteY2" fmla="*/ 1674 h 334860"/>
                <a:gd name="connsiteX3" fmla="*/ 462502 w 969936"/>
                <a:gd name="connsiteY3" fmla="*/ 10046 h 334860"/>
                <a:gd name="connsiteX4" fmla="*/ 454130 w 969936"/>
                <a:gd name="connsiteY4" fmla="*/ 18417 h 334860"/>
                <a:gd name="connsiteX5" fmla="*/ 437387 w 969936"/>
                <a:gd name="connsiteY5" fmla="*/ 36835 h 334860"/>
                <a:gd name="connsiteX6" fmla="*/ 261585 w 969936"/>
                <a:gd name="connsiteY6" fmla="*/ 205939 h 334860"/>
                <a:gd name="connsiteX7" fmla="*/ 179545 w 969936"/>
                <a:gd name="connsiteY7" fmla="*/ 284631 h 334860"/>
                <a:gd name="connsiteX8" fmla="*/ 176196 w 969936"/>
                <a:gd name="connsiteY8" fmla="*/ 286305 h 334860"/>
                <a:gd name="connsiteX9" fmla="*/ 170336 w 969936"/>
                <a:gd name="connsiteY9" fmla="*/ 287980 h 334860"/>
                <a:gd name="connsiteX10" fmla="*/ 0 w 969936"/>
                <a:gd name="connsiteY10" fmla="*/ 287980 h 334860"/>
                <a:gd name="connsiteX11" fmla="*/ 0 w 969936"/>
                <a:gd name="connsiteY11" fmla="*/ 334860 h 334860"/>
                <a:gd name="connsiteX12" fmla="*/ 191265 w 969936"/>
                <a:gd name="connsiteY12" fmla="*/ 334860 h 334860"/>
                <a:gd name="connsiteX13" fmla="*/ 194613 w 969936"/>
                <a:gd name="connsiteY13" fmla="*/ 333186 h 334860"/>
                <a:gd name="connsiteX14" fmla="*/ 197962 w 969936"/>
                <a:gd name="connsiteY14" fmla="*/ 331511 h 334860"/>
                <a:gd name="connsiteX15" fmla="*/ 206334 w 969936"/>
                <a:gd name="connsiteY15" fmla="*/ 323140 h 334860"/>
                <a:gd name="connsiteX16" fmla="*/ 216379 w 969936"/>
                <a:gd name="connsiteY16" fmla="*/ 313094 h 334860"/>
                <a:gd name="connsiteX17" fmla="*/ 288374 w 969936"/>
                <a:gd name="connsiteY17" fmla="*/ 244448 h 334860"/>
                <a:gd name="connsiteX18" fmla="*/ 452456 w 969936"/>
                <a:gd name="connsiteY18" fmla="*/ 85389 h 334860"/>
                <a:gd name="connsiteX19" fmla="*/ 459153 w 969936"/>
                <a:gd name="connsiteY19" fmla="*/ 78692 h 334860"/>
                <a:gd name="connsiteX20" fmla="*/ 467525 w 969936"/>
                <a:gd name="connsiteY20" fmla="*/ 68646 h 334860"/>
                <a:gd name="connsiteX21" fmla="*/ 470873 w 969936"/>
                <a:gd name="connsiteY21" fmla="*/ 65298 h 334860"/>
                <a:gd name="connsiteX22" fmla="*/ 475896 w 969936"/>
                <a:gd name="connsiteY22" fmla="*/ 63623 h 334860"/>
                <a:gd name="connsiteX23" fmla="*/ 480919 w 969936"/>
                <a:gd name="connsiteY23" fmla="*/ 61949 h 334860"/>
                <a:gd name="connsiteX24" fmla="*/ 485942 w 969936"/>
                <a:gd name="connsiteY24" fmla="*/ 63623 h 334860"/>
                <a:gd name="connsiteX25" fmla="*/ 490965 w 969936"/>
                <a:gd name="connsiteY25" fmla="*/ 68646 h 334860"/>
                <a:gd name="connsiteX26" fmla="*/ 495988 w 969936"/>
                <a:gd name="connsiteY26" fmla="*/ 73669 h 334860"/>
                <a:gd name="connsiteX27" fmla="*/ 522777 w 969936"/>
                <a:gd name="connsiteY27" fmla="*/ 100458 h 334860"/>
                <a:gd name="connsiteX28" fmla="*/ 690207 w 969936"/>
                <a:gd name="connsiteY28" fmla="*/ 264539 h 334860"/>
                <a:gd name="connsiteX29" fmla="*/ 752156 w 969936"/>
                <a:gd name="connsiteY29" fmla="*/ 324814 h 334860"/>
                <a:gd name="connsiteX30" fmla="*/ 757179 w 969936"/>
                <a:gd name="connsiteY30" fmla="*/ 329837 h 334860"/>
                <a:gd name="connsiteX31" fmla="*/ 762202 w 969936"/>
                <a:gd name="connsiteY31" fmla="*/ 333186 h 334860"/>
                <a:gd name="connsiteX32" fmla="*/ 762202 w 969936"/>
                <a:gd name="connsiteY32" fmla="*/ 334860 h 334860"/>
                <a:gd name="connsiteX33" fmla="*/ 969936 w 969936"/>
                <a:gd name="connsiteY33" fmla="*/ 334860 h 334860"/>
                <a:gd name="connsiteX34" fmla="*/ 969936 w 969936"/>
                <a:gd name="connsiteY34" fmla="*/ 287980 h 334860"/>
                <a:gd name="connsiteX35" fmla="*/ 788153 w 969936"/>
                <a:gd name="connsiteY35" fmla="*/ 287980 h 334860"/>
                <a:gd name="connsiteX36" fmla="*/ 783130 w 969936"/>
                <a:gd name="connsiteY36" fmla="*/ 286305 h 334860"/>
                <a:gd name="connsiteX37" fmla="*/ 778945 w 969936"/>
                <a:gd name="connsiteY37" fmla="*/ 284631 h 334860"/>
                <a:gd name="connsiteX38" fmla="*/ 673464 w 969936"/>
                <a:gd name="connsiteY38" fmla="*/ 182499 h 334860"/>
                <a:gd name="connsiteX39" fmla="*/ 507708 w 969936"/>
                <a:gd name="connsiteY39" fmla="*/ 21766 h 334860"/>
                <a:gd name="connsiteX40" fmla="*/ 499336 w 969936"/>
                <a:gd name="connsiteY40" fmla="*/ 15069 h 334860"/>
                <a:gd name="connsiteX41" fmla="*/ 490965 w 969936"/>
                <a:gd name="connsiteY41" fmla="*/ 6697 h 334860"/>
                <a:gd name="connsiteX42" fmla="*/ 485942 w 969936"/>
                <a:gd name="connsiteY42" fmla="*/ 3349 h 3348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969936" h="334860">
                  <a:moveTo>
                    <a:pt x="480919" y="0"/>
                  </a:moveTo>
                  <a:lnTo>
                    <a:pt x="477570" y="0"/>
                  </a:lnTo>
                  <a:lnTo>
                    <a:pt x="472547" y="1674"/>
                  </a:lnTo>
                  <a:lnTo>
                    <a:pt x="462502" y="10046"/>
                  </a:lnTo>
                  <a:lnTo>
                    <a:pt x="454130" y="18417"/>
                  </a:lnTo>
                  <a:lnTo>
                    <a:pt x="437387" y="36835"/>
                  </a:lnTo>
                  <a:lnTo>
                    <a:pt x="261585" y="205939"/>
                  </a:lnTo>
                  <a:lnTo>
                    <a:pt x="179545" y="284631"/>
                  </a:lnTo>
                  <a:lnTo>
                    <a:pt x="176196" y="286305"/>
                  </a:lnTo>
                  <a:lnTo>
                    <a:pt x="170336" y="287980"/>
                  </a:lnTo>
                  <a:lnTo>
                    <a:pt x="0" y="287980"/>
                  </a:lnTo>
                  <a:lnTo>
                    <a:pt x="0" y="334860"/>
                  </a:lnTo>
                  <a:lnTo>
                    <a:pt x="191265" y="334860"/>
                  </a:lnTo>
                  <a:lnTo>
                    <a:pt x="194613" y="333186"/>
                  </a:lnTo>
                  <a:lnTo>
                    <a:pt x="197962" y="331511"/>
                  </a:lnTo>
                  <a:lnTo>
                    <a:pt x="206334" y="323140"/>
                  </a:lnTo>
                  <a:lnTo>
                    <a:pt x="216379" y="313094"/>
                  </a:lnTo>
                  <a:lnTo>
                    <a:pt x="288374" y="244448"/>
                  </a:lnTo>
                  <a:lnTo>
                    <a:pt x="452456" y="85389"/>
                  </a:lnTo>
                  <a:lnTo>
                    <a:pt x="459153" y="78692"/>
                  </a:lnTo>
                  <a:lnTo>
                    <a:pt x="467525" y="68646"/>
                  </a:lnTo>
                  <a:lnTo>
                    <a:pt x="470873" y="65298"/>
                  </a:lnTo>
                  <a:lnTo>
                    <a:pt x="475896" y="63623"/>
                  </a:lnTo>
                  <a:lnTo>
                    <a:pt x="480919" y="61949"/>
                  </a:lnTo>
                  <a:lnTo>
                    <a:pt x="485942" y="63623"/>
                  </a:lnTo>
                  <a:lnTo>
                    <a:pt x="490965" y="68646"/>
                  </a:lnTo>
                  <a:lnTo>
                    <a:pt x="495988" y="73669"/>
                  </a:lnTo>
                  <a:lnTo>
                    <a:pt x="522777" y="100458"/>
                  </a:lnTo>
                  <a:lnTo>
                    <a:pt x="690207" y="264539"/>
                  </a:lnTo>
                  <a:lnTo>
                    <a:pt x="752156" y="324814"/>
                  </a:lnTo>
                  <a:lnTo>
                    <a:pt x="757179" y="329837"/>
                  </a:lnTo>
                  <a:lnTo>
                    <a:pt x="762202" y="333186"/>
                  </a:lnTo>
                  <a:lnTo>
                    <a:pt x="762202" y="334860"/>
                  </a:lnTo>
                  <a:lnTo>
                    <a:pt x="969936" y="334860"/>
                  </a:lnTo>
                  <a:lnTo>
                    <a:pt x="969936" y="287980"/>
                  </a:lnTo>
                  <a:lnTo>
                    <a:pt x="788153" y="287980"/>
                  </a:lnTo>
                  <a:lnTo>
                    <a:pt x="783130" y="286305"/>
                  </a:lnTo>
                  <a:lnTo>
                    <a:pt x="778945" y="284631"/>
                  </a:lnTo>
                  <a:lnTo>
                    <a:pt x="673464" y="182499"/>
                  </a:lnTo>
                  <a:lnTo>
                    <a:pt x="507708" y="21766"/>
                  </a:lnTo>
                  <a:lnTo>
                    <a:pt x="499336" y="15069"/>
                  </a:lnTo>
                  <a:lnTo>
                    <a:pt x="490965" y="6697"/>
                  </a:lnTo>
                  <a:lnTo>
                    <a:pt x="485942" y="334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216000" marR="0" lvl="0" indent="-21600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Char char="–"/>
                <a:tabLst/>
                <a:defRPr/>
              </a:pPr>
              <a:endParaRPr kumimoji="0" lang="de-DE" sz="16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T America" panose="00000500000000000000" pitchFamily="2" charset="0"/>
                <a:ea typeface="+mn-ea"/>
                <a:cs typeface="+mn-cs"/>
              </a:endParaRPr>
            </a:p>
          </p:txBody>
        </p:sp>
        <p:sp>
          <p:nvSpPr>
            <p:cNvPr id="158" name="Rechteck 157"/>
            <p:cNvSpPr/>
            <p:nvPr/>
          </p:nvSpPr>
          <p:spPr>
            <a:xfrm>
              <a:off x="5448520" y="1817688"/>
              <a:ext cx="136200" cy="381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216000" marR="0" lvl="0" indent="-21600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Char char="–"/>
                <a:tabLst/>
                <a:defRPr/>
              </a:pPr>
              <a:endParaRPr kumimoji="0" lang="de-DE" sz="16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T America" panose="00000500000000000000" pitchFamily="2" charset="0"/>
                <a:ea typeface="+mn-ea"/>
                <a:cs typeface="+mn-cs"/>
              </a:endParaRPr>
            </a:p>
          </p:txBody>
        </p:sp>
        <p:sp>
          <p:nvSpPr>
            <p:cNvPr id="160" name="Rechteck 159"/>
            <p:cNvSpPr/>
            <p:nvPr/>
          </p:nvSpPr>
          <p:spPr>
            <a:xfrm>
              <a:off x="4343597" y="1817688"/>
              <a:ext cx="136200" cy="381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216000" marR="0" lvl="0" indent="-21600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Char char="–"/>
                <a:tabLst/>
                <a:defRPr/>
              </a:pPr>
              <a:endParaRPr kumimoji="0" lang="de-DE" sz="16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T America" panose="00000500000000000000" pitchFamily="2" charset="0"/>
                <a:ea typeface="+mn-ea"/>
                <a:cs typeface="+mn-cs"/>
              </a:endParaRPr>
            </a:p>
          </p:txBody>
        </p:sp>
      </p:grpSp>
      <p:cxnSp>
        <p:nvCxnSpPr>
          <p:cNvPr id="209" name="Gerade Verbindung mit Pfeil 208"/>
          <p:cNvCxnSpPr/>
          <p:nvPr/>
        </p:nvCxnSpPr>
        <p:spPr>
          <a:xfrm>
            <a:off x="3573841" y="2120120"/>
            <a:ext cx="485535" cy="0"/>
          </a:xfrm>
          <a:prstGeom prst="straightConnector1">
            <a:avLst/>
          </a:prstGeom>
          <a:ln w="4445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Rechteck 27"/>
          <p:cNvSpPr/>
          <p:nvPr/>
        </p:nvSpPr>
        <p:spPr>
          <a:xfrm>
            <a:off x="7316818" y="4803687"/>
            <a:ext cx="2042753" cy="1620001"/>
          </a:xfrm>
          <a:prstGeom prst="rect">
            <a:avLst/>
          </a:prstGeom>
          <a:solidFill>
            <a:schemeClr val="accent3"/>
          </a:solidFill>
        </p:spPr>
        <p:txBody>
          <a:bodyPr wrap="square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T America" panose="00000500000000000000" pitchFamily="2" charset="0"/>
                <a:ea typeface="+mn-ea"/>
                <a:cs typeface="+mn-cs"/>
              </a:rPr>
              <a:t>SPNV</a:t>
            </a:r>
          </a:p>
        </p:txBody>
      </p:sp>
      <p:sp>
        <p:nvSpPr>
          <p:cNvPr id="229" name="Freeform 165"/>
          <p:cNvSpPr>
            <a:spLocks noEditPoints="1"/>
          </p:cNvSpPr>
          <p:nvPr/>
        </p:nvSpPr>
        <p:spPr bwMode="auto">
          <a:xfrm>
            <a:off x="7516416" y="5471569"/>
            <a:ext cx="1748202" cy="539290"/>
          </a:xfrm>
          <a:custGeom>
            <a:avLst/>
            <a:gdLst>
              <a:gd name="T0" fmla="*/ 1330 w 1556"/>
              <a:gd name="T1" fmla="*/ 390 h 480"/>
              <a:gd name="T2" fmla="*/ 1474 w 1556"/>
              <a:gd name="T3" fmla="*/ 364 h 480"/>
              <a:gd name="T4" fmla="*/ 1522 w 1556"/>
              <a:gd name="T5" fmla="*/ 316 h 480"/>
              <a:gd name="T6" fmla="*/ 1498 w 1556"/>
              <a:gd name="T7" fmla="*/ 186 h 480"/>
              <a:gd name="T8" fmla="*/ 1388 w 1556"/>
              <a:gd name="T9" fmla="*/ 52 h 480"/>
              <a:gd name="T10" fmla="*/ 1218 w 1556"/>
              <a:gd name="T11" fmla="*/ 0 h 480"/>
              <a:gd name="T12" fmla="*/ 20 w 1556"/>
              <a:gd name="T13" fmla="*/ 18 h 480"/>
              <a:gd name="T14" fmla="*/ 0 w 1556"/>
              <a:gd name="T15" fmla="*/ 302 h 480"/>
              <a:gd name="T16" fmla="*/ 38 w 1556"/>
              <a:gd name="T17" fmla="*/ 360 h 480"/>
              <a:gd name="T18" fmla="*/ 118 w 1556"/>
              <a:gd name="T19" fmla="*/ 368 h 480"/>
              <a:gd name="T20" fmla="*/ 20 w 1556"/>
              <a:gd name="T21" fmla="*/ 440 h 480"/>
              <a:gd name="T22" fmla="*/ 2 w 1556"/>
              <a:gd name="T23" fmla="*/ 468 h 480"/>
              <a:gd name="T24" fmla="*/ 1544 w 1556"/>
              <a:gd name="T25" fmla="*/ 478 h 480"/>
              <a:gd name="T26" fmla="*/ 1550 w 1556"/>
              <a:gd name="T27" fmla="*/ 446 h 480"/>
              <a:gd name="T28" fmla="*/ 1131 w 1556"/>
              <a:gd name="T29" fmla="*/ 390 h 480"/>
              <a:gd name="T30" fmla="*/ 1077 w 1556"/>
              <a:gd name="T31" fmla="*/ 426 h 480"/>
              <a:gd name="T32" fmla="*/ 1125 w 1556"/>
              <a:gd name="T33" fmla="*/ 364 h 480"/>
              <a:gd name="T34" fmla="*/ 555 w 1556"/>
              <a:gd name="T35" fmla="*/ 364 h 480"/>
              <a:gd name="T36" fmla="*/ 909 w 1556"/>
              <a:gd name="T37" fmla="*/ 410 h 480"/>
              <a:gd name="T38" fmla="*/ 541 w 1556"/>
              <a:gd name="T39" fmla="*/ 410 h 480"/>
              <a:gd name="T40" fmla="*/ 1178 w 1556"/>
              <a:gd name="T41" fmla="*/ 80 h 480"/>
              <a:gd name="T42" fmla="*/ 1368 w 1556"/>
              <a:gd name="T43" fmla="*/ 66 h 480"/>
              <a:gd name="T44" fmla="*/ 1424 w 1556"/>
              <a:gd name="T45" fmla="*/ 106 h 480"/>
              <a:gd name="T46" fmla="*/ 1470 w 1556"/>
              <a:gd name="T47" fmla="*/ 204 h 480"/>
              <a:gd name="T48" fmla="*/ 1260 w 1556"/>
              <a:gd name="T49" fmla="*/ 228 h 480"/>
              <a:gd name="T50" fmla="*/ 1176 w 1556"/>
              <a:gd name="T51" fmla="*/ 204 h 480"/>
              <a:gd name="T52" fmla="*/ 1087 w 1556"/>
              <a:gd name="T53" fmla="*/ 66 h 480"/>
              <a:gd name="T54" fmla="*/ 1151 w 1556"/>
              <a:gd name="T55" fmla="*/ 76 h 480"/>
              <a:gd name="T56" fmla="*/ 1141 w 1556"/>
              <a:gd name="T57" fmla="*/ 228 h 480"/>
              <a:gd name="T58" fmla="*/ 1079 w 1556"/>
              <a:gd name="T59" fmla="*/ 218 h 480"/>
              <a:gd name="T60" fmla="*/ 767 w 1556"/>
              <a:gd name="T61" fmla="*/ 86 h 480"/>
              <a:gd name="T62" fmla="*/ 799 w 1556"/>
              <a:gd name="T63" fmla="*/ 66 h 480"/>
              <a:gd name="T64" fmla="*/ 1043 w 1556"/>
              <a:gd name="T65" fmla="*/ 76 h 480"/>
              <a:gd name="T66" fmla="*/ 1053 w 1556"/>
              <a:gd name="T67" fmla="*/ 194 h 480"/>
              <a:gd name="T68" fmla="*/ 1033 w 1556"/>
              <a:gd name="T69" fmla="*/ 226 h 480"/>
              <a:gd name="T70" fmla="*/ 785 w 1556"/>
              <a:gd name="T71" fmla="*/ 226 h 480"/>
              <a:gd name="T72" fmla="*/ 765 w 1556"/>
              <a:gd name="T73" fmla="*/ 194 h 480"/>
              <a:gd name="T74" fmla="*/ 459 w 1556"/>
              <a:gd name="T75" fmla="*/ 80 h 480"/>
              <a:gd name="T76" fmla="*/ 707 w 1556"/>
              <a:gd name="T77" fmla="*/ 66 h 480"/>
              <a:gd name="T78" fmla="*/ 735 w 1556"/>
              <a:gd name="T79" fmla="*/ 80 h 480"/>
              <a:gd name="T80" fmla="*/ 741 w 1556"/>
              <a:gd name="T81" fmla="*/ 202 h 480"/>
              <a:gd name="T82" fmla="*/ 715 w 1556"/>
              <a:gd name="T83" fmla="*/ 228 h 480"/>
              <a:gd name="T84" fmla="*/ 469 w 1556"/>
              <a:gd name="T85" fmla="*/ 222 h 480"/>
              <a:gd name="T86" fmla="*/ 453 w 1556"/>
              <a:gd name="T87" fmla="*/ 100 h 480"/>
              <a:gd name="T88" fmla="*/ 150 w 1556"/>
              <a:gd name="T89" fmla="*/ 76 h 480"/>
              <a:gd name="T90" fmla="*/ 395 w 1556"/>
              <a:gd name="T91" fmla="*/ 66 h 480"/>
              <a:gd name="T92" fmla="*/ 427 w 1556"/>
              <a:gd name="T93" fmla="*/ 86 h 480"/>
              <a:gd name="T94" fmla="*/ 427 w 1556"/>
              <a:gd name="T95" fmla="*/ 208 h 480"/>
              <a:gd name="T96" fmla="*/ 395 w 1556"/>
              <a:gd name="T97" fmla="*/ 228 h 480"/>
              <a:gd name="T98" fmla="*/ 150 w 1556"/>
              <a:gd name="T99" fmla="*/ 218 h 480"/>
              <a:gd name="T100" fmla="*/ 100 w 1556"/>
              <a:gd name="T101" fmla="*/ 228 h 480"/>
              <a:gd name="T102" fmla="*/ 42 w 1556"/>
              <a:gd name="T103" fmla="*/ 212 h 480"/>
              <a:gd name="T104" fmla="*/ 60 w 1556"/>
              <a:gd name="T105" fmla="*/ 66 h 480"/>
              <a:gd name="T106" fmla="*/ 118 w 1556"/>
              <a:gd name="T107" fmla="*/ 82 h 480"/>
              <a:gd name="T108" fmla="*/ 100 w 1556"/>
              <a:gd name="T109" fmla="*/ 228 h 480"/>
              <a:gd name="T110" fmla="*/ 348 w 1556"/>
              <a:gd name="T111" fmla="*/ 364 h 480"/>
              <a:gd name="T112" fmla="*/ 391 w 1556"/>
              <a:gd name="T113" fmla="*/ 440 h 480"/>
              <a:gd name="T114" fmla="*/ 324 w 1556"/>
              <a:gd name="T115" fmla="*/ 368 h 4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1556" h="480">
                <a:moveTo>
                  <a:pt x="1536" y="440"/>
                </a:moveTo>
                <a:lnTo>
                  <a:pt x="1292" y="440"/>
                </a:lnTo>
                <a:lnTo>
                  <a:pt x="1292" y="440"/>
                </a:lnTo>
                <a:lnTo>
                  <a:pt x="1308" y="426"/>
                </a:lnTo>
                <a:lnTo>
                  <a:pt x="1320" y="410"/>
                </a:lnTo>
                <a:lnTo>
                  <a:pt x="1330" y="390"/>
                </a:lnTo>
                <a:lnTo>
                  <a:pt x="1334" y="368"/>
                </a:lnTo>
                <a:lnTo>
                  <a:pt x="1334" y="368"/>
                </a:lnTo>
                <a:lnTo>
                  <a:pt x="1334" y="364"/>
                </a:lnTo>
                <a:lnTo>
                  <a:pt x="1462" y="364"/>
                </a:lnTo>
                <a:lnTo>
                  <a:pt x="1462" y="364"/>
                </a:lnTo>
                <a:lnTo>
                  <a:pt x="1474" y="364"/>
                </a:lnTo>
                <a:lnTo>
                  <a:pt x="1486" y="360"/>
                </a:lnTo>
                <a:lnTo>
                  <a:pt x="1496" y="354"/>
                </a:lnTo>
                <a:lnTo>
                  <a:pt x="1506" y="346"/>
                </a:lnTo>
                <a:lnTo>
                  <a:pt x="1512" y="338"/>
                </a:lnTo>
                <a:lnTo>
                  <a:pt x="1518" y="328"/>
                </a:lnTo>
                <a:lnTo>
                  <a:pt x="1522" y="316"/>
                </a:lnTo>
                <a:lnTo>
                  <a:pt x="1522" y="304"/>
                </a:lnTo>
                <a:lnTo>
                  <a:pt x="1522" y="304"/>
                </a:lnTo>
                <a:lnTo>
                  <a:pt x="1522" y="272"/>
                </a:lnTo>
                <a:lnTo>
                  <a:pt x="1516" y="242"/>
                </a:lnTo>
                <a:lnTo>
                  <a:pt x="1510" y="214"/>
                </a:lnTo>
                <a:lnTo>
                  <a:pt x="1498" y="186"/>
                </a:lnTo>
                <a:lnTo>
                  <a:pt x="1486" y="158"/>
                </a:lnTo>
                <a:lnTo>
                  <a:pt x="1470" y="134"/>
                </a:lnTo>
                <a:lnTo>
                  <a:pt x="1454" y="110"/>
                </a:lnTo>
                <a:lnTo>
                  <a:pt x="1434" y="88"/>
                </a:lnTo>
                <a:lnTo>
                  <a:pt x="1412" y="70"/>
                </a:lnTo>
                <a:lnTo>
                  <a:pt x="1388" y="52"/>
                </a:lnTo>
                <a:lnTo>
                  <a:pt x="1364" y="36"/>
                </a:lnTo>
                <a:lnTo>
                  <a:pt x="1336" y="24"/>
                </a:lnTo>
                <a:lnTo>
                  <a:pt x="1308" y="14"/>
                </a:lnTo>
                <a:lnTo>
                  <a:pt x="1280" y="6"/>
                </a:lnTo>
                <a:lnTo>
                  <a:pt x="1250" y="2"/>
                </a:lnTo>
                <a:lnTo>
                  <a:pt x="1218" y="0"/>
                </a:lnTo>
                <a:lnTo>
                  <a:pt x="64" y="0"/>
                </a:lnTo>
                <a:lnTo>
                  <a:pt x="64" y="0"/>
                </a:lnTo>
                <a:lnTo>
                  <a:pt x="50" y="0"/>
                </a:lnTo>
                <a:lnTo>
                  <a:pt x="38" y="4"/>
                </a:lnTo>
                <a:lnTo>
                  <a:pt x="28" y="10"/>
                </a:lnTo>
                <a:lnTo>
                  <a:pt x="20" y="18"/>
                </a:lnTo>
                <a:lnTo>
                  <a:pt x="12" y="28"/>
                </a:lnTo>
                <a:lnTo>
                  <a:pt x="6" y="38"/>
                </a:lnTo>
                <a:lnTo>
                  <a:pt x="2" y="50"/>
                </a:lnTo>
                <a:lnTo>
                  <a:pt x="0" y="62"/>
                </a:lnTo>
                <a:lnTo>
                  <a:pt x="0" y="302"/>
                </a:lnTo>
                <a:lnTo>
                  <a:pt x="0" y="302"/>
                </a:lnTo>
                <a:lnTo>
                  <a:pt x="2" y="314"/>
                </a:lnTo>
                <a:lnTo>
                  <a:pt x="6" y="326"/>
                </a:lnTo>
                <a:lnTo>
                  <a:pt x="12" y="336"/>
                </a:lnTo>
                <a:lnTo>
                  <a:pt x="20" y="346"/>
                </a:lnTo>
                <a:lnTo>
                  <a:pt x="28" y="354"/>
                </a:lnTo>
                <a:lnTo>
                  <a:pt x="38" y="360"/>
                </a:lnTo>
                <a:lnTo>
                  <a:pt x="50" y="364"/>
                </a:lnTo>
                <a:lnTo>
                  <a:pt x="64" y="364"/>
                </a:lnTo>
                <a:lnTo>
                  <a:pt x="116" y="364"/>
                </a:lnTo>
                <a:lnTo>
                  <a:pt x="116" y="364"/>
                </a:lnTo>
                <a:lnTo>
                  <a:pt x="118" y="368"/>
                </a:lnTo>
                <a:lnTo>
                  <a:pt x="118" y="368"/>
                </a:lnTo>
                <a:lnTo>
                  <a:pt x="122" y="390"/>
                </a:lnTo>
                <a:lnTo>
                  <a:pt x="130" y="410"/>
                </a:lnTo>
                <a:lnTo>
                  <a:pt x="144" y="426"/>
                </a:lnTo>
                <a:lnTo>
                  <a:pt x="160" y="440"/>
                </a:lnTo>
                <a:lnTo>
                  <a:pt x="20" y="440"/>
                </a:lnTo>
                <a:lnTo>
                  <a:pt x="20" y="440"/>
                </a:lnTo>
                <a:lnTo>
                  <a:pt x="14" y="442"/>
                </a:lnTo>
                <a:lnTo>
                  <a:pt x="6" y="446"/>
                </a:lnTo>
                <a:lnTo>
                  <a:pt x="2" y="452"/>
                </a:lnTo>
                <a:lnTo>
                  <a:pt x="0" y="460"/>
                </a:lnTo>
                <a:lnTo>
                  <a:pt x="0" y="460"/>
                </a:lnTo>
                <a:lnTo>
                  <a:pt x="2" y="468"/>
                </a:lnTo>
                <a:lnTo>
                  <a:pt x="6" y="474"/>
                </a:lnTo>
                <a:lnTo>
                  <a:pt x="14" y="478"/>
                </a:lnTo>
                <a:lnTo>
                  <a:pt x="20" y="480"/>
                </a:lnTo>
                <a:lnTo>
                  <a:pt x="1536" y="480"/>
                </a:lnTo>
                <a:lnTo>
                  <a:pt x="1536" y="480"/>
                </a:lnTo>
                <a:lnTo>
                  <a:pt x="1544" y="478"/>
                </a:lnTo>
                <a:lnTo>
                  <a:pt x="1550" y="474"/>
                </a:lnTo>
                <a:lnTo>
                  <a:pt x="1554" y="468"/>
                </a:lnTo>
                <a:lnTo>
                  <a:pt x="1556" y="460"/>
                </a:lnTo>
                <a:lnTo>
                  <a:pt x="1556" y="460"/>
                </a:lnTo>
                <a:lnTo>
                  <a:pt x="1554" y="452"/>
                </a:lnTo>
                <a:lnTo>
                  <a:pt x="1550" y="446"/>
                </a:lnTo>
                <a:lnTo>
                  <a:pt x="1544" y="442"/>
                </a:lnTo>
                <a:lnTo>
                  <a:pt x="1536" y="440"/>
                </a:lnTo>
                <a:lnTo>
                  <a:pt x="1536" y="440"/>
                </a:lnTo>
                <a:close/>
                <a:moveTo>
                  <a:pt x="1127" y="368"/>
                </a:moveTo>
                <a:lnTo>
                  <a:pt x="1127" y="368"/>
                </a:lnTo>
                <a:lnTo>
                  <a:pt x="1131" y="390"/>
                </a:lnTo>
                <a:lnTo>
                  <a:pt x="1139" y="410"/>
                </a:lnTo>
                <a:lnTo>
                  <a:pt x="1153" y="426"/>
                </a:lnTo>
                <a:lnTo>
                  <a:pt x="1170" y="440"/>
                </a:lnTo>
                <a:lnTo>
                  <a:pt x="1061" y="440"/>
                </a:lnTo>
                <a:lnTo>
                  <a:pt x="1061" y="440"/>
                </a:lnTo>
                <a:lnTo>
                  <a:pt x="1077" y="426"/>
                </a:lnTo>
                <a:lnTo>
                  <a:pt x="1089" y="410"/>
                </a:lnTo>
                <a:lnTo>
                  <a:pt x="1097" y="390"/>
                </a:lnTo>
                <a:lnTo>
                  <a:pt x="1103" y="368"/>
                </a:lnTo>
                <a:lnTo>
                  <a:pt x="1103" y="368"/>
                </a:lnTo>
                <a:lnTo>
                  <a:pt x="1103" y="364"/>
                </a:lnTo>
                <a:lnTo>
                  <a:pt x="1125" y="364"/>
                </a:lnTo>
                <a:lnTo>
                  <a:pt x="1125" y="364"/>
                </a:lnTo>
                <a:lnTo>
                  <a:pt x="1127" y="368"/>
                </a:lnTo>
                <a:lnTo>
                  <a:pt x="1127" y="368"/>
                </a:lnTo>
                <a:close/>
                <a:moveTo>
                  <a:pt x="555" y="368"/>
                </a:moveTo>
                <a:lnTo>
                  <a:pt x="555" y="368"/>
                </a:lnTo>
                <a:lnTo>
                  <a:pt x="555" y="364"/>
                </a:lnTo>
                <a:lnTo>
                  <a:pt x="895" y="364"/>
                </a:lnTo>
                <a:lnTo>
                  <a:pt x="895" y="364"/>
                </a:lnTo>
                <a:lnTo>
                  <a:pt x="895" y="368"/>
                </a:lnTo>
                <a:lnTo>
                  <a:pt x="895" y="368"/>
                </a:lnTo>
                <a:lnTo>
                  <a:pt x="901" y="390"/>
                </a:lnTo>
                <a:lnTo>
                  <a:pt x="909" y="410"/>
                </a:lnTo>
                <a:lnTo>
                  <a:pt x="923" y="426"/>
                </a:lnTo>
                <a:lnTo>
                  <a:pt x="939" y="440"/>
                </a:lnTo>
                <a:lnTo>
                  <a:pt x="513" y="440"/>
                </a:lnTo>
                <a:lnTo>
                  <a:pt x="513" y="440"/>
                </a:lnTo>
                <a:lnTo>
                  <a:pt x="529" y="426"/>
                </a:lnTo>
                <a:lnTo>
                  <a:pt x="541" y="410"/>
                </a:lnTo>
                <a:lnTo>
                  <a:pt x="551" y="390"/>
                </a:lnTo>
                <a:lnTo>
                  <a:pt x="555" y="368"/>
                </a:lnTo>
                <a:lnTo>
                  <a:pt x="555" y="368"/>
                </a:lnTo>
                <a:close/>
                <a:moveTo>
                  <a:pt x="1176" y="90"/>
                </a:moveTo>
                <a:lnTo>
                  <a:pt x="1176" y="90"/>
                </a:lnTo>
                <a:lnTo>
                  <a:pt x="1178" y="80"/>
                </a:lnTo>
                <a:lnTo>
                  <a:pt x="1184" y="72"/>
                </a:lnTo>
                <a:lnTo>
                  <a:pt x="1192" y="68"/>
                </a:lnTo>
                <a:lnTo>
                  <a:pt x="1200" y="66"/>
                </a:lnTo>
                <a:lnTo>
                  <a:pt x="1212" y="66"/>
                </a:lnTo>
                <a:lnTo>
                  <a:pt x="1296" y="66"/>
                </a:lnTo>
                <a:lnTo>
                  <a:pt x="1368" y="66"/>
                </a:lnTo>
                <a:lnTo>
                  <a:pt x="1368" y="66"/>
                </a:lnTo>
                <a:lnTo>
                  <a:pt x="1378" y="68"/>
                </a:lnTo>
                <a:lnTo>
                  <a:pt x="1390" y="74"/>
                </a:lnTo>
                <a:lnTo>
                  <a:pt x="1402" y="82"/>
                </a:lnTo>
                <a:lnTo>
                  <a:pt x="1412" y="94"/>
                </a:lnTo>
                <a:lnTo>
                  <a:pt x="1424" y="106"/>
                </a:lnTo>
                <a:lnTo>
                  <a:pt x="1434" y="120"/>
                </a:lnTo>
                <a:lnTo>
                  <a:pt x="1452" y="148"/>
                </a:lnTo>
                <a:lnTo>
                  <a:pt x="1460" y="164"/>
                </a:lnTo>
                <a:lnTo>
                  <a:pt x="1466" y="178"/>
                </a:lnTo>
                <a:lnTo>
                  <a:pt x="1470" y="192"/>
                </a:lnTo>
                <a:lnTo>
                  <a:pt x="1470" y="204"/>
                </a:lnTo>
                <a:lnTo>
                  <a:pt x="1470" y="214"/>
                </a:lnTo>
                <a:lnTo>
                  <a:pt x="1466" y="222"/>
                </a:lnTo>
                <a:lnTo>
                  <a:pt x="1458" y="226"/>
                </a:lnTo>
                <a:lnTo>
                  <a:pt x="1448" y="228"/>
                </a:lnTo>
                <a:lnTo>
                  <a:pt x="1296" y="228"/>
                </a:lnTo>
                <a:lnTo>
                  <a:pt x="1260" y="228"/>
                </a:lnTo>
                <a:lnTo>
                  <a:pt x="1200" y="228"/>
                </a:lnTo>
                <a:lnTo>
                  <a:pt x="1200" y="228"/>
                </a:lnTo>
                <a:lnTo>
                  <a:pt x="1192" y="226"/>
                </a:lnTo>
                <a:lnTo>
                  <a:pt x="1184" y="222"/>
                </a:lnTo>
                <a:lnTo>
                  <a:pt x="1178" y="214"/>
                </a:lnTo>
                <a:lnTo>
                  <a:pt x="1176" y="204"/>
                </a:lnTo>
                <a:lnTo>
                  <a:pt x="1176" y="90"/>
                </a:lnTo>
                <a:close/>
                <a:moveTo>
                  <a:pt x="1077" y="82"/>
                </a:moveTo>
                <a:lnTo>
                  <a:pt x="1077" y="82"/>
                </a:lnTo>
                <a:lnTo>
                  <a:pt x="1079" y="76"/>
                </a:lnTo>
                <a:lnTo>
                  <a:pt x="1081" y="70"/>
                </a:lnTo>
                <a:lnTo>
                  <a:pt x="1087" y="66"/>
                </a:lnTo>
                <a:lnTo>
                  <a:pt x="1095" y="66"/>
                </a:lnTo>
                <a:lnTo>
                  <a:pt x="1135" y="66"/>
                </a:lnTo>
                <a:lnTo>
                  <a:pt x="1135" y="66"/>
                </a:lnTo>
                <a:lnTo>
                  <a:pt x="1141" y="66"/>
                </a:lnTo>
                <a:lnTo>
                  <a:pt x="1147" y="70"/>
                </a:lnTo>
                <a:lnTo>
                  <a:pt x="1151" y="76"/>
                </a:lnTo>
                <a:lnTo>
                  <a:pt x="1151" y="82"/>
                </a:lnTo>
                <a:lnTo>
                  <a:pt x="1151" y="212"/>
                </a:lnTo>
                <a:lnTo>
                  <a:pt x="1151" y="212"/>
                </a:lnTo>
                <a:lnTo>
                  <a:pt x="1151" y="218"/>
                </a:lnTo>
                <a:lnTo>
                  <a:pt x="1147" y="224"/>
                </a:lnTo>
                <a:lnTo>
                  <a:pt x="1141" y="228"/>
                </a:lnTo>
                <a:lnTo>
                  <a:pt x="1135" y="228"/>
                </a:lnTo>
                <a:lnTo>
                  <a:pt x="1095" y="228"/>
                </a:lnTo>
                <a:lnTo>
                  <a:pt x="1095" y="228"/>
                </a:lnTo>
                <a:lnTo>
                  <a:pt x="1087" y="228"/>
                </a:lnTo>
                <a:lnTo>
                  <a:pt x="1081" y="224"/>
                </a:lnTo>
                <a:lnTo>
                  <a:pt x="1079" y="218"/>
                </a:lnTo>
                <a:lnTo>
                  <a:pt x="1077" y="212"/>
                </a:lnTo>
                <a:lnTo>
                  <a:pt x="1077" y="82"/>
                </a:lnTo>
                <a:close/>
                <a:moveTo>
                  <a:pt x="765" y="100"/>
                </a:moveTo>
                <a:lnTo>
                  <a:pt x="765" y="100"/>
                </a:lnTo>
                <a:lnTo>
                  <a:pt x="765" y="92"/>
                </a:lnTo>
                <a:lnTo>
                  <a:pt x="767" y="86"/>
                </a:lnTo>
                <a:lnTo>
                  <a:pt x="771" y="80"/>
                </a:lnTo>
                <a:lnTo>
                  <a:pt x="775" y="76"/>
                </a:lnTo>
                <a:lnTo>
                  <a:pt x="779" y="70"/>
                </a:lnTo>
                <a:lnTo>
                  <a:pt x="785" y="68"/>
                </a:lnTo>
                <a:lnTo>
                  <a:pt x="793" y="66"/>
                </a:lnTo>
                <a:lnTo>
                  <a:pt x="799" y="66"/>
                </a:lnTo>
                <a:lnTo>
                  <a:pt x="1019" y="66"/>
                </a:lnTo>
                <a:lnTo>
                  <a:pt x="1019" y="66"/>
                </a:lnTo>
                <a:lnTo>
                  <a:pt x="1025" y="66"/>
                </a:lnTo>
                <a:lnTo>
                  <a:pt x="1033" y="68"/>
                </a:lnTo>
                <a:lnTo>
                  <a:pt x="1039" y="70"/>
                </a:lnTo>
                <a:lnTo>
                  <a:pt x="1043" y="76"/>
                </a:lnTo>
                <a:lnTo>
                  <a:pt x="1047" y="80"/>
                </a:lnTo>
                <a:lnTo>
                  <a:pt x="1051" y="86"/>
                </a:lnTo>
                <a:lnTo>
                  <a:pt x="1053" y="92"/>
                </a:lnTo>
                <a:lnTo>
                  <a:pt x="1053" y="100"/>
                </a:lnTo>
                <a:lnTo>
                  <a:pt x="1053" y="194"/>
                </a:lnTo>
                <a:lnTo>
                  <a:pt x="1053" y="194"/>
                </a:lnTo>
                <a:lnTo>
                  <a:pt x="1053" y="202"/>
                </a:lnTo>
                <a:lnTo>
                  <a:pt x="1051" y="208"/>
                </a:lnTo>
                <a:lnTo>
                  <a:pt x="1047" y="214"/>
                </a:lnTo>
                <a:lnTo>
                  <a:pt x="1043" y="218"/>
                </a:lnTo>
                <a:lnTo>
                  <a:pt x="1039" y="222"/>
                </a:lnTo>
                <a:lnTo>
                  <a:pt x="1033" y="226"/>
                </a:lnTo>
                <a:lnTo>
                  <a:pt x="1025" y="228"/>
                </a:lnTo>
                <a:lnTo>
                  <a:pt x="1019" y="228"/>
                </a:lnTo>
                <a:lnTo>
                  <a:pt x="799" y="228"/>
                </a:lnTo>
                <a:lnTo>
                  <a:pt x="799" y="228"/>
                </a:lnTo>
                <a:lnTo>
                  <a:pt x="793" y="228"/>
                </a:lnTo>
                <a:lnTo>
                  <a:pt x="785" y="226"/>
                </a:lnTo>
                <a:lnTo>
                  <a:pt x="779" y="222"/>
                </a:lnTo>
                <a:lnTo>
                  <a:pt x="775" y="218"/>
                </a:lnTo>
                <a:lnTo>
                  <a:pt x="771" y="214"/>
                </a:lnTo>
                <a:lnTo>
                  <a:pt x="767" y="208"/>
                </a:lnTo>
                <a:lnTo>
                  <a:pt x="765" y="202"/>
                </a:lnTo>
                <a:lnTo>
                  <a:pt x="765" y="194"/>
                </a:lnTo>
                <a:lnTo>
                  <a:pt x="765" y="100"/>
                </a:lnTo>
                <a:close/>
                <a:moveTo>
                  <a:pt x="453" y="100"/>
                </a:moveTo>
                <a:lnTo>
                  <a:pt x="453" y="100"/>
                </a:lnTo>
                <a:lnTo>
                  <a:pt x="455" y="92"/>
                </a:lnTo>
                <a:lnTo>
                  <a:pt x="457" y="86"/>
                </a:lnTo>
                <a:lnTo>
                  <a:pt x="459" y="80"/>
                </a:lnTo>
                <a:lnTo>
                  <a:pt x="463" y="76"/>
                </a:lnTo>
                <a:lnTo>
                  <a:pt x="469" y="70"/>
                </a:lnTo>
                <a:lnTo>
                  <a:pt x="475" y="68"/>
                </a:lnTo>
                <a:lnTo>
                  <a:pt x="481" y="66"/>
                </a:lnTo>
                <a:lnTo>
                  <a:pt x="487" y="66"/>
                </a:lnTo>
                <a:lnTo>
                  <a:pt x="707" y="66"/>
                </a:lnTo>
                <a:lnTo>
                  <a:pt x="707" y="66"/>
                </a:lnTo>
                <a:lnTo>
                  <a:pt x="715" y="66"/>
                </a:lnTo>
                <a:lnTo>
                  <a:pt x="721" y="68"/>
                </a:lnTo>
                <a:lnTo>
                  <a:pt x="727" y="70"/>
                </a:lnTo>
                <a:lnTo>
                  <a:pt x="731" y="76"/>
                </a:lnTo>
                <a:lnTo>
                  <a:pt x="735" y="80"/>
                </a:lnTo>
                <a:lnTo>
                  <a:pt x="739" y="86"/>
                </a:lnTo>
                <a:lnTo>
                  <a:pt x="741" y="92"/>
                </a:lnTo>
                <a:lnTo>
                  <a:pt x="741" y="100"/>
                </a:lnTo>
                <a:lnTo>
                  <a:pt x="741" y="194"/>
                </a:lnTo>
                <a:lnTo>
                  <a:pt x="741" y="194"/>
                </a:lnTo>
                <a:lnTo>
                  <a:pt x="741" y="202"/>
                </a:lnTo>
                <a:lnTo>
                  <a:pt x="739" y="208"/>
                </a:lnTo>
                <a:lnTo>
                  <a:pt x="735" y="214"/>
                </a:lnTo>
                <a:lnTo>
                  <a:pt x="731" y="218"/>
                </a:lnTo>
                <a:lnTo>
                  <a:pt x="727" y="222"/>
                </a:lnTo>
                <a:lnTo>
                  <a:pt x="721" y="226"/>
                </a:lnTo>
                <a:lnTo>
                  <a:pt x="715" y="228"/>
                </a:lnTo>
                <a:lnTo>
                  <a:pt x="707" y="228"/>
                </a:lnTo>
                <a:lnTo>
                  <a:pt x="487" y="228"/>
                </a:lnTo>
                <a:lnTo>
                  <a:pt x="487" y="228"/>
                </a:lnTo>
                <a:lnTo>
                  <a:pt x="481" y="228"/>
                </a:lnTo>
                <a:lnTo>
                  <a:pt x="475" y="226"/>
                </a:lnTo>
                <a:lnTo>
                  <a:pt x="469" y="222"/>
                </a:lnTo>
                <a:lnTo>
                  <a:pt x="463" y="218"/>
                </a:lnTo>
                <a:lnTo>
                  <a:pt x="459" y="214"/>
                </a:lnTo>
                <a:lnTo>
                  <a:pt x="457" y="208"/>
                </a:lnTo>
                <a:lnTo>
                  <a:pt x="455" y="202"/>
                </a:lnTo>
                <a:lnTo>
                  <a:pt x="453" y="194"/>
                </a:lnTo>
                <a:lnTo>
                  <a:pt x="453" y="100"/>
                </a:lnTo>
                <a:close/>
                <a:moveTo>
                  <a:pt x="140" y="100"/>
                </a:moveTo>
                <a:lnTo>
                  <a:pt x="140" y="100"/>
                </a:lnTo>
                <a:lnTo>
                  <a:pt x="142" y="92"/>
                </a:lnTo>
                <a:lnTo>
                  <a:pt x="144" y="86"/>
                </a:lnTo>
                <a:lnTo>
                  <a:pt x="146" y="80"/>
                </a:lnTo>
                <a:lnTo>
                  <a:pt x="150" y="76"/>
                </a:lnTo>
                <a:lnTo>
                  <a:pt x="156" y="70"/>
                </a:lnTo>
                <a:lnTo>
                  <a:pt x="162" y="68"/>
                </a:lnTo>
                <a:lnTo>
                  <a:pt x="168" y="66"/>
                </a:lnTo>
                <a:lnTo>
                  <a:pt x="174" y="66"/>
                </a:lnTo>
                <a:lnTo>
                  <a:pt x="395" y="66"/>
                </a:lnTo>
                <a:lnTo>
                  <a:pt x="395" y="66"/>
                </a:lnTo>
                <a:lnTo>
                  <a:pt x="403" y="66"/>
                </a:lnTo>
                <a:lnTo>
                  <a:pt x="409" y="68"/>
                </a:lnTo>
                <a:lnTo>
                  <a:pt x="415" y="70"/>
                </a:lnTo>
                <a:lnTo>
                  <a:pt x="419" y="76"/>
                </a:lnTo>
                <a:lnTo>
                  <a:pt x="423" y="80"/>
                </a:lnTo>
                <a:lnTo>
                  <a:pt x="427" y="86"/>
                </a:lnTo>
                <a:lnTo>
                  <a:pt x="429" y="92"/>
                </a:lnTo>
                <a:lnTo>
                  <a:pt x="429" y="100"/>
                </a:lnTo>
                <a:lnTo>
                  <a:pt x="429" y="194"/>
                </a:lnTo>
                <a:lnTo>
                  <a:pt x="429" y="194"/>
                </a:lnTo>
                <a:lnTo>
                  <a:pt x="429" y="202"/>
                </a:lnTo>
                <a:lnTo>
                  <a:pt x="427" y="208"/>
                </a:lnTo>
                <a:lnTo>
                  <a:pt x="423" y="214"/>
                </a:lnTo>
                <a:lnTo>
                  <a:pt x="419" y="218"/>
                </a:lnTo>
                <a:lnTo>
                  <a:pt x="415" y="222"/>
                </a:lnTo>
                <a:lnTo>
                  <a:pt x="409" y="226"/>
                </a:lnTo>
                <a:lnTo>
                  <a:pt x="403" y="228"/>
                </a:lnTo>
                <a:lnTo>
                  <a:pt x="395" y="228"/>
                </a:lnTo>
                <a:lnTo>
                  <a:pt x="174" y="228"/>
                </a:lnTo>
                <a:lnTo>
                  <a:pt x="174" y="228"/>
                </a:lnTo>
                <a:lnTo>
                  <a:pt x="168" y="228"/>
                </a:lnTo>
                <a:lnTo>
                  <a:pt x="162" y="226"/>
                </a:lnTo>
                <a:lnTo>
                  <a:pt x="156" y="222"/>
                </a:lnTo>
                <a:lnTo>
                  <a:pt x="150" y="218"/>
                </a:lnTo>
                <a:lnTo>
                  <a:pt x="146" y="214"/>
                </a:lnTo>
                <a:lnTo>
                  <a:pt x="144" y="208"/>
                </a:lnTo>
                <a:lnTo>
                  <a:pt x="142" y="202"/>
                </a:lnTo>
                <a:lnTo>
                  <a:pt x="140" y="194"/>
                </a:lnTo>
                <a:lnTo>
                  <a:pt x="140" y="100"/>
                </a:lnTo>
                <a:close/>
                <a:moveTo>
                  <a:pt x="100" y="228"/>
                </a:moveTo>
                <a:lnTo>
                  <a:pt x="60" y="228"/>
                </a:lnTo>
                <a:lnTo>
                  <a:pt x="60" y="228"/>
                </a:lnTo>
                <a:lnTo>
                  <a:pt x="52" y="228"/>
                </a:lnTo>
                <a:lnTo>
                  <a:pt x="46" y="224"/>
                </a:lnTo>
                <a:lnTo>
                  <a:pt x="44" y="218"/>
                </a:lnTo>
                <a:lnTo>
                  <a:pt x="42" y="212"/>
                </a:lnTo>
                <a:lnTo>
                  <a:pt x="42" y="82"/>
                </a:lnTo>
                <a:lnTo>
                  <a:pt x="42" y="82"/>
                </a:lnTo>
                <a:lnTo>
                  <a:pt x="44" y="76"/>
                </a:lnTo>
                <a:lnTo>
                  <a:pt x="46" y="70"/>
                </a:lnTo>
                <a:lnTo>
                  <a:pt x="52" y="66"/>
                </a:lnTo>
                <a:lnTo>
                  <a:pt x="60" y="66"/>
                </a:lnTo>
                <a:lnTo>
                  <a:pt x="100" y="66"/>
                </a:lnTo>
                <a:lnTo>
                  <a:pt x="100" y="66"/>
                </a:lnTo>
                <a:lnTo>
                  <a:pt x="106" y="66"/>
                </a:lnTo>
                <a:lnTo>
                  <a:pt x="112" y="70"/>
                </a:lnTo>
                <a:lnTo>
                  <a:pt x="116" y="76"/>
                </a:lnTo>
                <a:lnTo>
                  <a:pt x="118" y="82"/>
                </a:lnTo>
                <a:lnTo>
                  <a:pt x="118" y="212"/>
                </a:lnTo>
                <a:lnTo>
                  <a:pt x="118" y="212"/>
                </a:lnTo>
                <a:lnTo>
                  <a:pt x="116" y="218"/>
                </a:lnTo>
                <a:lnTo>
                  <a:pt x="112" y="224"/>
                </a:lnTo>
                <a:lnTo>
                  <a:pt x="106" y="228"/>
                </a:lnTo>
                <a:lnTo>
                  <a:pt x="100" y="228"/>
                </a:lnTo>
                <a:lnTo>
                  <a:pt x="100" y="228"/>
                </a:lnTo>
                <a:close/>
                <a:moveTo>
                  <a:pt x="324" y="368"/>
                </a:moveTo>
                <a:lnTo>
                  <a:pt x="324" y="368"/>
                </a:lnTo>
                <a:lnTo>
                  <a:pt x="324" y="364"/>
                </a:lnTo>
                <a:lnTo>
                  <a:pt x="348" y="364"/>
                </a:lnTo>
                <a:lnTo>
                  <a:pt x="348" y="364"/>
                </a:lnTo>
                <a:lnTo>
                  <a:pt x="348" y="368"/>
                </a:lnTo>
                <a:lnTo>
                  <a:pt x="348" y="368"/>
                </a:lnTo>
                <a:lnTo>
                  <a:pt x="352" y="390"/>
                </a:lnTo>
                <a:lnTo>
                  <a:pt x="362" y="410"/>
                </a:lnTo>
                <a:lnTo>
                  <a:pt x="374" y="426"/>
                </a:lnTo>
                <a:lnTo>
                  <a:pt x="391" y="440"/>
                </a:lnTo>
                <a:lnTo>
                  <a:pt x="282" y="440"/>
                </a:lnTo>
                <a:lnTo>
                  <a:pt x="282" y="440"/>
                </a:lnTo>
                <a:lnTo>
                  <a:pt x="298" y="426"/>
                </a:lnTo>
                <a:lnTo>
                  <a:pt x="310" y="410"/>
                </a:lnTo>
                <a:lnTo>
                  <a:pt x="320" y="390"/>
                </a:lnTo>
                <a:lnTo>
                  <a:pt x="324" y="368"/>
                </a:lnTo>
                <a:lnTo>
                  <a:pt x="324" y="36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T America" panose="00000500000000000000" pitchFamily="2" charset="0"/>
              <a:ea typeface="+mn-ea"/>
              <a:cs typeface="+mn-cs"/>
            </a:endParaRPr>
          </a:p>
        </p:txBody>
      </p:sp>
      <p:sp>
        <p:nvSpPr>
          <p:cNvPr id="231" name="Rechteck 230"/>
          <p:cNvSpPr/>
          <p:nvPr/>
        </p:nvSpPr>
        <p:spPr>
          <a:xfrm>
            <a:off x="2746116" y="2981332"/>
            <a:ext cx="6481320" cy="1446550"/>
          </a:xfrm>
          <a:prstGeom prst="rect">
            <a:avLst/>
          </a:prstGeom>
        </p:spPr>
        <p:txBody>
          <a:bodyPr wrap="square" anchor="ctr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4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GT America" panose="00000500000000000000" pitchFamily="2" charset="0"/>
                <a:ea typeface="+mn-ea"/>
                <a:cs typeface="+mn-cs"/>
              </a:rPr>
              <a:t>UNSERE BERATUNGSFELDER</a:t>
            </a:r>
          </a:p>
        </p:txBody>
      </p:sp>
      <p:grpSp>
        <p:nvGrpSpPr>
          <p:cNvPr id="70" name="Group 35"/>
          <p:cNvGrpSpPr>
            <a:grpSpLocks noChangeAspect="1"/>
          </p:cNvGrpSpPr>
          <p:nvPr/>
        </p:nvGrpSpPr>
        <p:grpSpPr bwMode="auto">
          <a:xfrm>
            <a:off x="5111653" y="1847258"/>
            <a:ext cx="399979" cy="535430"/>
            <a:chOff x="3338" y="1488"/>
            <a:chExt cx="1004" cy="1344"/>
          </a:xfrm>
          <a:solidFill>
            <a:schemeClr val="bg1"/>
          </a:solidFill>
        </p:grpSpPr>
        <p:sp>
          <p:nvSpPr>
            <p:cNvPr id="72" name="Freeform 36"/>
            <p:cNvSpPr>
              <a:spLocks noEditPoints="1"/>
            </p:cNvSpPr>
            <p:nvPr/>
          </p:nvSpPr>
          <p:spPr bwMode="auto">
            <a:xfrm>
              <a:off x="3518" y="1488"/>
              <a:ext cx="644" cy="1002"/>
            </a:xfrm>
            <a:custGeom>
              <a:avLst/>
              <a:gdLst>
                <a:gd name="T0" fmla="*/ 52 w 644"/>
                <a:gd name="T1" fmla="*/ 0 h 1002"/>
                <a:gd name="T2" fmla="*/ 22 w 644"/>
                <a:gd name="T3" fmla="*/ 10 h 1002"/>
                <a:gd name="T4" fmla="*/ 4 w 644"/>
                <a:gd name="T5" fmla="*/ 32 h 1002"/>
                <a:gd name="T6" fmla="*/ 0 w 644"/>
                <a:gd name="T7" fmla="*/ 950 h 1002"/>
                <a:gd name="T8" fmla="*/ 4 w 644"/>
                <a:gd name="T9" fmla="*/ 970 h 1002"/>
                <a:gd name="T10" fmla="*/ 22 w 644"/>
                <a:gd name="T11" fmla="*/ 994 h 1002"/>
                <a:gd name="T12" fmla="*/ 52 w 644"/>
                <a:gd name="T13" fmla="*/ 1002 h 1002"/>
                <a:gd name="T14" fmla="*/ 602 w 644"/>
                <a:gd name="T15" fmla="*/ 1002 h 1002"/>
                <a:gd name="T16" fmla="*/ 630 w 644"/>
                <a:gd name="T17" fmla="*/ 986 h 1002"/>
                <a:gd name="T18" fmla="*/ 644 w 644"/>
                <a:gd name="T19" fmla="*/ 960 h 1002"/>
                <a:gd name="T20" fmla="*/ 644 w 644"/>
                <a:gd name="T21" fmla="*/ 54 h 1002"/>
                <a:gd name="T22" fmla="*/ 636 w 644"/>
                <a:gd name="T23" fmla="*/ 24 h 1002"/>
                <a:gd name="T24" fmla="*/ 612 w 644"/>
                <a:gd name="T25" fmla="*/ 4 h 1002"/>
                <a:gd name="T26" fmla="*/ 592 w 644"/>
                <a:gd name="T27" fmla="*/ 0 h 1002"/>
                <a:gd name="T28" fmla="*/ 539 w 644"/>
                <a:gd name="T29" fmla="*/ 76 h 1002"/>
                <a:gd name="T30" fmla="*/ 549 w 644"/>
                <a:gd name="T31" fmla="*/ 84 h 1002"/>
                <a:gd name="T32" fmla="*/ 549 w 644"/>
                <a:gd name="T33" fmla="*/ 92 h 1002"/>
                <a:gd name="T34" fmla="*/ 539 w 644"/>
                <a:gd name="T35" fmla="*/ 100 h 1002"/>
                <a:gd name="T36" fmla="*/ 101 w 644"/>
                <a:gd name="T37" fmla="*/ 98 h 1002"/>
                <a:gd name="T38" fmla="*/ 93 w 644"/>
                <a:gd name="T39" fmla="*/ 88 h 1002"/>
                <a:gd name="T40" fmla="*/ 97 w 644"/>
                <a:gd name="T41" fmla="*/ 80 h 1002"/>
                <a:gd name="T42" fmla="*/ 105 w 644"/>
                <a:gd name="T43" fmla="*/ 76 h 1002"/>
                <a:gd name="T44" fmla="*/ 237 w 644"/>
                <a:gd name="T45" fmla="*/ 904 h 1002"/>
                <a:gd name="T46" fmla="*/ 225 w 644"/>
                <a:gd name="T47" fmla="*/ 912 h 1002"/>
                <a:gd name="T48" fmla="*/ 54 w 644"/>
                <a:gd name="T49" fmla="*/ 912 h 1002"/>
                <a:gd name="T50" fmla="*/ 46 w 644"/>
                <a:gd name="T51" fmla="*/ 898 h 1002"/>
                <a:gd name="T52" fmla="*/ 48 w 644"/>
                <a:gd name="T53" fmla="*/ 772 h 1002"/>
                <a:gd name="T54" fmla="*/ 60 w 644"/>
                <a:gd name="T55" fmla="*/ 762 h 1002"/>
                <a:gd name="T56" fmla="*/ 229 w 644"/>
                <a:gd name="T57" fmla="*/ 764 h 1002"/>
                <a:gd name="T58" fmla="*/ 239 w 644"/>
                <a:gd name="T59" fmla="*/ 778 h 1002"/>
                <a:gd name="T60" fmla="*/ 598 w 644"/>
                <a:gd name="T61" fmla="*/ 898 h 1002"/>
                <a:gd name="T62" fmla="*/ 588 w 644"/>
                <a:gd name="T63" fmla="*/ 912 h 1002"/>
                <a:gd name="T64" fmla="*/ 419 w 644"/>
                <a:gd name="T65" fmla="*/ 912 h 1002"/>
                <a:gd name="T66" fmla="*/ 407 w 644"/>
                <a:gd name="T67" fmla="*/ 904 h 1002"/>
                <a:gd name="T68" fmla="*/ 405 w 644"/>
                <a:gd name="T69" fmla="*/ 778 h 1002"/>
                <a:gd name="T70" fmla="*/ 415 w 644"/>
                <a:gd name="T71" fmla="*/ 764 h 1002"/>
                <a:gd name="T72" fmla="*/ 584 w 644"/>
                <a:gd name="T73" fmla="*/ 762 h 1002"/>
                <a:gd name="T74" fmla="*/ 596 w 644"/>
                <a:gd name="T75" fmla="*/ 772 h 1002"/>
                <a:gd name="T76" fmla="*/ 598 w 644"/>
                <a:gd name="T77" fmla="*/ 680 h 1002"/>
                <a:gd name="T78" fmla="*/ 594 w 644"/>
                <a:gd name="T79" fmla="*/ 688 h 1002"/>
                <a:gd name="T80" fmla="*/ 58 w 644"/>
                <a:gd name="T81" fmla="*/ 692 h 1002"/>
                <a:gd name="T82" fmla="*/ 50 w 644"/>
                <a:gd name="T83" fmla="*/ 688 h 1002"/>
                <a:gd name="T84" fmla="*/ 46 w 644"/>
                <a:gd name="T85" fmla="*/ 164 h 1002"/>
                <a:gd name="T86" fmla="*/ 50 w 644"/>
                <a:gd name="T87" fmla="*/ 154 h 1002"/>
                <a:gd name="T88" fmla="*/ 586 w 644"/>
                <a:gd name="T89" fmla="*/ 152 h 1002"/>
                <a:gd name="T90" fmla="*/ 594 w 644"/>
                <a:gd name="T91" fmla="*/ 154 h 1002"/>
                <a:gd name="T92" fmla="*/ 598 w 644"/>
                <a:gd name="T93" fmla="*/ 680 h 10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44" h="1002">
                  <a:moveTo>
                    <a:pt x="592" y="0"/>
                  </a:moveTo>
                  <a:lnTo>
                    <a:pt x="52" y="0"/>
                  </a:lnTo>
                  <a:lnTo>
                    <a:pt x="52" y="0"/>
                  </a:lnTo>
                  <a:lnTo>
                    <a:pt x="42" y="2"/>
                  </a:lnTo>
                  <a:lnTo>
                    <a:pt x="32" y="4"/>
                  </a:lnTo>
                  <a:lnTo>
                    <a:pt x="22" y="10"/>
                  </a:lnTo>
                  <a:lnTo>
                    <a:pt x="14" y="16"/>
                  </a:lnTo>
                  <a:lnTo>
                    <a:pt x="8" y="24"/>
                  </a:lnTo>
                  <a:lnTo>
                    <a:pt x="4" y="32"/>
                  </a:lnTo>
                  <a:lnTo>
                    <a:pt x="0" y="42"/>
                  </a:lnTo>
                  <a:lnTo>
                    <a:pt x="0" y="54"/>
                  </a:lnTo>
                  <a:lnTo>
                    <a:pt x="0" y="950"/>
                  </a:lnTo>
                  <a:lnTo>
                    <a:pt x="0" y="950"/>
                  </a:lnTo>
                  <a:lnTo>
                    <a:pt x="0" y="960"/>
                  </a:lnTo>
                  <a:lnTo>
                    <a:pt x="4" y="970"/>
                  </a:lnTo>
                  <a:lnTo>
                    <a:pt x="8" y="980"/>
                  </a:lnTo>
                  <a:lnTo>
                    <a:pt x="14" y="986"/>
                  </a:lnTo>
                  <a:lnTo>
                    <a:pt x="22" y="994"/>
                  </a:lnTo>
                  <a:lnTo>
                    <a:pt x="32" y="998"/>
                  </a:lnTo>
                  <a:lnTo>
                    <a:pt x="42" y="1002"/>
                  </a:lnTo>
                  <a:lnTo>
                    <a:pt x="52" y="1002"/>
                  </a:lnTo>
                  <a:lnTo>
                    <a:pt x="592" y="1002"/>
                  </a:lnTo>
                  <a:lnTo>
                    <a:pt x="592" y="1002"/>
                  </a:lnTo>
                  <a:lnTo>
                    <a:pt x="602" y="1002"/>
                  </a:lnTo>
                  <a:lnTo>
                    <a:pt x="612" y="998"/>
                  </a:lnTo>
                  <a:lnTo>
                    <a:pt x="622" y="994"/>
                  </a:lnTo>
                  <a:lnTo>
                    <a:pt x="630" y="986"/>
                  </a:lnTo>
                  <a:lnTo>
                    <a:pt x="636" y="980"/>
                  </a:lnTo>
                  <a:lnTo>
                    <a:pt x="640" y="970"/>
                  </a:lnTo>
                  <a:lnTo>
                    <a:pt x="644" y="960"/>
                  </a:lnTo>
                  <a:lnTo>
                    <a:pt x="644" y="950"/>
                  </a:lnTo>
                  <a:lnTo>
                    <a:pt x="644" y="54"/>
                  </a:lnTo>
                  <a:lnTo>
                    <a:pt x="644" y="54"/>
                  </a:lnTo>
                  <a:lnTo>
                    <a:pt x="644" y="42"/>
                  </a:lnTo>
                  <a:lnTo>
                    <a:pt x="640" y="32"/>
                  </a:lnTo>
                  <a:lnTo>
                    <a:pt x="636" y="24"/>
                  </a:lnTo>
                  <a:lnTo>
                    <a:pt x="630" y="16"/>
                  </a:lnTo>
                  <a:lnTo>
                    <a:pt x="622" y="10"/>
                  </a:lnTo>
                  <a:lnTo>
                    <a:pt x="612" y="4"/>
                  </a:lnTo>
                  <a:lnTo>
                    <a:pt x="602" y="2"/>
                  </a:lnTo>
                  <a:lnTo>
                    <a:pt x="592" y="0"/>
                  </a:lnTo>
                  <a:lnTo>
                    <a:pt x="592" y="0"/>
                  </a:lnTo>
                  <a:close/>
                  <a:moveTo>
                    <a:pt x="105" y="76"/>
                  </a:moveTo>
                  <a:lnTo>
                    <a:pt x="539" y="76"/>
                  </a:lnTo>
                  <a:lnTo>
                    <a:pt x="539" y="76"/>
                  </a:lnTo>
                  <a:lnTo>
                    <a:pt x="543" y="76"/>
                  </a:lnTo>
                  <a:lnTo>
                    <a:pt x="547" y="80"/>
                  </a:lnTo>
                  <a:lnTo>
                    <a:pt x="549" y="84"/>
                  </a:lnTo>
                  <a:lnTo>
                    <a:pt x="551" y="88"/>
                  </a:lnTo>
                  <a:lnTo>
                    <a:pt x="551" y="88"/>
                  </a:lnTo>
                  <a:lnTo>
                    <a:pt x="549" y="92"/>
                  </a:lnTo>
                  <a:lnTo>
                    <a:pt x="547" y="96"/>
                  </a:lnTo>
                  <a:lnTo>
                    <a:pt x="543" y="98"/>
                  </a:lnTo>
                  <a:lnTo>
                    <a:pt x="539" y="100"/>
                  </a:lnTo>
                  <a:lnTo>
                    <a:pt x="105" y="100"/>
                  </a:lnTo>
                  <a:lnTo>
                    <a:pt x="105" y="100"/>
                  </a:lnTo>
                  <a:lnTo>
                    <a:pt x="101" y="98"/>
                  </a:lnTo>
                  <a:lnTo>
                    <a:pt x="97" y="96"/>
                  </a:lnTo>
                  <a:lnTo>
                    <a:pt x="95" y="92"/>
                  </a:lnTo>
                  <a:lnTo>
                    <a:pt x="93" y="88"/>
                  </a:lnTo>
                  <a:lnTo>
                    <a:pt x="93" y="88"/>
                  </a:lnTo>
                  <a:lnTo>
                    <a:pt x="95" y="84"/>
                  </a:lnTo>
                  <a:lnTo>
                    <a:pt x="97" y="80"/>
                  </a:lnTo>
                  <a:lnTo>
                    <a:pt x="101" y="76"/>
                  </a:lnTo>
                  <a:lnTo>
                    <a:pt x="105" y="76"/>
                  </a:lnTo>
                  <a:lnTo>
                    <a:pt x="105" y="76"/>
                  </a:lnTo>
                  <a:close/>
                  <a:moveTo>
                    <a:pt x="239" y="898"/>
                  </a:moveTo>
                  <a:lnTo>
                    <a:pt x="239" y="898"/>
                  </a:lnTo>
                  <a:lnTo>
                    <a:pt x="237" y="904"/>
                  </a:lnTo>
                  <a:lnTo>
                    <a:pt x="235" y="908"/>
                  </a:lnTo>
                  <a:lnTo>
                    <a:pt x="229" y="912"/>
                  </a:lnTo>
                  <a:lnTo>
                    <a:pt x="225" y="912"/>
                  </a:lnTo>
                  <a:lnTo>
                    <a:pt x="60" y="912"/>
                  </a:lnTo>
                  <a:lnTo>
                    <a:pt x="60" y="912"/>
                  </a:lnTo>
                  <a:lnTo>
                    <a:pt x="54" y="912"/>
                  </a:lnTo>
                  <a:lnTo>
                    <a:pt x="50" y="908"/>
                  </a:lnTo>
                  <a:lnTo>
                    <a:pt x="48" y="904"/>
                  </a:lnTo>
                  <a:lnTo>
                    <a:pt x="46" y="898"/>
                  </a:lnTo>
                  <a:lnTo>
                    <a:pt x="46" y="778"/>
                  </a:lnTo>
                  <a:lnTo>
                    <a:pt x="46" y="778"/>
                  </a:lnTo>
                  <a:lnTo>
                    <a:pt x="48" y="772"/>
                  </a:lnTo>
                  <a:lnTo>
                    <a:pt x="50" y="768"/>
                  </a:lnTo>
                  <a:lnTo>
                    <a:pt x="54" y="764"/>
                  </a:lnTo>
                  <a:lnTo>
                    <a:pt x="60" y="762"/>
                  </a:lnTo>
                  <a:lnTo>
                    <a:pt x="225" y="762"/>
                  </a:lnTo>
                  <a:lnTo>
                    <a:pt x="225" y="762"/>
                  </a:lnTo>
                  <a:lnTo>
                    <a:pt x="229" y="764"/>
                  </a:lnTo>
                  <a:lnTo>
                    <a:pt x="235" y="768"/>
                  </a:lnTo>
                  <a:lnTo>
                    <a:pt x="237" y="772"/>
                  </a:lnTo>
                  <a:lnTo>
                    <a:pt x="239" y="778"/>
                  </a:lnTo>
                  <a:lnTo>
                    <a:pt x="239" y="898"/>
                  </a:lnTo>
                  <a:close/>
                  <a:moveTo>
                    <a:pt x="598" y="898"/>
                  </a:moveTo>
                  <a:lnTo>
                    <a:pt x="598" y="898"/>
                  </a:lnTo>
                  <a:lnTo>
                    <a:pt x="596" y="904"/>
                  </a:lnTo>
                  <a:lnTo>
                    <a:pt x="594" y="908"/>
                  </a:lnTo>
                  <a:lnTo>
                    <a:pt x="588" y="912"/>
                  </a:lnTo>
                  <a:lnTo>
                    <a:pt x="584" y="912"/>
                  </a:lnTo>
                  <a:lnTo>
                    <a:pt x="419" y="912"/>
                  </a:lnTo>
                  <a:lnTo>
                    <a:pt x="419" y="912"/>
                  </a:lnTo>
                  <a:lnTo>
                    <a:pt x="415" y="912"/>
                  </a:lnTo>
                  <a:lnTo>
                    <a:pt x="409" y="908"/>
                  </a:lnTo>
                  <a:lnTo>
                    <a:pt x="407" y="904"/>
                  </a:lnTo>
                  <a:lnTo>
                    <a:pt x="405" y="898"/>
                  </a:lnTo>
                  <a:lnTo>
                    <a:pt x="405" y="778"/>
                  </a:lnTo>
                  <a:lnTo>
                    <a:pt x="405" y="778"/>
                  </a:lnTo>
                  <a:lnTo>
                    <a:pt x="407" y="772"/>
                  </a:lnTo>
                  <a:lnTo>
                    <a:pt x="409" y="768"/>
                  </a:lnTo>
                  <a:lnTo>
                    <a:pt x="415" y="764"/>
                  </a:lnTo>
                  <a:lnTo>
                    <a:pt x="419" y="762"/>
                  </a:lnTo>
                  <a:lnTo>
                    <a:pt x="584" y="762"/>
                  </a:lnTo>
                  <a:lnTo>
                    <a:pt x="584" y="762"/>
                  </a:lnTo>
                  <a:lnTo>
                    <a:pt x="588" y="764"/>
                  </a:lnTo>
                  <a:lnTo>
                    <a:pt x="594" y="768"/>
                  </a:lnTo>
                  <a:lnTo>
                    <a:pt x="596" y="772"/>
                  </a:lnTo>
                  <a:lnTo>
                    <a:pt x="598" y="778"/>
                  </a:lnTo>
                  <a:lnTo>
                    <a:pt x="598" y="898"/>
                  </a:lnTo>
                  <a:close/>
                  <a:moveTo>
                    <a:pt x="598" y="680"/>
                  </a:moveTo>
                  <a:lnTo>
                    <a:pt x="598" y="680"/>
                  </a:lnTo>
                  <a:lnTo>
                    <a:pt x="596" y="684"/>
                  </a:lnTo>
                  <a:lnTo>
                    <a:pt x="594" y="688"/>
                  </a:lnTo>
                  <a:lnTo>
                    <a:pt x="590" y="690"/>
                  </a:lnTo>
                  <a:lnTo>
                    <a:pt x="586" y="692"/>
                  </a:lnTo>
                  <a:lnTo>
                    <a:pt x="58" y="692"/>
                  </a:lnTo>
                  <a:lnTo>
                    <a:pt x="58" y="692"/>
                  </a:lnTo>
                  <a:lnTo>
                    <a:pt x="54" y="690"/>
                  </a:lnTo>
                  <a:lnTo>
                    <a:pt x="50" y="688"/>
                  </a:lnTo>
                  <a:lnTo>
                    <a:pt x="48" y="684"/>
                  </a:lnTo>
                  <a:lnTo>
                    <a:pt x="46" y="680"/>
                  </a:lnTo>
                  <a:lnTo>
                    <a:pt x="46" y="164"/>
                  </a:lnTo>
                  <a:lnTo>
                    <a:pt x="46" y="164"/>
                  </a:lnTo>
                  <a:lnTo>
                    <a:pt x="48" y="158"/>
                  </a:lnTo>
                  <a:lnTo>
                    <a:pt x="50" y="154"/>
                  </a:lnTo>
                  <a:lnTo>
                    <a:pt x="54" y="152"/>
                  </a:lnTo>
                  <a:lnTo>
                    <a:pt x="58" y="152"/>
                  </a:lnTo>
                  <a:lnTo>
                    <a:pt x="586" y="152"/>
                  </a:lnTo>
                  <a:lnTo>
                    <a:pt x="586" y="152"/>
                  </a:lnTo>
                  <a:lnTo>
                    <a:pt x="590" y="152"/>
                  </a:lnTo>
                  <a:lnTo>
                    <a:pt x="594" y="154"/>
                  </a:lnTo>
                  <a:lnTo>
                    <a:pt x="596" y="158"/>
                  </a:lnTo>
                  <a:lnTo>
                    <a:pt x="598" y="164"/>
                  </a:lnTo>
                  <a:lnTo>
                    <a:pt x="598" y="68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T America" panose="00000500000000000000" pitchFamily="2" charset="0"/>
                <a:ea typeface="+mn-ea"/>
                <a:cs typeface="+mn-cs"/>
              </a:endParaRPr>
            </a:p>
          </p:txBody>
        </p:sp>
        <p:sp>
          <p:nvSpPr>
            <p:cNvPr id="73" name="Freeform 37"/>
            <p:cNvSpPr>
              <a:spLocks noEditPoints="1"/>
            </p:cNvSpPr>
            <p:nvPr/>
          </p:nvSpPr>
          <p:spPr bwMode="auto">
            <a:xfrm>
              <a:off x="3338" y="2506"/>
              <a:ext cx="1004" cy="326"/>
            </a:xfrm>
            <a:custGeom>
              <a:avLst/>
              <a:gdLst>
                <a:gd name="T0" fmla="*/ 998 w 1004"/>
                <a:gd name="T1" fmla="*/ 290 h 326"/>
                <a:gd name="T2" fmla="*/ 675 w 1004"/>
                <a:gd name="T3" fmla="*/ 0 h 326"/>
                <a:gd name="T4" fmla="*/ 615 w 1004"/>
                <a:gd name="T5" fmla="*/ 0 h 326"/>
                <a:gd name="T6" fmla="*/ 689 w 1004"/>
                <a:gd name="T7" fmla="*/ 66 h 326"/>
                <a:gd name="T8" fmla="*/ 315 w 1004"/>
                <a:gd name="T9" fmla="*/ 66 h 326"/>
                <a:gd name="T10" fmla="*/ 389 w 1004"/>
                <a:gd name="T11" fmla="*/ 0 h 326"/>
                <a:gd name="T12" fmla="*/ 329 w 1004"/>
                <a:gd name="T13" fmla="*/ 0 h 326"/>
                <a:gd name="T14" fmla="*/ 6 w 1004"/>
                <a:gd name="T15" fmla="*/ 290 h 326"/>
                <a:gd name="T16" fmla="*/ 6 w 1004"/>
                <a:gd name="T17" fmla="*/ 290 h 326"/>
                <a:gd name="T18" fmla="*/ 2 w 1004"/>
                <a:gd name="T19" fmla="*/ 296 h 326"/>
                <a:gd name="T20" fmla="*/ 0 w 1004"/>
                <a:gd name="T21" fmla="*/ 304 h 326"/>
                <a:gd name="T22" fmla="*/ 0 w 1004"/>
                <a:gd name="T23" fmla="*/ 312 h 326"/>
                <a:gd name="T24" fmla="*/ 4 w 1004"/>
                <a:gd name="T25" fmla="*/ 318 h 326"/>
                <a:gd name="T26" fmla="*/ 4 w 1004"/>
                <a:gd name="T27" fmla="*/ 318 h 326"/>
                <a:gd name="T28" fmla="*/ 10 w 1004"/>
                <a:gd name="T29" fmla="*/ 324 h 326"/>
                <a:gd name="T30" fmla="*/ 18 w 1004"/>
                <a:gd name="T31" fmla="*/ 326 h 326"/>
                <a:gd name="T32" fmla="*/ 26 w 1004"/>
                <a:gd name="T33" fmla="*/ 324 h 326"/>
                <a:gd name="T34" fmla="*/ 32 w 1004"/>
                <a:gd name="T35" fmla="*/ 320 h 326"/>
                <a:gd name="T36" fmla="*/ 98 w 1004"/>
                <a:gd name="T37" fmla="*/ 262 h 326"/>
                <a:gd name="T38" fmla="*/ 904 w 1004"/>
                <a:gd name="T39" fmla="*/ 262 h 326"/>
                <a:gd name="T40" fmla="*/ 904 w 1004"/>
                <a:gd name="T41" fmla="*/ 262 h 326"/>
                <a:gd name="T42" fmla="*/ 906 w 1004"/>
                <a:gd name="T43" fmla="*/ 262 h 326"/>
                <a:gd name="T44" fmla="*/ 972 w 1004"/>
                <a:gd name="T45" fmla="*/ 320 h 326"/>
                <a:gd name="T46" fmla="*/ 972 w 1004"/>
                <a:gd name="T47" fmla="*/ 320 h 326"/>
                <a:gd name="T48" fmla="*/ 978 w 1004"/>
                <a:gd name="T49" fmla="*/ 324 h 326"/>
                <a:gd name="T50" fmla="*/ 984 w 1004"/>
                <a:gd name="T51" fmla="*/ 326 h 326"/>
                <a:gd name="T52" fmla="*/ 984 w 1004"/>
                <a:gd name="T53" fmla="*/ 326 h 326"/>
                <a:gd name="T54" fmla="*/ 992 w 1004"/>
                <a:gd name="T55" fmla="*/ 324 h 326"/>
                <a:gd name="T56" fmla="*/ 1000 w 1004"/>
                <a:gd name="T57" fmla="*/ 318 h 326"/>
                <a:gd name="T58" fmla="*/ 1000 w 1004"/>
                <a:gd name="T59" fmla="*/ 318 h 326"/>
                <a:gd name="T60" fmla="*/ 1004 w 1004"/>
                <a:gd name="T61" fmla="*/ 312 h 326"/>
                <a:gd name="T62" fmla="*/ 1004 w 1004"/>
                <a:gd name="T63" fmla="*/ 304 h 326"/>
                <a:gd name="T64" fmla="*/ 1002 w 1004"/>
                <a:gd name="T65" fmla="*/ 296 h 326"/>
                <a:gd name="T66" fmla="*/ 998 w 1004"/>
                <a:gd name="T67" fmla="*/ 290 h 326"/>
                <a:gd name="T68" fmla="*/ 998 w 1004"/>
                <a:gd name="T69" fmla="*/ 290 h 326"/>
                <a:gd name="T70" fmla="*/ 142 w 1004"/>
                <a:gd name="T71" fmla="*/ 222 h 326"/>
                <a:gd name="T72" fmla="*/ 271 w 1004"/>
                <a:gd name="T73" fmla="*/ 106 h 326"/>
                <a:gd name="T74" fmla="*/ 733 w 1004"/>
                <a:gd name="T75" fmla="*/ 106 h 326"/>
                <a:gd name="T76" fmla="*/ 862 w 1004"/>
                <a:gd name="T77" fmla="*/ 222 h 326"/>
                <a:gd name="T78" fmla="*/ 142 w 1004"/>
                <a:gd name="T79" fmla="*/ 222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004" h="326">
                  <a:moveTo>
                    <a:pt x="998" y="290"/>
                  </a:moveTo>
                  <a:lnTo>
                    <a:pt x="675" y="0"/>
                  </a:lnTo>
                  <a:lnTo>
                    <a:pt x="615" y="0"/>
                  </a:lnTo>
                  <a:lnTo>
                    <a:pt x="689" y="66"/>
                  </a:lnTo>
                  <a:lnTo>
                    <a:pt x="315" y="66"/>
                  </a:lnTo>
                  <a:lnTo>
                    <a:pt x="389" y="0"/>
                  </a:lnTo>
                  <a:lnTo>
                    <a:pt x="329" y="0"/>
                  </a:lnTo>
                  <a:lnTo>
                    <a:pt x="6" y="290"/>
                  </a:lnTo>
                  <a:lnTo>
                    <a:pt x="6" y="290"/>
                  </a:lnTo>
                  <a:lnTo>
                    <a:pt x="2" y="296"/>
                  </a:lnTo>
                  <a:lnTo>
                    <a:pt x="0" y="304"/>
                  </a:lnTo>
                  <a:lnTo>
                    <a:pt x="0" y="312"/>
                  </a:lnTo>
                  <a:lnTo>
                    <a:pt x="4" y="318"/>
                  </a:lnTo>
                  <a:lnTo>
                    <a:pt x="4" y="318"/>
                  </a:lnTo>
                  <a:lnTo>
                    <a:pt x="10" y="324"/>
                  </a:lnTo>
                  <a:lnTo>
                    <a:pt x="18" y="326"/>
                  </a:lnTo>
                  <a:lnTo>
                    <a:pt x="26" y="324"/>
                  </a:lnTo>
                  <a:lnTo>
                    <a:pt x="32" y="320"/>
                  </a:lnTo>
                  <a:lnTo>
                    <a:pt x="98" y="262"/>
                  </a:lnTo>
                  <a:lnTo>
                    <a:pt x="904" y="262"/>
                  </a:lnTo>
                  <a:lnTo>
                    <a:pt x="904" y="262"/>
                  </a:lnTo>
                  <a:lnTo>
                    <a:pt x="906" y="262"/>
                  </a:lnTo>
                  <a:lnTo>
                    <a:pt x="972" y="320"/>
                  </a:lnTo>
                  <a:lnTo>
                    <a:pt x="972" y="320"/>
                  </a:lnTo>
                  <a:lnTo>
                    <a:pt x="978" y="324"/>
                  </a:lnTo>
                  <a:lnTo>
                    <a:pt x="984" y="326"/>
                  </a:lnTo>
                  <a:lnTo>
                    <a:pt x="984" y="326"/>
                  </a:lnTo>
                  <a:lnTo>
                    <a:pt x="992" y="324"/>
                  </a:lnTo>
                  <a:lnTo>
                    <a:pt x="1000" y="318"/>
                  </a:lnTo>
                  <a:lnTo>
                    <a:pt x="1000" y="318"/>
                  </a:lnTo>
                  <a:lnTo>
                    <a:pt x="1004" y="312"/>
                  </a:lnTo>
                  <a:lnTo>
                    <a:pt x="1004" y="304"/>
                  </a:lnTo>
                  <a:lnTo>
                    <a:pt x="1002" y="296"/>
                  </a:lnTo>
                  <a:lnTo>
                    <a:pt x="998" y="290"/>
                  </a:lnTo>
                  <a:lnTo>
                    <a:pt x="998" y="290"/>
                  </a:lnTo>
                  <a:close/>
                  <a:moveTo>
                    <a:pt x="142" y="222"/>
                  </a:moveTo>
                  <a:lnTo>
                    <a:pt x="271" y="106"/>
                  </a:lnTo>
                  <a:lnTo>
                    <a:pt x="733" y="106"/>
                  </a:lnTo>
                  <a:lnTo>
                    <a:pt x="862" y="222"/>
                  </a:lnTo>
                  <a:lnTo>
                    <a:pt x="142" y="2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T America" panose="00000500000000000000" pitchFamily="2" charset="0"/>
                <a:ea typeface="+mn-ea"/>
                <a:cs typeface="+mn-cs"/>
              </a:endParaRPr>
            </a:p>
          </p:txBody>
        </p:sp>
      </p:grpSp>
      <p:grpSp>
        <p:nvGrpSpPr>
          <p:cNvPr id="124" name="Gruppieren 123"/>
          <p:cNvGrpSpPr/>
          <p:nvPr/>
        </p:nvGrpSpPr>
        <p:grpSpPr>
          <a:xfrm>
            <a:off x="6116366" y="1734711"/>
            <a:ext cx="884986" cy="513315"/>
            <a:chOff x="4343597" y="1478802"/>
            <a:chExt cx="1241125" cy="719886"/>
          </a:xfrm>
        </p:grpSpPr>
        <p:sp>
          <p:nvSpPr>
            <p:cNvPr id="125" name="Freeform 18"/>
            <p:cNvSpPr>
              <a:spLocks noEditPoints="1"/>
            </p:cNvSpPr>
            <p:nvPr/>
          </p:nvSpPr>
          <p:spPr bwMode="auto">
            <a:xfrm>
              <a:off x="4360668" y="1554146"/>
              <a:ext cx="1222240" cy="637909"/>
            </a:xfrm>
            <a:custGeom>
              <a:avLst/>
              <a:gdLst>
                <a:gd name="T0" fmla="*/ 1460 w 1460"/>
                <a:gd name="T1" fmla="*/ 348 h 762"/>
                <a:gd name="T2" fmla="*/ 1025 w 1460"/>
                <a:gd name="T3" fmla="*/ 284 h 762"/>
                <a:gd name="T4" fmla="*/ 719 w 1460"/>
                <a:gd name="T5" fmla="*/ 8 h 762"/>
                <a:gd name="T6" fmla="*/ 4 w 1460"/>
                <a:gd name="T7" fmla="*/ 326 h 762"/>
                <a:gd name="T8" fmla="*/ 0 w 1460"/>
                <a:gd name="T9" fmla="*/ 544 h 762"/>
                <a:gd name="T10" fmla="*/ 82 w 1460"/>
                <a:gd name="T11" fmla="*/ 762 h 762"/>
                <a:gd name="T12" fmla="*/ 673 w 1460"/>
                <a:gd name="T13" fmla="*/ 648 h 762"/>
                <a:gd name="T14" fmla="*/ 769 w 1460"/>
                <a:gd name="T15" fmla="*/ 552 h 762"/>
                <a:gd name="T16" fmla="*/ 889 w 1460"/>
                <a:gd name="T17" fmla="*/ 762 h 762"/>
                <a:gd name="T18" fmla="*/ 1446 w 1460"/>
                <a:gd name="T19" fmla="*/ 762 h 762"/>
                <a:gd name="T20" fmla="*/ 58 w 1460"/>
                <a:gd name="T21" fmla="*/ 416 h 762"/>
                <a:gd name="T22" fmla="*/ 140 w 1460"/>
                <a:gd name="T23" fmla="*/ 516 h 762"/>
                <a:gd name="T24" fmla="*/ 32 w 1460"/>
                <a:gd name="T25" fmla="*/ 432 h 762"/>
                <a:gd name="T26" fmla="*/ 32 w 1460"/>
                <a:gd name="T27" fmla="*/ 654 h 762"/>
                <a:gd name="T28" fmla="*/ 58 w 1460"/>
                <a:gd name="T29" fmla="*/ 552 h 762"/>
                <a:gd name="T30" fmla="*/ 288 w 1460"/>
                <a:gd name="T31" fmla="*/ 578 h 762"/>
                <a:gd name="T32" fmla="*/ 180 w 1460"/>
                <a:gd name="T33" fmla="*/ 596 h 762"/>
                <a:gd name="T34" fmla="*/ 286 w 1460"/>
                <a:gd name="T35" fmla="*/ 552 h 762"/>
                <a:gd name="T36" fmla="*/ 198 w 1460"/>
                <a:gd name="T37" fmla="*/ 516 h 762"/>
                <a:gd name="T38" fmla="*/ 180 w 1460"/>
                <a:gd name="T39" fmla="*/ 418 h 762"/>
                <a:gd name="T40" fmla="*/ 288 w 1460"/>
                <a:gd name="T41" fmla="*/ 438 h 762"/>
                <a:gd name="T42" fmla="*/ 441 w 1460"/>
                <a:gd name="T43" fmla="*/ 422 h 762"/>
                <a:gd name="T44" fmla="*/ 330 w 1460"/>
                <a:gd name="T45" fmla="*/ 510 h 762"/>
                <a:gd name="T46" fmla="*/ 439 w 1460"/>
                <a:gd name="T47" fmla="*/ 654 h 762"/>
                <a:gd name="T48" fmla="*/ 330 w 1460"/>
                <a:gd name="T49" fmla="*/ 560 h 762"/>
                <a:gd name="T50" fmla="*/ 439 w 1460"/>
                <a:gd name="T51" fmla="*/ 554 h 762"/>
                <a:gd name="T52" fmla="*/ 495 w 1460"/>
                <a:gd name="T53" fmla="*/ 418 h 762"/>
                <a:gd name="T54" fmla="*/ 605 w 1460"/>
                <a:gd name="T55" fmla="*/ 438 h 762"/>
                <a:gd name="T56" fmla="*/ 605 w 1460"/>
                <a:gd name="T57" fmla="*/ 578 h 762"/>
                <a:gd name="T58" fmla="*/ 495 w 1460"/>
                <a:gd name="T59" fmla="*/ 596 h 762"/>
                <a:gd name="T60" fmla="*/ 601 w 1460"/>
                <a:gd name="T61" fmla="*/ 552 h 762"/>
                <a:gd name="T62" fmla="*/ 513 w 1460"/>
                <a:gd name="T63" fmla="*/ 378 h 762"/>
                <a:gd name="T64" fmla="*/ 495 w 1460"/>
                <a:gd name="T65" fmla="*/ 280 h 762"/>
                <a:gd name="T66" fmla="*/ 605 w 1460"/>
                <a:gd name="T67" fmla="*/ 302 h 762"/>
                <a:gd name="T68" fmla="*/ 673 w 1460"/>
                <a:gd name="T69" fmla="*/ 512 h 762"/>
                <a:gd name="T70" fmla="*/ 701 w 1460"/>
                <a:gd name="T71" fmla="*/ 416 h 762"/>
                <a:gd name="T72" fmla="*/ 783 w 1460"/>
                <a:gd name="T73" fmla="*/ 334 h 762"/>
                <a:gd name="T74" fmla="*/ 673 w 1460"/>
                <a:gd name="T75" fmla="*/ 294 h 762"/>
                <a:gd name="T76" fmla="*/ 783 w 1460"/>
                <a:gd name="T77" fmla="*/ 280 h 762"/>
                <a:gd name="T78" fmla="*/ 959 w 1460"/>
                <a:gd name="T79" fmla="*/ 278 h 762"/>
                <a:gd name="T80" fmla="*/ 947 w 1460"/>
                <a:gd name="T81" fmla="*/ 380 h 762"/>
                <a:gd name="T82" fmla="*/ 959 w 1460"/>
                <a:gd name="T83" fmla="*/ 654 h 762"/>
                <a:gd name="T84" fmla="*/ 849 w 1460"/>
                <a:gd name="T85" fmla="*/ 642 h 762"/>
                <a:gd name="T86" fmla="*/ 959 w 1460"/>
                <a:gd name="T87" fmla="*/ 558 h 762"/>
                <a:gd name="T88" fmla="*/ 931 w 1460"/>
                <a:gd name="T89" fmla="*/ 516 h 762"/>
                <a:gd name="T90" fmla="*/ 849 w 1460"/>
                <a:gd name="T91" fmla="*/ 416 h 762"/>
                <a:gd name="T92" fmla="*/ 959 w 1460"/>
                <a:gd name="T93" fmla="*/ 498 h 762"/>
                <a:gd name="T94" fmla="*/ 1108 w 1460"/>
                <a:gd name="T95" fmla="*/ 416 h 762"/>
                <a:gd name="T96" fmla="*/ 1005 w 1460"/>
                <a:gd name="T97" fmla="*/ 516 h 762"/>
                <a:gd name="T98" fmla="*/ 1112 w 1460"/>
                <a:gd name="T99" fmla="*/ 578 h 762"/>
                <a:gd name="T100" fmla="*/ 1003 w 1460"/>
                <a:gd name="T101" fmla="*/ 596 h 762"/>
                <a:gd name="T102" fmla="*/ 1110 w 1460"/>
                <a:gd name="T103" fmla="*/ 552 h 762"/>
                <a:gd name="T104" fmla="*/ 1168 w 1460"/>
                <a:gd name="T105" fmla="*/ 654 h 762"/>
                <a:gd name="T106" fmla="*/ 1154 w 1460"/>
                <a:gd name="T107" fmla="*/ 554 h 762"/>
                <a:gd name="T108" fmla="*/ 1262 w 1460"/>
                <a:gd name="T109" fmla="*/ 566 h 762"/>
                <a:gd name="T110" fmla="*/ 1154 w 1460"/>
                <a:gd name="T111" fmla="*/ 514 h 762"/>
                <a:gd name="T112" fmla="*/ 1180 w 1460"/>
                <a:gd name="T113" fmla="*/ 416 h 762"/>
                <a:gd name="T114" fmla="*/ 1316 w 1460"/>
                <a:gd name="T115" fmla="*/ 416 h 762"/>
                <a:gd name="T116" fmla="*/ 1410 w 1460"/>
                <a:gd name="T117" fmla="*/ 472 h 762"/>
                <a:gd name="T118" fmla="*/ 1302 w 1460"/>
                <a:gd name="T119" fmla="*/ 432 h 762"/>
                <a:gd name="T120" fmla="*/ 1304 w 1460"/>
                <a:gd name="T121" fmla="*/ 654 h 762"/>
                <a:gd name="T122" fmla="*/ 1330 w 1460"/>
                <a:gd name="T123" fmla="*/ 552 h 7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460" h="762">
                  <a:moveTo>
                    <a:pt x="1460" y="676"/>
                  </a:moveTo>
                  <a:lnTo>
                    <a:pt x="1460" y="676"/>
                  </a:lnTo>
                  <a:lnTo>
                    <a:pt x="1460" y="674"/>
                  </a:lnTo>
                  <a:lnTo>
                    <a:pt x="1460" y="674"/>
                  </a:lnTo>
                  <a:lnTo>
                    <a:pt x="1460" y="624"/>
                  </a:lnTo>
                  <a:lnTo>
                    <a:pt x="1460" y="624"/>
                  </a:lnTo>
                  <a:lnTo>
                    <a:pt x="1460" y="508"/>
                  </a:lnTo>
                  <a:lnTo>
                    <a:pt x="1460" y="508"/>
                  </a:lnTo>
                  <a:lnTo>
                    <a:pt x="1460" y="506"/>
                  </a:lnTo>
                  <a:lnTo>
                    <a:pt x="1460" y="506"/>
                  </a:lnTo>
                  <a:lnTo>
                    <a:pt x="1460" y="398"/>
                  </a:lnTo>
                  <a:lnTo>
                    <a:pt x="1460" y="398"/>
                  </a:lnTo>
                  <a:lnTo>
                    <a:pt x="1460" y="348"/>
                  </a:lnTo>
                  <a:lnTo>
                    <a:pt x="1460" y="348"/>
                  </a:lnTo>
                  <a:lnTo>
                    <a:pt x="1460" y="336"/>
                  </a:lnTo>
                  <a:lnTo>
                    <a:pt x="1460" y="330"/>
                  </a:lnTo>
                  <a:lnTo>
                    <a:pt x="1458" y="326"/>
                  </a:lnTo>
                  <a:lnTo>
                    <a:pt x="1458" y="326"/>
                  </a:lnTo>
                  <a:lnTo>
                    <a:pt x="1454" y="322"/>
                  </a:lnTo>
                  <a:lnTo>
                    <a:pt x="1446" y="320"/>
                  </a:lnTo>
                  <a:lnTo>
                    <a:pt x="1434" y="322"/>
                  </a:lnTo>
                  <a:lnTo>
                    <a:pt x="1434" y="322"/>
                  </a:lnTo>
                  <a:lnTo>
                    <a:pt x="1378" y="322"/>
                  </a:lnTo>
                  <a:lnTo>
                    <a:pt x="1170" y="322"/>
                  </a:lnTo>
                  <a:lnTo>
                    <a:pt x="1170" y="322"/>
                  </a:lnTo>
                  <a:lnTo>
                    <a:pt x="1071" y="322"/>
                  </a:lnTo>
                  <a:lnTo>
                    <a:pt x="1071" y="322"/>
                  </a:lnTo>
                  <a:lnTo>
                    <a:pt x="1025" y="284"/>
                  </a:lnTo>
                  <a:lnTo>
                    <a:pt x="1025" y="284"/>
                  </a:lnTo>
                  <a:lnTo>
                    <a:pt x="1003" y="264"/>
                  </a:lnTo>
                  <a:lnTo>
                    <a:pt x="1003" y="264"/>
                  </a:lnTo>
                  <a:lnTo>
                    <a:pt x="869" y="136"/>
                  </a:lnTo>
                  <a:lnTo>
                    <a:pt x="869" y="136"/>
                  </a:lnTo>
                  <a:lnTo>
                    <a:pt x="745" y="16"/>
                  </a:lnTo>
                  <a:lnTo>
                    <a:pt x="745" y="16"/>
                  </a:lnTo>
                  <a:lnTo>
                    <a:pt x="737" y="6"/>
                  </a:lnTo>
                  <a:lnTo>
                    <a:pt x="731" y="2"/>
                  </a:lnTo>
                  <a:lnTo>
                    <a:pt x="727" y="0"/>
                  </a:lnTo>
                  <a:lnTo>
                    <a:pt x="727" y="0"/>
                  </a:lnTo>
                  <a:lnTo>
                    <a:pt x="723" y="4"/>
                  </a:lnTo>
                  <a:lnTo>
                    <a:pt x="719" y="8"/>
                  </a:lnTo>
                  <a:lnTo>
                    <a:pt x="719" y="8"/>
                  </a:lnTo>
                  <a:lnTo>
                    <a:pt x="701" y="26"/>
                  </a:lnTo>
                  <a:lnTo>
                    <a:pt x="701" y="26"/>
                  </a:lnTo>
                  <a:lnTo>
                    <a:pt x="441" y="276"/>
                  </a:lnTo>
                  <a:lnTo>
                    <a:pt x="441" y="276"/>
                  </a:lnTo>
                  <a:lnTo>
                    <a:pt x="399" y="322"/>
                  </a:lnTo>
                  <a:lnTo>
                    <a:pt x="399" y="322"/>
                  </a:lnTo>
                  <a:lnTo>
                    <a:pt x="356" y="322"/>
                  </a:lnTo>
                  <a:lnTo>
                    <a:pt x="148" y="322"/>
                  </a:lnTo>
                  <a:lnTo>
                    <a:pt x="148" y="322"/>
                  </a:lnTo>
                  <a:lnTo>
                    <a:pt x="22" y="322"/>
                  </a:lnTo>
                  <a:lnTo>
                    <a:pt x="22" y="322"/>
                  </a:lnTo>
                  <a:lnTo>
                    <a:pt x="16" y="322"/>
                  </a:lnTo>
                  <a:lnTo>
                    <a:pt x="8" y="322"/>
                  </a:lnTo>
                  <a:lnTo>
                    <a:pt x="4" y="326"/>
                  </a:lnTo>
                  <a:lnTo>
                    <a:pt x="0" y="334"/>
                  </a:lnTo>
                  <a:lnTo>
                    <a:pt x="0" y="334"/>
                  </a:lnTo>
                  <a:lnTo>
                    <a:pt x="0" y="346"/>
                  </a:lnTo>
                  <a:lnTo>
                    <a:pt x="0" y="358"/>
                  </a:lnTo>
                  <a:lnTo>
                    <a:pt x="0" y="358"/>
                  </a:lnTo>
                  <a:lnTo>
                    <a:pt x="0" y="376"/>
                  </a:lnTo>
                  <a:lnTo>
                    <a:pt x="0" y="376"/>
                  </a:lnTo>
                  <a:lnTo>
                    <a:pt x="0" y="378"/>
                  </a:lnTo>
                  <a:lnTo>
                    <a:pt x="0" y="378"/>
                  </a:lnTo>
                  <a:lnTo>
                    <a:pt x="0" y="428"/>
                  </a:lnTo>
                  <a:lnTo>
                    <a:pt x="0" y="428"/>
                  </a:lnTo>
                  <a:lnTo>
                    <a:pt x="0" y="542"/>
                  </a:lnTo>
                  <a:lnTo>
                    <a:pt x="0" y="542"/>
                  </a:lnTo>
                  <a:lnTo>
                    <a:pt x="0" y="544"/>
                  </a:lnTo>
                  <a:lnTo>
                    <a:pt x="0" y="544"/>
                  </a:lnTo>
                  <a:lnTo>
                    <a:pt x="0" y="686"/>
                  </a:lnTo>
                  <a:lnTo>
                    <a:pt x="0" y="686"/>
                  </a:lnTo>
                  <a:lnTo>
                    <a:pt x="0" y="734"/>
                  </a:lnTo>
                  <a:lnTo>
                    <a:pt x="0" y="734"/>
                  </a:lnTo>
                  <a:lnTo>
                    <a:pt x="0" y="746"/>
                  </a:lnTo>
                  <a:lnTo>
                    <a:pt x="0" y="752"/>
                  </a:lnTo>
                  <a:lnTo>
                    <a:pt x="2" y="758"/>
                  </a:lnTo>
                  <a:lnTo>
                    <a:pt x="2" y="758"/>
                  </a:lnTo>
                  <a:lnTo>
                    <a:pt x="8" y="760"/>
                  </a:lnTo>
                  <a:lnTo>
                    <a:pt x="14" y="762"/>
                  </a:lnTo>
                  <a:lnTo>
                    <a:pt x="28" y="762"/>
                  </a:lnTo>
                  <a:lnTo>
                    <a:pt x="28" y="762"/>
                  </a:lnTo>
                  <a:lnTo>
                    <a:pt x="82" y="762"/>
                  </a:lnTo>
                  <a:lnTo>
                    <a:pt x="82" y="762"/>
                  </a:lnTo>
                  <a:lnTo>
                    <a:pt x="419" y="762"/>
                  </a:lnTo>
                  <a:lnTo>
                    <a:pt x="419" y="762"/>
                  </a:lnTo>
                  <a:lnTo>
                    <a:pt x="429" y="760"/>
                  </a:lnTo>
                  <a:lnTo>
                    <a:pt x="429" y="760"/>
                  </a:lnTo>
                  <a:lnTo>
                    <a:pt x="439" y="762"/>
                  </a:lnTo>
                  <a:lnTo>
                    <a:pt x="447" y="762"/>
                  </a:lnTo>
                  <a:lnTo>
                    <a:pt x="447" y="762"/>
                  </a:lnTo>
                  <a:lnTo>
                    <a:pt x="503" y="762"/>
                  </a:lnTo>
                  <a:lnTo>
                    <a:pt x="675" y="760"/>
                  </a:lnTo>
                  <a:lnTo>
                    <a:pt x="675" y="760"/>
                  </a:lnTo>
                  <a:lnTo>
                    <a:pt x="673" y="704"/>
                  </a:lnTo>
                  <a:lnTo>
                    <a:pt x="673" y="648"/>
                  </a:lnTo>
                  <a:lnTo>
                    <a:pt x="673" y="648"/>
                  </a:lnTo>
                  <a:lnTo>
                    <a:pt x="673" y="596"/>
                  </a:lnTo>
                  <a:lnTo>
                    <a:pt x="673" y="596"/>
                  </a:lnTo>
                  <a:lnTo>
                    <a:pt x="673" y="568"/>
                  </a:lnTo>
                  <a:lnTo>
                    <a:pt x="673" y="568"/>
                  </a:lnTo>
                  <a:lnTo>
                    <a:pt x="673" y="560"/>
                  </a:lnTo>
                  <a:lnTo>
                    <a:pt x="673" y="554"/>
                  </a:lnTo>
                  <a:lnTo>
                    <a:pt x="673" y="554"/>
                  </a:lnTo>
                  <a:lnTo>
                    <a:pt x="679" y="552"/>
                  </a:lnTo>
                  <a:lnTo>
                    <a:pt x="687" y="552"/>
                  </a:lnTo>
                  <a:lnTo>
                    <a:pt x="701" y="552"/>
                  </a:lnTo>
                  <a:lnTo>
                    <a:pt x="701" y="552"/>
                  </a:lnTo>
                  <a:lnTo>
                    <a:pt x="759" y="552"/>
                  </a:lnTo>
                  <a:lnTo>
                    <a:pt x="759" y="552"/>
                  </a:lnTo>
                  <a:lnTo>
                    <a:pt x="769" y="552"/>
                  </a:lnTo>
                  <a:lnTo>
                    <a:pt x="779" y="552"/>
                  </a:lnTo>
                  <a:lnTo>
                    <a:pt x="779" y="552"/>
                  </a:lnTo>
                  <a:lnTo>
                    <a:pt x="781" y="552"/>
                  </a:lnTo>
                  <a:lnTo>
                    <a:pt x="783" y="554"/>
                  </a:lnTo>
                  <a:lnTo>
                    <a:pt x="783" y="554"/>
                  </a:lnTo>
                  <a:lnTo>
                    <a:pt x="783" y="560"/>
                  </a:lnTo>
                  <a:lnTo>
                    <a:pt x="783" y="566"/>
                  </a:lnTo>
                  <a:lnTo>
                    <a:pt x="783" y="576"/>
                  </a:lnTo>
                  <a:lnTo>
                    <a:pt x="783" y="576"/>
                  </a:lnTo>
                  <a:lnTo>
                    <a:pt x="783" y="608"/>
                  </a:lnTo>
                  <a:lnTo>
                    <a:pt x="783" y="608"/>
                  </a:lnTo>
                  <a:lnTo>
                    <a:pt x="783" y="760"/>
                  </a:lnTo>
                  <a:lnTo>
                    <a:pt x="889" y="762"/>
                  </a:lnTo>
                  <a:lnTo>
                    <a:pt x="889" y="762"/>
                  </a:lnTo>
                  <a:lnTo>
                    <a:pt x="1015" y="762"/>
                  </a:lnTo>
                  <a:lnTo>
                    <a:pt x="1015" y="762"/>
                  </a:lnTo>
                  <a:lnTo>
                    <a:pt x="1021" y="762"/>
                  </a:lnTo>
                  <a:lnTo>
                    <a:pt x="1027" y="760"/>
                  </a:lnTo>
                  <a:lnTo>
                    <a:pt x="1027" y="760"/>
                  </a:lnTo>
                  <a:lnTo>
                    <a:pt x="1033" y="762"/>
                  </a:lnTo>
                  <a:lnTo>
                    <a:pt x="1037" y="762"/>
                  </a:lnTo>
                  <a:lnTo>
                    <a:pt x="1049" y="762"/>
                  </a:lnTo>
                  <a:lnTo>
                    <a:pt x="1049" y="762"/>
                  </a:lnTo>
                  <a:lnTo>
                    <a:pt x="1104" y="762"/>
                  </a:lnTo>
                  <a:lnTo>
                    <a:pt x="1104" y="762"/>
                  </a:lnTo>
                  <a:lnTo>
                    <a:pt x="1438" y="762"/>
                  </a:lnTo>
                  <a:lnTo>
                    <a:pt x="1438" y="762"/>
                  </a:lnTo>
                  <a:lnTo>
                    <a:pt x="1446" y="762"/>
                  </a:lnTo>
                  <a:lnTo>
                    <a:pt x="1452" y="760"/>
                  </a:lnTo>
                  <a:lnTo>
                    <a:pt x="1458" y="756"/>
                  </a:lnTo>
                  <a:lnTo>
                    <a:pt x="1460" y="750"/>
                  </a:lnTo>
                  <a:lnTo>
                    <a:pt x="1460" y="750"/>
                  </a:lnTo>
                  <a:lnTo>
                    <a:pt x="1460" y="738"/>
                  </a:lnTo>
                  <a:lnTo>
                    <a:pt x="1460" y="726"/>
                  </a:lnTo>
                  <a:lnTo>
                    <a:pt x="1460" y="726"/>
                  </a:lnTo>
                  <a:lnTo>
                    <a:pt x="1460" y="676"/>
                  </a:lnTo>
                  <a:lnTo>
                    <a:pt x="1460" y="676"/>
                  </a:lnTo>
                  <a:close/>
                  <a:moveTo>
                    <a:pt x="32" y="418"/>
                  </a:moveTo>
                  <a:lnTo>
                    <a:pt x="32" y="418"/>
                  </a:lnTo>
                  <a:lnTo>
                    <a:pt x="36" y="416"/>
                  </a:lnTo>
                  <a:lnTo>
                    <a:pt x="44" y="416"/>
                  </a:lnTo>
                  <a:lnTo>
                    <a:pt x="58" y="416"/>
                  </a:lnTo>
                  <a:lnTo>
                    <a:pt x="58" y="416"/>
                  </a:lnTo>
                  <a:lnTo>
                    <a:pt x="116" y="416"/>
                  </a:lnTo>
                  <a:lnTo>
                    <a:pt x="116" y="416"/>
                  </a:lnTo>
                  <a:lnTo>
                    <a:pt x="128" y="416"/>
                  </a:lnTo>
                  <a:lnTo>
                    <a:pt x="136" y="416"/>
                  </a:lnTo>
                  <a:lnTo>
                    <a:pt x="140" y="418"/>
                  </a:lnTo>
                  <a:lnTo>
                    <a:pt x="140" y="418"/>
                  </a:lnTo>
                  <a:lnTo>
                    <a:pt x="140" y="422"/>
                  </a:lnTo>
                  <a:lnTo>
                    <a:pt x="140" y="428"/>
                  </a:lnTo>
                  <a:lnTo>
                    <a:pt x="140" y="438"/>
                  </a:lnTo>
                  <a:lnTo>
                    <a:pt x="140" y="438"/>
                  </a:lnTo>
                  <a:lnTo>
                    <a:pt x="140" y="472"/>
                  </a:lnTo>
                  <a:lnTo>
                    <a:pt x="140" y="472"/>
                  </a:lnTo>
                  <a:lnTo>
                    <a:pt x="140" y="516"/>
                  </a:lnTo>
                  <a:lnTo>
                    <a:pt x="140" y="516"/>
                  </a:lnTo>
                  <a:lnTo>
                    <a:pt x="48" y="516"/>
                  </a:lnTo>
                  <a:lnTo>
                    <a:pt x="48" y="516"/>
                  </a:lnTo>
                  <a:lnTo>
                    <a:pt x="40" y="516"/>
                  </a:lnTo>
                  <a:lnTo>
                    <a:pt x="32" y="516"/>
                  </a:lnTo>
                  <a:lnTo>
                    <a:pt x="32" y="516"/>
                  </a:lnTo>
                  <a:lnTo>
                    <a:pt x="32" y="514"/>
                  </a:lnTo>
                  <a:lnTo>
                    <a:pt x="32" y="510"/>
                  </a:lnTo>
                  <a:lnTo>
                    <a:pt x="32" y="510"/>
                  </a:lnTo>
                  <a:lnTo>
                    <a:pt x="30" y="486"/>
                  </a:lnTo>
                  <a:lnTo>
                    <a:pt x="32" y="460"/>
                  </a:lnTo>
                  <a:lnTo>
                    <a:pt x="32" y="460"/>
                  </a:lnTo>
                  <a:lnTo>
                    <a:pt x="32" y="432"/>
                  </a:lnTo>
                  <a:lnTo>
                    <a:pt x="32" y="432"/>
                  </a:lnTo>
                  <a:lnTo>
                    <a:pt x="30" y="424"/>
                  </a:lnTo>
                  <a:lnTo>
                    <a:pt x="32" y="418"/>
                  </a:lnTo>
                  <a:lnTo>
                    <a:pt x="32" y="418"/>
                  </a:lnTo>
                  <a:close/>
                  <a:moveTo>
                    <a:pt x="140" y="578"/>
                  </a:moveTo>
                  <a:lnTo>
                    <a:pt x="140" y="578"/>
                  </a:lnTo>
                  <a:lnTo>
                    <a:pt x="140" y="610"/>
                  </a:lnTo>
                  <a:lnTo>
                    <a:pt x="140" y="610"/>
                  </a:lnTo>
                  <a:lnTo>
                    <a:pt x="140" y="654"/>
                  </a:lnTo>
                  <a:lnTo>
                    <a:pt x="140" y="654"/>
                  </a:lnTo>
                  <a:lnTo>
                    <a:pt x="46" y="654"/>
                  </a:lnTo>
                  <a:lnTo>
                    <a:pt x="46" y="654"/>
                  </a:lnTo>
                  <a:lnTo>
                    <a:pt x="40" y="654"/>
                  </a:lnTo>
                  <a:lnTo>
                    <a:pt x="32" y="654"/>
                  </a:lnTo>
                  <a:lnTo>
                    <a:pt x="32" y="654"/>
                  </a:lnTo>
                  <a:lnTo>
                    <a:pt x="32" y="652"/>
                  </a:lnTo>
                  <a:lnTo>
                    <a:pt x="32" y="648"/>
                  </a:lnTo>
                  <a:lnTo>
                    <a:pt x="32" y="648"/>
                  </a:lnTo>
                  <a:lnTo>
                    <a:pt x="32" y="596"/>
                  </a:lnTo>
                  <a:lnTo>
                    <a:pt x="32" y="596"/>
                  </a:lnTo>
                  <a:lnTo>
                    <a:pt x="32" y="568"/>
                  </a:lnTo>
                  <a:lnTo>
                    <a:pt x="32" y="568"/>
                  </a:lnTo>
                  <a:lnTo>
                    <a:pt x="30" y="560"/>
                  </a:lnTo>
                  <a:lnTo>
                    <a:pt x="32" y="554"/>
                  </a:lnTo>
                  <a:lnTo>
                    <a:pt x="32" y="554"/>
                  </a:lnTo>
                  <a:lnTo>
                    <a:pt x="36" y="552"/>
                  </a:lnTo>
                  <a:lnTo>
                    <a:pt x="44" y="552"/>
                  </a:lnTo>
                  <a:lnTo>
                    <a:pt x="58" y="552"/>
                  </a:lnTo>
                  <a:lnTo>
                    <a:pt x="58" y="552"/>
                  </a:lnTo>
                  <a:lnTo>
                    <a:pt x="118" y="552"/>
                  </a:lnTo>
                  <a:lnTo>
                    <a:pt x="118" y="552"/>
                  </a:lnTo>
                  <a:lnTo>
                    <a:pt x="128" y="552"/>
                  </a:lnTo>
                  <a:lnTo>
                    <a:pt x="136" y="552"/>
                  </a:lnTo>
                  <a:lnTo>
                    <a:pt x="136" y="552"/>
                  </a:lnTo>
                  <a:lnTo>
                    <a:pt x="140" y="552"/>
                  </a:lnTo>
                  <a:lnTo>
                    <a:pt x="140" y="554"/>
                  </a:lnTo>
                  <a:lnTo>
                    <a:pt x="140" y="554"/>
                  </a:lnTo>
                  <a:lnTo>
                    <a:pt x="140" y="560"/>
                  </a:lnTo>
                  <a:lnTo>
                    <a:pt x="140" y="566"/>
                  </a:lnTo>
                  <a:lnTo>
                    <a:pt x="140" y="578"/>
                  </a:lnTo>
                  <a:lnTo>
                    <a:pt x="140" y="578"/>
                  </a:lnTo>
                  <a:close/>
                  <a:moveTo>
                    <a:pt x="288" y="578"/>
                  </a:moveTo>
                  <a:lnTo>
                    <a:pt x="288" y="578"/>
                  </a:lnTo>
                  <a:lnTo>
                    <a:pt x="288" y="610"/>
                  </a:lnTo>
                  <a:lnTo>
                    <a:pt x="288" y="610"/>
                  </a:lnTo>
                  <a:lnTo>
                    <a:pt x="288" y="654"/>
                  </a:lnTo>
                  <a:lnTo>
                    <a:pt x="288" y="654"/>
                  </a:lnTo>
                  <a:lnTo>
                    <a:pt x="196" y="654"/>
                  </a:lnTo>
                  <a:lnTo>
                    <a:pt x="196" y="654"/>
                  </a:lnTo>
                  <a:lnTo>
                    <a:pt x="188" y="654"/>
                  </a:lnTo>
                  <a:lnTo>
                    <a:pt x="182" y="654"/>
                  </a:lnTo>
                  <a:lnTo>
                    <a:pt x="182" y="654"/>
                  </a:lnTo>
                  <a:lnTo>
                    <a:pt x="180" y="652"/>
                  </a:lnTo>
                  <a:lnTo>
                    <a:pt x="180" y="648"/>
                  </a:lnTo>
                  <a:lnTo>
                    <a:pt x="180" y="648"/>
                  </a:lnTo>
                  <a:lnTo>
                    <a:pt x="180" y="596"/>
                  </a:lnTo>
                  <a:lnTo>
                    <a:pt x="180" y="596"/>
                  </a:lnTo>
                  <a:lnTo>
                    <a:pt x="180" y="568"/>
                  </a:lnTo>
                  <a:lnTo>
                    <a:pt x="180" y="568"/>
                  </a:lnTo>
                  <a:lnTo>
                    <a:pt x="180" y="560"/>
                  </a:lnTo>
                  <a:lnTo>
                    <a:pt x="180" y="554"/>
                  </a:lnTo>
                  <a:lnTo>
                    <a:pt x="180" y="554"/>
                  </a:lnTo>
                  <a:lnTo>
                    <a:pt x="186" y="552"/>
                  </a:lnTo>
                  <a:lnTo>
                    <a:pt x="194" y="552"/>
                  </a:lnTo>
                  <a:lnTo>
                    <a:pt x="208" y="552"/>
                  </a:lnTo>
                  <a:lnTo>
                    <a:pt x="208" y="552"/>
                  </a:lnTo>
                  <a:lnTo>
                    <a:pt x="268" y="552"/>
                  </a:lnTo>
                  <a:lnTo>
                    <a:pt x="268" y="552"/>
                  </a:lnTo>
                  <a:lnTo>
                    <a:pt x="276" y="552"/>
                  </a:lnTo>
                  <a:lnTo>
                    <a:pt x="286" y="552"/>
                  </a:lnTo>
                  <a:lnTo>
                    <a:pt x="286" y="552"/>
                  </a:lnTo>
                  <a:lnTo>
                    <a:pt x="288" y="552"/>
                  </a:lnTo>
                  <a:lnTo>
                    <a:pt x="288" y="554"/>
                  </a:lnTo>
                  <a:lnTo>
                    <a:pt x="288" y="554"/>
                  </a:lnTo>
                  <a:lnTo>
                    <a:pt x="290" y="560"/>
                  </a:lnTo>
                  <a:lnTo>
                    <a:pt x="290" y="566"/>
                  </a:lnTo>
                  <a:lnTo>
                    <a:pt x="288" y="578"/>
                  </a:lnTo>
                  <a:lnTo>
                    <a:pt x="288" y="578"/>
                  </a:lnTo>
                  <a:close/>
                  <a:moveTo>
                    <a:pt x="288" y="438"/>
                  </a:moveTo>
                  <a:lnTo>
                    <a:pt x="288" y="438"/>
                  </a:lnTo>
                  <a:lnTo>
                    <a:pt x="288" y="472"/>
                  </a:lnTo>
                  <a:lnTo>
                    <a:pt x="288" y="472"/>
                  </a:lnTo>
                  <a:lnTo>
                    <a:pt x="288" y="516"/>
                  </a:lnTo>
                  <a:lnTo>
                    <a:pt x="288" y="516"/>
                  </a:lnTo>
                  <a:lnTo>
                    <a:pt x="198" y="516"/>
                  </a:lnTo>
                  <a:lnTo>
                    <a:pt x="198" y="516"/>
                  </a:lnTo>
                  <a:lnTo>
                    <a:pt x="190" y="516"/>
                  </a:lnTo>
                  <a:lnTo>
                    <a:pt x="182" y="516"/>
                  </a:lnTo>
                  <a:lnTo>
                    <a:pt x="182" y="516"/>
                  </a:lnTo>
                  <a:lnTo>
                    <a:pt x="180" y="514"/>
                  </a:lnTo>
                  <a:lnTo>
                    <a:pt x="180" y="510"/>
                  </a:lnTo>
                  <a:lnTo>
                    <a:pt x="180" y="510"/>
                  </a:lnTo>
                  <a:lnTo>
                    <a:pt x="180" y="486"/>
                  </a:lnTo>
                  <a:lnTo>
                    <a:pt x="180" y="460"/>
                  </a:lnTo>
                  <a:lnTo>
                    <a:pt x="180" y="460"/>
                  </a:lnTo>
                  <a:lnTo>
                    <a:pt x="180" y="432"/>
                  </a:lnTo>
                  <a:lnTo>
                    <a:pt x="180" y="432"/>
                  </a:lnTo>
                  <a:lnTo>
                    <a:pt x="180" y="424"/>
                  </a:lnTo>
                  <a:lnTo>
                    <a:pt x="180" y="418"/>
                  </a:lnTo>
                  <a:lnTo>
                    <a:pt x="180" y="418"/>
                  </a:lnTo>
                  <a:lnTo>
                    <a:pt x="186" y="416"/>
                  </a:lnTo>
                  <a:lnTo>
                    <a:pt x="194" y="416"/>
                  </a:lnTo>
                  <a:lnTo>
                    <a:pt x="208" y="416"/>
                  </a:lnTo>
                  <a:lnTo>
                    <a:pt x="208" y="416"/>
                  </a:lnTo>
                  <a:lnTo>
                    <a:pt x="266" y="416"/>
                  </a:lnTo>
                  <a:lnTo>
                    <a:pt x="266" y="416"/>
                  </a:lnTo>
                  <a:lnTo>
                    <a:pt x="278" y="416"/>
                  </a:lnTo>
                  <a:lnTo>
                    <a:pt x="286" y="416"/>
                  </a:lnTo>
                  <a:lnTo>
                    <a:pt x="288" y="418"/>
                  </a:lnTo>
                  <a:lnTo>
                    <a:pt x="288" y="418"/>
                  </a:lnTo>
                  <a:lnTo>
                    <a:pt x="290" y="422"/>
                  </a:lnTo>
                  <a:lnTo>
                    <a:pt x="290" y="428"/>
                  </a:lnTo>
                  <a:lnTo>
                    <a:pt x="288" y="438"/>
                  </a:lnTo>
                  <a:lnTo>
                    <a:pt x="288" y="438"/>
                  </a:lnTo>
                  <a:close/>
                  <a:moveTo>
                    <a:pt x="330" y="418"/>
                  </a:moveTo>
                  <a:lnTo>
                    <a:pt x="330" y="418"/>
                  </a:lnTo>
                  <a:lnTo>
                    <a:pt x="334" y="416"/>
                  </a:lnTo>
                  <a:lnTo>
                    <a:pt x="342" y="416"/>
                  </a:lnTo>
                  <a:lnTo>
                    <a:pt x="356" y="416"/>
                  </a:lnTo>
                  <a:lnTo>
                    <a:pt x="356" y="416"/>
                  </a:lnTo>
                  <a:lnTo>
                    <a:pt x="415" y="416"/>
                  </a:lnTo>
                  <a:lnTo>
                    <a:pt x="415" y="416"/>
                  </a:lnTo>
                  <a:lnTo>
                    <a:pt x="429" y="416"/>
                  </a:lnTo>
                  <a:lnTo>
                    <a:pt x="435" y="416"/>
                  </a:lnTo>
                  <a:lnTo>
                    <a:pt x="439" y="418"/>
                  </a:lnTo>
                  <a:lnTo>
                    <a:pt x="439" y="418"/>
                  </a:lnTo>
                  <a:lnTo>
                    <a:pt x="441" y="422"/>
                  </a:lnTo>
                  <a:lnTo>
                    <a:pt x="441" y="428"/>
                  </a:lnTo>
                  <a:lnTo>
                    <a:pt x="439" y="438"/>
                  </a:lnTo>
                  <a:lnTo>
                    <a:pt x="439" y="438"/>
                  </a:lnTo>
                  <a:lnTo>
                    <a:pt x="439" y="472"/>
                  </a:lnTo>
                  <a:lnTo>
                    <a:pt x="439" y="472"/>
                  </a:lnTo>
                  <a:lnTo>
                    <a:pt x="439" y="516"/>
                  </a:lnTo>
                  <a:lnTo>
                    <a:pt x="439" y="516"/>
                  </a:lnTo>
                  <a:lnTo>
                    <a:pt x="348" y="516"/>
                  </a:lnTo>
                  <a:lnTo>
                    <a:pt x="348" y="516"/>
                  </a:lnTo>
                  <a:lnTo>
                    <a:pt x="340" y="516"/>
                  </a:lnTo>
                  <a:lnTo>
                    <a:pt x="332" y="516"/>
                  </a:lnTo>
                  <a:lnTo>
                    <a:pt x="332" y="516"/>
                  </a:lnTo>
                  <a:lnTo>
                    <a:pt x="330" y="514"/>
                  </a:lnTo>
                  <a:lnTo>
                    <a:pt x="330" y="510"/>
                  </a:lnTo>
                  <a:lnTo>
                    <a:pt x="330" y="510"/>
                  </a:lnTo>
                  <a:lnTo>
                    <a:pt x="330" y="486"/>
                  </a:lnTo>
                  <a:lnTo>
                    <a:pt x="330" y="460"/>
                  </a:lnTo>
                  <a:lnTo>
                    <a:pt x="330" y="460"/>
                  </a:lnTo>
                  <a:lnTo>
                    <a:pt x="330" y="432"/>
                  </a:lnTo>
                  <a:lnTo>
                    <a:pt x="330" y="432"/>
                  </a:lnTo>
                  <a:lnTo>
                    <a:pt x="330" y="424"/>
                  </a:lnTo>
                  <a:lnTo>
                    <a:pt x="330" y="418"/>
                  </a:lnTo>
                  <a:lnTo>
                    <a:pt x="330" y="418"/>
                  </a:lnTo>
                  <a:close/>
                  <a:moveTo>
                    <a:pt x="439" y="578"/>
                  </a:moveTo>
                  <a:lnTo>
                    <a:pt x="439" y="578"/>
                  </a:lnTo>
                  <a:lnTo>
                    <a:pt x="439" y="610"/>
                  </a:lnTo>
                  <a:lnTo>
                    <a:pt x="439" y="610"/>
                  </a:lnTo>
                  <a:lnTo>
                    <a:pt x="439" y="654"/>
                  </a:lnTo>
                  <a:lnTo>
                    <a:pt x="439" y="654"/>
                  </a:lnTo>
                  <a:lnTo>
                    <a:pt x="346" y="654"/>
                  </a:lnTo>
                  <a:lnTo>
                    <a:pt x="346" y="654"/>
                  </a:lnTo>
                  <a:lnTo>
                    <a:pt x="338" y="654"/>
                  </a:lnTo>
                  <a:lnTo>
                    <a:pt x="330" y="654"/>
                  </a:lnTo>
                  <a:lnTo>
                    <a:pt x="330" y="654"/>
                  </a:lnTo>
                  <a:lnTo>
                    <a:pt x="330" y="652"/>
                  </a:lnTo>
                  <a:lnTo>
                    <a:pt x="330" y="648"/>
                  </a:lnTo>
                  <a:lnTo>
                    <a:pt x="330" y="648"/>
                  </a:lnTo>
                  <a:lnTo>
                    <a:pt x="330" y="596"/>
                  </a:lnTo>
                  <a:lnTo>
                    <a:pt x="330" y="596"/>
                  </a:lnTo>
                  <a:lnTo>
                    <a:pt x="330" y="568"/>
                  </a:lnTo>
                  <a:lnTo>
                    <a:pt x="330" y="568"/>
                  </a:lnTo>
                  <a:lnTo>
                    <a:pt x="330" y="560"/>
                  </a:lnTo>
                  <a:lnTo>
                    <a:pt x="330" y="554"/>
                  </a:lnTo>
                  <a:lnTo>
                    <a:pt x="330" y="554"/>
                  </a:lnTo>
                  <a:lnTo>
                    <a:pt x="334" y="552"/>
                  </a:lnTo>
                  <a:lnTo>
                    <a:pt x="342" y="552"/>
                  </a:lnTo>
                  <a:lnTo>
                    <a:pt x="358" y="552"/>
                  </a:lnTo>
                  <a:lnTo>
                    <a:pt x="358" y="552"/>
                  </a:lnTo>
                  <a:lnTo>
                    <a:pt x="417" y="552"/>
                  </a:lnTo>
                  <a:lnTo>
                    <a:pt x="417" y="552"/>
                  </a:lnTo>
                  <a:lnTo>
                    <a:pt x="427" y="552"/>
                  </a:lnTo>
                  <a:lnTo>
                    <a:pt x="437" y="552"/>
                  </a:lnTo>
                  <a:lnTo>
                    <a:pt x="437" y="552"/>
                  </a:lnTo>
                  <a:lnTo>
                    <a:pt x="439" y="552"/>
                  </a:lnTo>
                  <a:lnTo>
                    <a:pt x="439" y="554"/>
                  </a:lnTo>
                  <a:lnTo>
                    <a:pt x="439" y="554"/>
                  </a:lnTo>
                  <a:lnTo>
                    <a:pt x="441" y="560"/>
                  </a:lnTo>
                  <a:lnTo>
                    <a:pt x="441" y="566"/>
                  </a:lnTo>
                  <a:lnTo>
                    <a:pt x="439" y="578"/>
                  </a:lnTo>
                  <a:lnTo>
                    <a:pt x="439" y="578"/>
                  </a:lnTo>
                  <a:close/>
                  <a:moveTo>
                    <a:pt x="495" y="510"/>
                  </a:moveTo>
                  <a:lnTo>
                    <a:pt x="495" y="510"/>
                  </a:lnTo>
                  <a:lnTo>
                    <a:pt x="495" y="486"/>
                  </a:lnTo>
                  <a:lnTo>
                    <a:pt x="495" y="460"/>
                  </a:lnTo>
                  <a:lnTo>
                    <a:pt x="495" y="460"/>
                  </a:lnTo>
                  <a:lnTo>
                    <a:pt x="495" y="432"/>
                  </a:lnTo>
                  <a:lnTo>
                    <a:pt x="495" y="432"/>
                  </a:lnTo>
                  <a:lnTo>
                    <a:pt x="495" y="424"/>
                  </a:lnTo>
                  <a:lnTo>
                    <a:pt x="495" y="418"/>
                  </a:lnTo>
                  <a:lnTo>
                    <a:pt x="495" y="418"/>
                  </a:lnTo>
                  <a:lnTo>
                    <a:pt x="501" y="416"/>
                  </a:lnTo>
                  <a:lnTo>
                    <a:pt x="509" y="416"/>
                  </a:lnTo>
                  <a:lnTo>
                    <a:pt x="523" y="416"/>
                  </a:lnTo>
                  <a:lnTo>
                    <a:pt x="523" y="416"/>
                  </a:lnTo>
                  <a:lnTo>
                    <a:pt x="581" y="416"/>
                  </a:lnTo>
                  <a:lnTo>
                    <a:pt x="581" y="416"/>
                  </a:lnTo>
                  <a:lnTo>
                    <a:pt x="593" y="416"/>
                  </a:lnTo>
                  <a:lnTo>
                    <a:pt x="601" y="416"/>
                  </a:lnTo>
                  <a:lnTo>
                    <a:pt x="605" y="418"/>
                  </a:lnTo>
                  <a:lnTo>
                    <a:pt x="605" y="418"/>
                  </a:lnTo>
                  <a:lnTo>
                    <a:pt x="605" y="422"/>
                  </a:lnTo>
                  <a:lnTo>
                    <a:pt x="605" y="428"/>
                  </a:lnTo>
                  <a:lnTo>
                    <a:pt x="605" y="438"/>
                  </a:lnTo>
                  <a:lnTo>
                    <a:pt x="605" y="438"/>
                  </a:lnTo>
                  <a:lnTo>
                    <a:pt x="605" y="472"/>
                  </a:lnTo>
                  <a:lnTo>
                    <a:pt x="605" y="472"/>
                  </a:lnTo>
                  <a:lnTo>
                    <a:pt x="605" y="516"/>
                  </a:lnTo>
                  <a:lnTo>
                    <a:pt x="605" y="516"/>
                  </a:lnTo>
                  <a:lnTo>
                    <a:pt x="513" y="516"/>
                  </a:lnTo>
                  <a:lnTo>
                    <a:pt x="513" y="516"/>
                  </a:lnTo>
                  <a:lnTo>
                    <a:pt x="505" y="516"/>
                  </a:lnTo>
                  <a:lnTo>
                    <a:pt x="497" y="516"/>
                  </a:lnTo>
                  <a:lnTo>
                    <a:pt x="497" y="516"/>
                  </a:lnTo>
                  <a:lnTo>
                    <a:pt x="495" y="514"/>
                  </a:lnTo>
                  <a:lnTo>
                    <a:pt x="495" y="510"/>
                  </a:lnTo>
                  <a:lnTo>
                    <a:pt x="495" y="510"/>
                  </a:lnTo>
                  <a:close/>
                  <a:moveTo>
                    <a:pt x="605" y="578"/>
                  </a:moveTo>
                  <a:lnTo>
                    <a:pt x="605" y="578"/>
                  </a:lnTo>
                  <a:lnTo>
                    <a:pt x="605" y="610"/>
                  </a:lnTo>
                  <a:lnTo>
                    <a:pt x="605" y="610"/>
                  </a:lnTo>
                  <a:lnTo>
                    <a:pt x="605" y="654"/>
                  </a:lnTo>
                  <a:lnTo>
                    <a:pt x="605" y="654"/>
                  </a:lnTo>
                  <a:lnTo>
                    <a:pt x="511" y="654"/>
                  </a:lnTo>
                  <a:lnTo>
                    <a:pt x="511" y="654"/>
                  </a:lnTo>
                  <a:lnTo>
                    <a:pt x="503" y="654"/>
                  </a:lnTo>
                  <a:lnTo>
                    <a:pt x="497" y="654"/>
                  </a:lnTo>
                  <a:lnTo>
                    <a:pt x="497" y="654"/>
                  </a:lnTo>
                  <a:lnTo>
                    <a:pt x="495" y="652"/>
                  </a:lnTo>
                  <a:lnTo>
                    <a:pt x="495" y="648"/>
                  </a:lnTo>
                  <a:lnTo>
                    <a:pt x="495" y="648"/>
                  </a:lnTo>
                  <a:lnTo>
                    <a:pt x="495" y="596"/>
                  </a:lnTo>
                  <a:lnTo>
                    <a:pt x="495" y="596"/>
                  </a:lnTo>
                  <a:lnTo>
                    <a:pt x="495" y="568"/>
                  </a:lnTo>
                  <a:lnTo>
                    <a:pt x="495" y="568"/>
                  </a:lnTo>
                  <a:lnTo>
                    <a:pt x="495" y="560"/>
                  </a:lnTo>
                  <a:lnTo>
                    <a:pt x="495" y="554"/>
                  </a:lnTo>
                  <a:lnTo>
                    <a:pt x="495" y="554"/>
                  </a:lnTo>
                  <a:lnTo>
                    <a:pt x="501" y="552"/>
                  </a:lnTo>
                  <a:lnTo>
                    <a:pt x="509" y="552"/>
                  </a:lnTo>
                  <a:lnTo>
                    <a:pt x="523" y="552"/>
                  </a:lnTo>
                  <a:lnTo>
                    <a:pt x="523" y="552"/>
                  </a:lnTo>
                  <a:lnTo>
                    <a:pt x="583" y="552"/>
                  </a:lnTo>
                  <a:lnTo>
                    <a:pt x="583" y="552"/>
                  </a:lnTo>
                  <a:lnTo>
                    <a:pt x="591" y="552"/>
                  </a:lnTo>
                  <a:lnTo>
                    <a:pt x="601" y="552"/>
                  </a:lnTo>
                  <a:lnTo>
                    <a:pt x="601" y="552"/>
                  </a:lnTo>
                  <a:lnTo>
                    <a:pt x="603" y="552"/>
                  </a:lnTo>
                  <a:lnTo>
                    <a:pt x="605" y="554"/>
                  </a:lnTo>
                  <a:lnTo>
                    <a:pt x="605" y="554"/>
                  </a:lnTo>
                  <a:lnTo>
                    <a:pt x="605" y="560"/>
                  </a:lnTo>
                  <a:lnTo>
                    <a:pt x="605" y="566"/>
                  </a:lnTo>
                  <a:lnTo>
                    <a:pt x="605" y="578"/>
                  </a:lnTo>
                  <a:lnTo>
                    <a:pt x="605" y="578"/>
                  </a:lnTo>
                  <a:close/>
                  <a:moveTo>
                    <a:pt x="605" y="302"/>
                  </a:moveTo>
                  <a:lnTo>
                    <a:pt x="605" y="302"/>
                  </a:lnTo>
                  <a:lnTo>
                    <a:pt x="605" y="334"/>
                  </a:lnTo>
                  <a:lnTo>
                    <a:pt x="605" y="334"/>
                  </a:lnTo>
                  <a:lnTo>
                    <a:pt x="605" y="378"/>
                  </a:lnTo>
                  <a:lnTo>
                    <a:pt x="605" y="378"/>
                  </a:lnTo>
                  <a:lnTo>
                    <a:pt x="513" y="378"/>
                  </a:lnTo>
                  <a:lnTo>
                    <a:pt x="513" y="378"/>
                  </a:lnTo>
                  <a:lnTo>
                    <a:pt x="505" y="380"/>
                  </a:lnTo>
                  <a:lnTo>
                    <a:pt x="497" y="378"/>
                  </a:lnTo>
                  <a:lnTo>
                    <a:pt x="497" y="378"/>
                  </a:lnTo>
                  <a:lnTo>
                    <a:pt x="495" y="376"/>
                  </a:lnTo>
                  <a:lnTo>
                    <a:pt x="495" y="374"/>
                  </a:lnTo>
                  <a:lnTo>
                    <a:pt x="495" y="374"/>
                  </a:lnTo>
                  <a:lnTo>
                    <a:pt x="495" y="348"/>
                  </a:lnTo>
                  <a:lnTo>
                    <a:pt x="495" y="322"/>
                  </a:lnTo>
                  <a:lnTo>
                    <a:pt x="495" y="322"/>
                  </a:lnTo>
                  <a:lnTo>
                    <a:pt x="495" y="294"/>
                  </a:lnTo>
                  <a:lnTo>
                    <a:pt x="495" y="294"/>
                  </a:lnTo>
                  <a:lnTo>
                    <a:pt x="495" y="286"/>
                  </a:lnTo>
                  <a:lnTo>
                    <a:pt x="495" y="280"/>
                  </a:lnTo>
                  <a:lnTo>
                    <a:pt x="495" y="280"/>
                  </a:lnTo>
                  <a:lnTo>
                    <a:pt x="501" y="278"/>
                  </a:lnTo>
                  <a:lnTo>
                    <a:pt x="509" y="278"/>
                  </a:lnTo>
                  <a:lnTo>
                    <a:pt x="523" y="278"/>
                  </a:lnTo>
                  <a:lnTo>
                    <a:pt x="523" y="278"/>
                  </a:lnTo>
                  <a:lnTo>
                    <a:pt x="581" y="278"/>
                  </a:lnTo>
                  <a:lnTo>
                    <a:pt x="581" y="278"/>
                  </a:lnTo>
                  <a:lnTo>
                    <a:pt x="595" y="278"/>
                  </a:lnTo>
                  <a:lnTo>
                    <a:pt x="601" y="278"/>
                  </a:lnTo>
                  <a:lnTo>
                    <a:pt x="605" y="280"/>
                  </a:lnTo>
                  <a:lnTo>
                    <a:pt x="605" y="280"/>
                  </a:lnTo>
                  <a:lnTo>
                    <a:pt x="605" y="284"/>
                  </a:lnTo>
                  <a:lnTo>
                    <a:pt x="605" y="290"/>
                  </a:lnTo>
                  <a:lnTo>
                    <a:pt x="605" y="302"/>
                  </a:lnTo>
                  <a:lnTo>
                    <a:pt x="605" y="302"/>
                  </a:lnTo>
                  <a:close/>
                  <a:moveTo>
                    <a:pt x="783" y="438"/>
                  </a:moveTo>
                  <a:lnTo>
                    <a:pt x="783" y="438"/>
                  </a:lnTo>
                  <a:lnTo>
                    <a:pt x="783" y="470"/>
                  </a:lnTo>
                  <a:lnTo>
                    <a:pt x="783" y="470"/>
                  </a:lnTo>
                  <a:lnTo>
                    <a:pt x="783" y="516"/>
                  </a:lnTo>
                  <a:lnTo>
                    <a:pt x="783" y="516"/>
                  </a:lnTo>
                  <a:lnTo>
                    <a:pt x="691" y="516"/>
                  </a:lnTo>
                  <a:lnTo>
                    <a:pt x="691" y="516"/>
                  </a:lnTo>
                  <a:lnTo>
                    <a:pt x="683" y="516"/>
                  </a:lnTo>
                  <a:lnTo>
                    <a:pt x="675" y="516"/>
                  </a:lnTo>
                  <a:lnTo>
                    <a:pt x="675" y="516"/>
                  </a:lnTo>
                  <a:lnTo>
                    <a:pt x="673" y="514"/>
                  </a:lnTo>
                  <a:lnTo>
                    <a:pt x="673" y="512"/>
                  </a:lnTo>
                  <a:lnTo>
                    <a:pt x="673" y="512"/>
                  </a:lnTo>
                  <a:lnTo>
                    <a:pt x="673" y="498"/>
                  </a:lnTo>
                  <a:lnTo>
                    <a:pt x="673" y="486"/>
                  </a:lnTo>
                  <a:lnTo>
                    <a:pt x="673" y="460"/>
                  </a:lnTo>
                  <a:lnTo>
                    <a:pt x="673" y="460"/>
                  </a:lnTo>
                  <a:lnTo>
                    <a:pt x="673" y="434"/>
                  </a:lnTo>
                  <a:lnTo>
                    <a:pt x="673" y="434"/>
                  </a:lnTo>
                  <a:lnTo>
                    <a:pt x="673" y="424"/>
                  </a:lnTo>
                  <a:lnTo>
                    <a:pt x="673" y="418"/>
                  </a:lnTo>
                  <a:lnTo>
                    <a:pt x="673" y="418"/>
                  </a:lnTo>
                  <a:lnTo>
                    <a:pt x="679" y="416"/>
                  </a:lnTo>
                  <a:lnTo>
                    <a:pt x="687" y="416"/>
                  </a:lnTo>
                  <a:lnTo>
                    <a:pt x="701" y="416"/>
                  </a:lnTo>
                  <a:lnTo>
                    <a:pt x="701" y="416"/>
                  </a:lnTo>
                  <a:lnTo>
                    <a:pt x="759" y="416"/>
                  </a:lnTo>
                  <a:lnTo>
                    <a:pt x="759" y="416"/>
                  </a:lnTo>
                  <a:lnTo>
                    <a:pt x="771" y="416"/>
                  </a:lnTo>
                  <a:lnTo>
                    <a:pt x="779" y="416"/>
                  </a:lnTo>
                  <a:lnTo>
                    <a:pt x="783" y="418"/>
                  </a:lnTo>
                  <a:lnTo>
                    <a:pt x="783" y="418"/>
                  </a:lnTo>
                  <a:lnTo>
                    <a:pt x="783" y="422"/>
                  </a:lnTo>
                  <a:lnTo>
                    <a:pt x="783" y="428"/>
                  </a:lnTo>
                  <a:lnTo>
                    <a:pt x="783" y="438"/>
                  </a:lnTo>
                  <a:lnTo>
                    <a:pt x="783" y="438"/>
                  </a:lnTo>
                  <a:close/>
                  <a:moveTo>
                    <a:pt x="783" y="302"/>
                  </a:moveTo>
                  <a:lnTo>
                    <a:pt x="783" y="302"/>
                  </a:lnTo>
                  <a:lnTo>
                    <a:pt x="783" y="334"/>
                  </a:lnTo>
                  <a:lnTo>
                    <a:pt x="783" y="334"/>
                  </a:lnTo>
                  <a:lnTo>
                    <a:pt x="783" y="378"/>
                  </a:lnTo>
                  <a:lnTo>
                    <a:pt x="783" y="378"/>
                  </a:lnTo>
                  <a:lnTo>
                    <a:pt x="691" y="378"/>
                  </a:lnTo>
                  <a:lnTo>
                    <a:pt x="691" y="378"/>
                  </a:lnTo>
                  <a:lnTo>
                    <a:pt x="683" y="380"/>
                  </a:lnTo>
                  <a:lnTo>
                    <a:pt x="675" y="378"/>
                  </a:lnTo>
                  <a:lnTo>
                    <a:pt x="675" y="378"/>
                  </a:lnTo>
                  <a:lnTo>
                    <a:pt x="673" y="376"/>
                  </a:lnTo>
                  <a:lnTo>
                    <a:pt x="673" y="374"/>
                  </a:lnTo>
                  <a:lnTo>
                    <a:pt x="673" y="374"/>
                  </a:lnTo>
                  <a:lnTo>
                    <a:pt x="673" y="348"/>
                  </a:lnTo>
                  <a:lnTo>
                    <a:pt x="673" y="322"/>
                  </a:lnTo>
                  <a:lnTo>
                    <a:pt x="673" y="322"/>
                  </a:lnTo>
                  <a:lnTo>
                    <a:pt x="673" y="294"/>
                  </a:lnTo>
                  <a:lnTo>
                    <a:pt x="673" y="294"/>
                  </a:lnTo>
                  <a:lnTo>
                    <a:pt x="673" y="286"/>
                  </a:lnTo>
                  <a:lnTo>
                    <a:pt x="673" y="280"/>
                  </a:lnTo>
                  <a:lnTo>
                    <a:pt x="673" y="280"/>
                  </a:lnTo>
                  <a:lnTo>
                    <a:pt x="679" y="278"/>
                  </a:lnTo>
                  <a:lnTo>
                    <a:pt x="687" y="278"/>
                  </a:lnTo>
                  <a:lnTo>
                    <a:pt x="701" y="278"/>
                  </a:lnTo>
                  <a:lnTo>
                    <a:pt x="701" y="278"/>
                  </a:lnTo>
                  <a:lnTo>
                    <a:pt x="759" y="278"/>
                  </a:lnTo>
                  <a:lnTo>
                    <a:pt x="759" y="278"/>
                  </a:lnTo>
                  <a:lnTo>
                    <a:pt x="771" y="278"/>
                  </a:lnTo>
                  <a:lnTo>
                    <a:pt x="779" y="278"/>
                  </a:lnTo>
                  <a:lnTo>
                    <a:pt x="783" y="280"/>
                  </a:lnTo>
                  <a:lnTo>
                    <a:pt x="783" y="280"/>
                  </a:lnTo>
                  <a:lnTo>
                    <a:pt x="783" y="284"/>
                  </a:lnTo>
                  <a:lnTo>
                    <a:pt x="783" y="290"/>
                  </a:lnTo>
                  <a:lnTo>
                    <a:pt x="783" y="302"/>
                  </a:lnTo>
                  <a:lnTo>
                    <a:pt x="783" y="302"/>
                  </a:lnTo>
                  <a:close/>
                  <a:moveTo>
                    <a:pt x="849" y="356"/>
                  </a:moveTo>
                  <a:lnTo>
                    <a:pt x="849" y="356"/>
                  </a:lnTo>
                  <a:lnTo>
                    <a:pt x="849" y="322"/>
                  </a:lnTo>
                  <a:lnTo>
                    <a:pt x="849" y="322"/>
                  </a:lnTo>
                  <a:lnTo>
                    <a:pt x="849" y="278"/>
                  </a:lnTo>
                  <a:lnTo>
                    <a:pt x="849" y="278"/>
                  </a:lnTo>
                  <a:lnTo>
                    <a:pt x="943" y="278"/>
                  </a:lnTo>
                  <a:lnTo>
                    <a:pt x="943" y="278"/>
                  </a:lnTo>
                  <a:lnTo>
                    <a:pt x="951" y="278"/>
                  </a:lnTo>
                  <a:lnTo>
                    <a:pt x="959" y="278"/>
                  </a:lnTo>
                  <a:lnTo>
                    <a:pt x="959" y="278"/>
                  </a:lnTo>
                  <a:lnTo>
                    <a:pt x="959" y="280"/>
                  </a:lnTo>
                  <a:lnTo>
                    <a:pt x="959" y="284"/>
                  </a:lnTo>
                  <a:lnTo>
                    <a:pt x="959" y="284"/>
                  </a:lnTo>
                  <a:lnTo>
                    <a:pt x="959" y="308"/>
                  </a:lnTo>
                  <a:lnTo>
                    <a:pt x="959" y="334"/>
                  </a:lnTo>
                  <a:lnTo>
                    <a:pt x="959" y="334"/>
                  </a:lnTo>
                  <a:lnTo>
                    <a:pt x="959" y="362"/>
                  </a:lnTo>
                  <a:lnTo>
                    <a:pt x="959" y="362"/>
                  </a:lnTo>
                  <a:lnTo>
                    <a:pt x="959" y="370"/>
                  </a:lnTo>
                  <a:lnTo>
                    <a:pt x="959" y="378"/>
                  </a:lnTo>
                  <a:lnTo>
                    <a:pt x="959" y="378"/>
                  </a:lnTo>
                  <a:lnTo>
                    <a:pt x="955" y="380"/>
                  </a:lnTo>
                  <a:lnTo>
                    <a:pt x="947" y="380"/>
                  </a:lnTo>
                  <a:lnTo>
                    <a:pt x="931" y="378"/>
                  </a:lnTo>
                  <a:lnTo>
                    <a:pt x="931" y="378"/>
                  </a:lnTo>
                  <a:lnTo>
                    <a:pt x="873" y="378"/>
                  </a:lnTo>
                  <a:lnTo>
                    <a:pt x="873" y="378"/>
                  </a:lnTo>
                  <a:lnTo>
                    <a:pt x="861" y="380"/>
                  </a:lnTo>
                  <a:lnTo>
                    <a:pt x="853" y="378"/>
                  </a:lnTo>
                  <a:lnTo>
                    <a:pt x="849" y="376"/>
                  </a:lnTo>
                  <a:lnTo>
                    <a:pt x="849" y="376"/>
                  </a:lnTo>
                  <a:lnTo>
                    <a:pt x="849" y="372"/>
                  </a:lnTo>
                  <a:lnTo>
                    <a:pt x="849" y="366"/>
                  </a:lnTo>
                  <a:lnTo>
                    <a:pt x="849" y="356"/>
                  </a:lnTo>
                  <a:lnTo>
                    <a:pt x="849" y="356"/>
                  </a:lnTo>
                  <a:close/>
                  <a:moveTo>
                    <a:pt x="959" y="654"/>
                  </a:moveTo>
                  <a:lnTo>
                    <a:pt x="959" y="654"/>
                  </a:lnTo>
                  <a:lnTo>
                    <a:pt x="955" y="654"/>
                  </a:lnTo>
                  <a:lnTo>
                    <a:pt x="947" y="654"/>
                  </a:lnTo>
                  <a:lnTo>
                    <a:pt x="931" y="654"/>
                  </a:lnTo>
                  <a:lnTo>
                    <a:pt x="931" y="654"/>
                  </a:lnTo>
                  <a:lnTo>
                    <a:pt x="873" y="654"/>
                  </a:lnTo>
                  <a:lnTo>
                    <a:pt x="873" y="654"/>
                  </a:lnTo>
                  <a:lnTo>
                    <a:pt x="863" y="654"/>
                  </a:lnTo>
                  <a:lnTo>
                    <a:pt x="853" y="654"/>
                  </a:lnTo>
                  <a:lnTo>
                    <a:pt x="853" y="654"/>
                  </a:lnTo>
                  <a:lnTo>
                    <a:pt x="851" y="654"/>
                  </a:lnTo>
                  <a:lnTo>
                    <a:pt x="849" y="652"/>
                  </a:lnTo>
                  <a:lnTo>
                    <a:pt x="849" y="652"/>
                  </a:lnTo>
                  <a:lnTo>
                    <a:pt x="849" y="648"/>
                  </a:lnTo>
                  <a:lnTo>
                    <a:pt x="849" y="642"/>
                  </a:lnTo>
                  <a:lnTo>
                    <a:pt x="849" y="630"/>
                  </a:lnTo>
                  <a:lnTo>
                    <a:pt x="849" y="630"/>
                  </a:lnTo>
                  <a:lnTo>
                    <a:pt x="849" y="598"/>
                  </a:lnTo>
                  <a:lnTo>
                    <a:pt x="849" y="598"/>
                  </a:lnTo>
                  <a:lnTo>
                    <a:pt x="849" y="552"/>
                  </a:lnTo>
                  <a:lnTo>
                    <a:pt x="849" y="552"/>
                  </a:lnTo>
                  <a:lnTo>
                    <a:pt x="943" y="552"/>
                  </a:lnTo>
                  <a:lnTo>
                    <a:pt x="943" y="552"/>
                  </a:lnTo>
                  <a:lnTo>
                    <a:pt x="951" y="552"/>
                  </a:lnTo>
                  <a:lnTo>
                    <a:pt x="955" y="552"/>
                  </a:lnTo>
                  <a:lnTo>
                    <a:pt x="959" y="552"/>
                  </a:lnTo>
                  <a:lnTo>
                    <a:pt x="959" y="552"/>
                  </a:lnTo>
                  <a:lnTo>
                    <a:pt x="959" y="554"/>
                  </a:lnTo>
                  <a:lnTo>
                    <a:pt x="959" y="558"/>
                  </a:lnTo>
                  <a:lnTo>
                    <a:pt x="959" y="558"/>
                  </a:lnTo>
                  <a:lnTo>
                    <a:pt x="959" y="610"/>
                  </a:lnTo>
                  <a:lnTo>
                    <a:pt x="959" y="610"/>
                  </a:lnTo>
                  <a:lnTo>
                    <a:pt x="959" y="638"/>
                  </a:lnTo>
                  <a:lnTo>
                    <a:pt x="959" y="638"/>
                  </a:lnTo>
                  <a:lnTo>
                    <a:pt x="959" y="646"/>
                  </a:lnTo>
                  <a:lnTo>
                    <a:pt x="959" y="654"/>
                  </a:lnTo>
                  <a:lnTo>
                    <a:pt x="959" y="654"/>
                  </a:lnTo>
                  <a:close/>
                  <a:moveTo>
                    <a:pt x="959" y="514"/>
                  </a:moveTo>
                  <a:lnTo>
                    <a:pt x="959" y="514"/>
                  </a:lnTo>
                  <a:lnTo>
                    <a:pt x="955" y="516"/>
                  </a:lnTo>
                  <a:lnTo>
                    <a:pt x="947" y="516"/>
                  </a:lnTo>
                  <a:lnTo>
                    <a:pt x="931" y="516"/>
                  </a:lnTo>
                  <a:lnTo>
                    <a:pt x="931" y="516"/>
                  </a:lnTo>
                  <a:lnTo>
                    <a:pt x="873" y="516"/>
                  </a:lnTo>
                  <a:lnTo>
                    <a:pt x="873" y="516"/>
                  </a:lnTo>
                  <a:lnTo>
                    <a:pt x="861" y="516"/>
                  </a:lnTo>
                  <a:lnTo>
                    <a:pt x="853" y="516"/>
                  </a:lnTo>
                  <a:lnTo>
                    <a:pt x="849" y="514"/>
                  </a:lnTo>
                  <a:lnTo>
                    <a:pt x="849" y="514"/>
                  </a:lnTo>
                  <a:lnTo>
                    <a:pt x="849" y="510"/>
                  </a:lnTo>
                  <a:lnTo>
                    <a:pt x="849" y="504"/>
                  </a:lnTo>
                  <a:lnTo>
                    <a:pt x="849" y="494"/>
                  </a:lnTo>
                  <a:lnTo>
                    <a:pt x="849" y="494"/>
                  </a:lnTo>
                  <a:lnTo>
                    <a:pt x="849" y="462"/>
                  </a:lnTo>
                  <a:lnTo>
                    <a:pt x="849" y="462"/>
                  </a:lnTo>
                  <a:lnTo>
                    <a:pt x="849" y="416"/>
                  </a:lnTo>
                  <a:lnTo>
                    <a:pt x="849" y="416"/>
                  </a:lnTo>
                  <a:lnTo>
                    <a:pt x="941" y="416"/>
                  </a:lnTo>
                  <a:lnTo>
                    <a:pt x="941" y="416"/>
                  </a:lnTo>
                  <a:lnTo>
                    <a:pt x="949" y="416"/>
                  </a:lnTo>
                  <a:lnTo>
                    <a:pt x="955" y="416"/>
                  </a:lnTo>
                  <a:lnTo>
                    <a:pt x="957" y="416"/>
                  </a:lnTo>
                  <a:lnTo>
                    <a:pt x="957" y="416"/>
                  </a:lnTo>
                  <a:lnTo>
                    <a:pt x="959" y="418"/>
                  </a:lnTo>
                  <a:lnTo>
                    <a:pt x="959" y="420"/>
                  </a:lnTo>
                  <a:lnTo>
                    <a:pt x="959" y="420"/>
                  </a:lnTo>
                  <a:lnTo>
                    <a:pt x="961" y="432"/>
                  </a:lnTo>
                  <a:lnTo>
                    <a:pt x="961" y="446"/>
                  </a:lnTo>
                  <a:lnTo>
                    <a:pt x="959" y="472"/>
                  </a:lnTo>
                  <a:lnTo>
                    <a:pt x="959" y="472"/>
                  </a:lnTo>
                  <a:lnTo>
                    <a:pt x="959" y="498"/>
                  </a:lnTo>
                  <a:lnTo>
                    <a:pt x="959" y="498"/>
                  </a:lnTo>
                  <a:lnTo>
                    <a:pt x="959" y="506"/>
                  </a:lnTo>
                  <a:lnTo>
                    <a:pt x="959" y="514"/>
                  </a:lnTo>
                  <a:lnTo>
                    <a:pt x="959" y="514"/>
                  </a:lnTo>
                  <a:close/>
                  <a:moveTo>
                    <a:pt x="1003" y="418"/>
                  </a:moveTo>
                  <a:lnTo>
                    <a:pt x="1003" y="418"/>
                  </a:lnTo>
                  <a:lnTo>
                    <a:pt x="1007" y="416"/>
                  </a:lnTo>
                  <a:lnTo>
                    <a:pt x="1015" y="416"/>
                  </a:lnTo>
                  <a:lnTo>
                    <a:pt x="1029" y="416"/>
                  </a:lnTo>
                  <a:lnTo>
                    <a:pt x="1029" y="416"/>
                  </a:lnTo>
                  <a:lnTo>
                    <a:pt x="1087" y="416"/>
                  </a:lnTo>
                  <a:lnTo>
                    <a:pt x="1087" y="416"/>
                  </a:lnTo>
                  <a:lnTo>
                    <a:pt x="1102" y="416"/>
                  </a:lnTo>
                  <a:lnTo>
                    <a:pt x="1108" y="416"/>
                  </a:lnTo>
                  <a:lnTo>
                    <a:pt x="1112" y="418"/>
                  </a:lnTo>
                  <a:lnTo>
                    <a:pt x="1112" y="418"/>
                  </a:lnTo>
                  <a:lnTo>
                    <a:pt x="1114" y="422"/>
                  </a:lnTo>
                  <a:lnTo>
                    <a:pt x="1114" y="428"/>
                  </a:lnTo>
                  <a:lnTo>
                    <a:pt x="1112" y="438"/>
                  </a:lnTo>
                  <a:lnTo>
                    <a:pt x="1112" y="438"/>
                  </a:lnTo>
                  <a:lnTo>
                    <a:pt x="1112" y="472"/>
                  </a:lnTo>
                  <a:lnTo>
                    <a:pt x="1112" y="472"/>
                  </a:lnTo>
                  <a:lnTo>
                    <a:pt x="1112" y="516"/>
                  </a:lnTo>
                  <a:lnTo>
                    <a:pt x="1112" y="516"/>
                  </a:lnTo>
                  <a:lnTo>
                    <a:pt x="1021" y="516"/>
                  </a:lnTo>
                  <a:lnTo>
                    <a:pt x="1021" y="516"/>
                  </a:lnTo>
                  <a:lnTo>
                    <a:pt x="1013" y="516"/>
                  </a:lnTo>
                  <a:lnTo>
                    <a:pt x="1005" y="516"/>
                  </a:lnTo>
                  <a:lnTo>
                    <a:pt x="1005" y="516"/>
                  </a:lnTo>
                  <a:lnTo>
                    <a:pt x="1003" y="514"/>
                  </a:lnTo>
                  <a:lnTo>
                    <a:pt x="1003" y="510"/>
                  </a:lnTo>
                  <a:lnTo>
                    <a:pt x="1003" y="510"/>
                  </a:lnTo>
                  <a:lnTo>
                    <a:pt x="1003" y="486"/>
                  </a:lnTo>
                  <a:lnTo>
                    <a:pt x="1003" y="460"/>
                  </a:lnTo>
                  <a:lnTo>
                    <a:pt x="1003" y="460"/>
                  </a:lnTo>
                  <a:lnTo>
                    <a:pt x="1003" y="432"/>
                  </a:lnTo>
                  <a:lnTo>
                    <a:pt x="1003" y="432"/>
                  </a:lnTo>
                  <a:lnTo>
                    <a:pt x="1003" y="424"/>
                  </a:lnTo>
                  <a:lnTo>
                    <a:pt x="1003" y="418"/>
                  </a:lnTo>
                  <a:lnTo>
                    <a:pt x="1003" y="418"/>
                  </a:lnTo>
                  <a:close/>
                  <a:moveTo>
                    <a:pt x="1112" y="578"/>
                  </a:moveTo>
                  <a:lnTo>
                    <a:pt x="1112" y="578"/>
                  </a:lnTo>
                  <a:lnTo>
                    <a:pt x="1112" y="610"/>
                  </a:lnTo>
                  <a:lnTo>
                    <a:pt x="1112" y="610"/>
                  </a:lnTo>
                  <a:lnTo>
                    <a:pt x="1112" y="654"/>
                  </a:lnTo>
                  <a:lnTo>
                    <a:pt x="1112" y="654"/>
                  </a:lnTo>
                  <a:lnTo>
                    <a:pt x="1019" y="654"/>
                  </a:lnTo>
                  <a:lnTo>
                    <a:pt x="1019" y="654"/>
                  </a:lnTo>
                  <a:lnTo>
                    <a:pt x="1011" y="654"/>
                  </a:lnTo>
                  <a:lnTo>
                    <a:pt x="1003" y="654"/>
                  </a:lnTo>
                  <a:lnTo>
                    <a:pt x="1003" y="654"/>
                  </a:lnTo>
                  <a:lnTo>
                    <a:pt x="1003" y="652"/>
                  </a:lnTo>
                  <a:lnTo>
                    <a:pt x="1003" y="648"/>
                  </a:lnTo>
                  <a:lnTo>
                    <a:pt x="1003" y="648"/>
                  </a:lnTo>
                  <a:lnTo>
                    <a:pt x="1003" y="596"/>
                  </a:lnTo>
                  <a:lnTo>
                    <a:pt x="1003" y="596"/>
                  </a:lnTo>
                  <a:lnTo>
                    <a:pt x="1003" y="568"/>
                  </a:lnTo>
                  <a:lnTo>
                    <a:pt x="1003" y="568"/>
                  </a:lnTo>
                  <a:lnTo>
                    <a:pt x="1003" y="560"/>
                  </a:lnTo>
                  <a:lnTo>
                    <a:pt x="1003" y="554"/>
                  </a:lnTo>
                  <a:lnTo>
                    <a:pt x="1003" y="554"/>
                  </a:lnTo>
                  <a:lnTo>
                    <a:pt x="1007" y="552"/>
                  </a:lnTo>
                  <a:lnTo>
                    <a:pt x="1015" y="552"/>
                  </a:lnTo>
                  <a:lnTo>
                    <a:pt x="1031" y="552"/>
                  </a:lnTo>
                  <a:lnTo>
                    <a:pt x="1031" y="552"/>
                  </a:lnTo>
                  <a:lnTo>
                    <a:pt x="1089" y="552"/>
                  </a:lnTo>
                  <a:lnTo>
                    <a:pt x="1089" y="552"/>
                  </a:lnTo>
                  <a:lnTo>
                    <a:pt x="1100" y="552"/>
                  </a:lnTo>
                  <a:lnTo>
                    <a:pt x="1110" y="552"/>
                  </a:lnTo>
                  <a:lnTo>
                    <a:pt x="1110" y="552"/>
                  </a:lnTo>
                  <a:lnTo>
                    <a:pt x="1112" y="552"/>
                  </a:lnTo>
                  <a:lnTo>
                    <a:pt x="1112" y="554"/>
                  </a:lnTo>
                  <a:lnTo>
                    <a:pt x="1112" y="554"/>
                  </a:lnTo>
                  <a:lnTo>
                    <a:pt x="1114" y="560"/>
                  </a:lnTo>
                  <a:lnTo>
                    <a:pt x="1114" y="566"/>
                  </a:lnTo>
                  <a:lnTo>
                    <a:pt x="1112" y="578"/>
                  </a:lnTo>
                  <a:lnTo>
                    <a:pt x="1112" y="578"/>
                  </a:lnTo>
                  <a:close/>
                  <a:moveTo>
                    <a:pt x="1262" y="578"/>
                  </a:moveTo>
                  <a:lnTo>
                    <a:pt x="1262" y="578"/>
                  </a:lnTo>
                  <a:lnTo>
                    <a:pt x="1262" y="610"/>
                  </a:lnTo>
                  <a:lnTo>
                    <a:pt x="1262" y="610"/>
                  </a:lnTo>
                  <a:lnTo>
                    <a:pt x="1262" y="654"/>
                  </a:lnTo>
                  <a:lnTo>
                    <a:pt x="1262" y="654"/>
                  </a:lnTo>
                  <a:lnTo>
                    <a:pt x="1168" y="654"/>
                  </a:lnTo>
                  <a:lnTo>
                    <a:pt x="1168" y="654"/>
                  </a:lnTo>
                  <a:lnTo>
                    <a:pt x="1162" y="654"/>
                  </a:lnTo>
                  <a:lnTo>
                    <a:pt x="1154" y="654"/>
                  </a:lnTo>
                  <a:lnTo>
                    <a:pt x="1154" y="654"/>
                  </a:lnTo>
                  <a:lnTo>
                    <a:pt x="1154" y="652"/>
                  </a:lnTo>
                  <a:lnTo>
                    <a:pt x="1154" y="648"/>
                  </a:lnTo>
                  <a:lnTo>
                    <a:pt x="1154" y="648"/>
                  </a:lnTo>
                  <a:lnTo>
                    <a:pt x="1154" y="596"/>
                  </a:lnTo>
                  <a:lnTo>
                    <a:pt x="1154" y="596"/>
                  </a:lnTo>
                  <a:lnTo>
                    <a:pt x="1154" y="568"/>
                  </a:lnTo>
                  <a:lnTo>
                    <a:pt x="1154" y="568"/>
                  </a:lnTo>
                  <a:lnTo>
                    <a:pt x="1152" y="560"/>
                  </a:lnTo>
                  <a:lnTo>
                    <a:pt x="1154" y="554"/>
                  </a:lnTo>
                  <a:lnTo>
                    <a:pt x="1154" y="554"/>
                  </a:lnTo>
                  <a:lnTo>
                    <a:pt x="1158" y="552"/>
                  </a:lnTo>
                  <a:lnTo>
                    <a:pt x="1166" y="552"/>
                  </a:lnTo>
                  <a:lnTo>
                    <a:pt x="1180" y="552"/>
                  </a:lnTo>
                  <a:lnTo>
                    <a:pt x="1180" y="552"/>
                  </a:lnTo>
                  <a:lnTo>
                    <a:pt x="1240" y="552"/>
                  </a:lnTo>
                  <a:lnTo>
                    <a:pt x="1240" y="552"/>
                  </a:lnTo>
                  <a:lnTo>
                    <a:pt x="1250" y="552"/>
                  </a:lnTo>
                  <a:lnTo>
                    <a:pt x="1258" y="552"/>
                  </a:lnTo>
                  <a:lnTo>
                    <a:pt x="1258" y="552"/>
                  </a:lnTo>
                  <a:lnTo>
                    <a:pt x="1262" y="552"/>
                  </a:lnTo>
                  <a:lnTo>
                    <a:pt x="1262" y="554"/>
                  </a:lnTo>
                  <a:lnTo>
                    <a:pt x="1262" y="554"/>
                  </a:lnTo>
                  <a:lnTo>
                    <a:pt x="1262" y="560"/>
                  </a:lnTo>
                  <a:lnTo>
                    <a:pt x="1262" y="566"/>
                  </a:lnTo>
                  <a:lnTo>
                    <a:pt x="1262" y="578"/>
                  </a:lnTo>
                  <a:lnTo>
                    <a:pt x="1262" y="578"/>
                  </a:lnTo>
                  <a:close/>
                  <a:moveTo>
                    <a:pt x="1262" y="438"/>
                  </a:moveTo>
                  <a:lnTo>
                    <a:pt x="1262" y="438"/>
                  </a:lnTo>
                  <a:lnTo>
                    <a:pt x="1262" y="472"/>
                  </a:lnTo>
                  <a:lnTo>
                    <a:pt x="1262" y="472"/>
                  </a:lnTo>
                  <a:lnTo>
                    <a:pt x="1262" y="516"/>
                  </a:lnTo>
                  <a:lnTo>
                    <a:pt x="1262" y="516"/>
                  </a:lnTo>
                  <a:lnTo>
                    <a:pt x="1170" y="516"/>
                  </a:lnTo>
                  <a:lnTo>
                    <a:pt x="1170" y="516"/>
                  </a:lnTo>
                  <a:lnTo>
                    <a:pt x="1162" y="516"/>
                  </a:lnTo>
                  <a:lnTo>
                    <a:pt x="1154" y="516"/>
                  </a:lnTo>
                  <a:lnTo>
                    <a:pt x="1154" y="516"/>
                  </a:lnTo>
                  <a:lnTo>
                    <a:pt x="1154" y="514"/>
                  </a:lnTo>
                  <a:lnTo>
                    <a:pt x="1154" y="510"/>
                  </a:lnTo>
                  <a:lnTo>
                    <a:pt x="1154" y="510"/>
                  </a:lnTo>
                  <a:lnTo>
                    <a:pt x="1152" y="486"/>
                  </a:lnTo>
                  <a:lnTo>
                    <a:pt x="1154" y="460"/>
                  </a:lnTo>
                  <a:lnTo>
                    <a:pt x="1154" y="460"/>
                  </a:lnTo>
                  <a:lnTo>
                    <a:pt x="1154" y="432"/>
                  </a:lnTo>
                  <a:lnTo>
                    <a:pt x="1154" y="432"/>
                  </a:lnTo>
                  <a:lnTo>
                    <a:pt x="1152" y="424"/>
                  </a:lnTo>
                  <a:lnTo>
                    <a:pt x="1154" y="418"/>
                  </a:lnTo>
                  <a:lnTo>
                    <a:pt x="1154" y="418"/>
                  </a:lnTo>
                  <a:lnTo>
                    <a:pt x="1158" y="416"/>
                  </a:lnTo>
                  <a:lnTo>
                    <a:pt x="1166" y="416"/>
                  </a:lnTo>
                  <a:lnTo>
                    <a:pt x="1180" y="416"/>
                  </a:lnTo>
                  <a:lnTo>
                    <a:pt x="1180" y="416"/>
                  </a:lnTo>
                  <a:lnTo>
                    <a:pt x="1238" y="416"/>
                  </a:lnTo>
                  <a:lnTo>
                    <a:pt x="1238" y="416"/>
                  </a:lnTo>
                  <a:lnTo>
                    <a:pt x="1250" y="416"/>
                  </a:lnTo>
                  <a:lnTo>
                    <a:pt x="1258" y="416"/>
                  </a:lnTo>
                  <a:lnTo>
                    <a:pt x="1262" y="418"/>
                  </a:lnTo>
                  <a:lnTo>
                    <a:pt x="1262" y="418"/>
                  </a:lnTo>
                  <a:lnTo>
                    <a:pt x="1262" y="422"/>
                  </a:lnTo>
                  <a:lnTo>
                    <a:pt x="1262" y="428"/>
                  </a:lnTo>
                  <a:lnTo>
                    <a:pt x="1262" y="438"/>
                  </a:lnTo>
                  <a:lnTo>
                    <a:pt x="1262" y="438"/>
                  </a:lnTo>
                  <a:close/>
                  <a:moveTo>
                    <a:pt x="1302" y="418"/>
                  </a:moveTo>
                  <a:lnTo>
                    <a:pt x="1302" y="418"/>
                  </a:lnTo>
                  <a:lnTo>
                    <a:pt x="1308" y="416"/>
                  </a:lnTo>
                  <a:lnTo>
                    <a:pt x="1316" y="416"/>
                  </a:lnTo>
                  <a:lnTo>
                    <a:pt x="1330" y="416"/>
                  </a:lnTo>
                  <a:lnTo>
                    <a:pt x="1330" y="416"/>
                  </a:lnTo>
                  <a:lnTo>
                    <a:pt x="1388" y="416"/>
                  </a:lnTo>
                  <a:lnTo>
                    <a:pt x="1388" y="416"/>
                  </a:lnTo>
                  <a:lnTo>
                    <a:pt x="1400" y="416"/>
                  </a:lnTo>
                  <a:lnTo>
                    <a:pt x="1408" y="416"/>
                  </a:lnTo>
                  <a:lnTo>
                    <a:pt x="1410" y="418"/>
                  </a:lnTo>
                  <a:lnTo>
                    <a:pt x="1410" y="418"/>
                  </a:lnTo>
                  <a:lnTo>
                    <a:pt x="1412" y="422"/>
                  </a:lnTo>
                  <a:lnTo>
                    <a:pt x="1412" y="428"/>
                  </a:lnTo>
                  <a:lnTo>
                    <a:pt x="1410" y="438"/>
                  </a:lnTo>
                  <a:lnTo>
                    <a:pt x="1410" y="438"/>
                  </a:lnTo>
                  <a:lnTo>
                    <a:pt x="1410" y="472"/>
                  </a:lnTo>
                  <a:lnTo>
                    <a:pt x="1410" y="472"/>
                  </a:lnTo>
                  <a:lnTo>
                    <a:pt x="1410" y="516"/>
                  </a:lnTo>
                  <a:lnTo>
                    <a:pt x="1410" y="516"/>
                  </a:lnTo>
                  <a:lnTo>
                    <a:pt x="1320" y="516"/>
                  </a:lnTo>
                  <a:lnTo>
                    <a:pt x="1320" y="516"/>
                  </a:lnTo>
                  <a:lnTo>
                    <a:pt x="1312" y="516"/>
                  </a:lnTo>
                  <a:lnTo>
                    <a:pt x="1304" y="516"/>
                  </a:lnTo>
                  <a:lnTo>
                    <a:pt x="1304" y="516"/>
                  </a:lnTo>
                  <a:lnTo>
                    <a:pt x="1302" y="514"/>
                  </a:lnTo>
                  <a:lnTo>
                    <a:pt x="1302" y="510"/>
                  </a:lnTo>
                  <a:lnTo>
                    <a:pt x="1302" y="510"/>
                  </a:lnTo>
                  <a:lnTo>
                    <a:pt x="1302" y="486"/>
                  </a:lnTo>
                  <a:lnTo>
                    <a:pt x="1302" y="460"/>
                  </a:lnTo>
                  <a:lnTo>
                    <a:pt x="1302" y="460"/>
                  </a:lnTo>
                  <a:lnTo>
                    <a:pt x="1302" y="432"/>
                  </a:lnTo>
                  <a:lnTo>
                    <a:pt x="1302" y="432"/>
                  </a:lnTo>
                  <a:lnTo>
                    <a:pt x="1302" y="424"/>
                  </a:lnTo>
                  <a:lnTo>
                    <a:pt x="1302" y="418"/>
                  </a:lnTo>
                  <a:lnTo>
                    <a:pt x="1302" y="418"/>
                  </a:lnTo>
                  <a:close/>
                  <a:moveTo>
                    <a:pt x="1410" y="578"/>
                  </a:moveTo>
                  <a:lnTo>
                    <a:pt x="1410" y="578"/>
                  </a:lnTo>
                  <a:lnTo>
                    <a:pt x="1410" y="610"/>
                  </a:lnTo>
                  <a:lnTo>
                    <a:pt x="1410" y="610"/>
                  </a:lnTo>
                  <a:lnTo>
                    <a:pt x="1410" y="654"/>
                  </a:lnTo>
                  <a:lnTo>
                    <a:pt x="1410" y="654"/>
                  </a:lnTo>
                  <a:lnTo>
                    <a:pt x="1318" y="654"/>
                  </a:lnTo>
                  <a:lnTo>
                    <a:pt x="1318" y="654"/>
                  </a:lnTo>
                  <a:lnTo>
                    <a:pt x="1310" y="654"/>
                  </a:lnTo>
                  <a:lnTo>
                    <a:pt x="1304" y="654"/>
                  </a:lnTo>
                  <a:lnTo>
                    <a:pt x="1304" y="654"/>
                  </a:lnTo>
                  <a:lnTo>
                    <a:pt x="1302" y="652"/>
                  </a:lnTo>
                  <a:lnTo>
                    <a:pt x="1302" y="648"/>
                  </a:lnTo>
                  <a:lnTo>
                    <a:pt x="1302" y="648"/>
                  </a:lnTo>
                  <a:lnTo>
                    <a:pt x="1302" y="596"/>
                  </a:lnTo>
                  <a:lnTo>
                    <a:pt x="1302" y="596"/>
                  </a:lnTo>
                  <a:lnTo>
                    <a:pt x="1302" y="568"/>
                  </a:lnTo>
                  <a:lnTo>
                    <a:pt x="1302" y="568"/>
                  </a:lnTo>
                  <a:lnTo>
                    <a:pt x="1302" y="560"/>
                  </a:lnTo>
                  <a:lnTo>
                    <a:pt x="1302" y="554"/>
                  </a:lnTo>
                  <a:lnTo>
                    <a:pt x="1302" y="554"/>
                  </a:lnTo>
                  <a:lnTo>
                    <a:pt x="1308" y="552"/>
                  </a:lnTo>
                  <a:lnTo>
                    <a:pt x="1316" y="552"/>
                  </a:lnTo>
                  <a:lnTo>
                    <a:pt x="1330" y="552"/>
                  </a:lnTo>
                  <a:lnTo>
                    <a:pt x="1330" y="552"/>
                  </a:lnTo>
                  <a:lnTo>
                    <a:pt x="1390" y="552"/>
                  </a:lnTo>
                  <a:lnTo>
                    <a:pt x="1390" y="552"/>
                  </a:lnTo>
                  <a:lnTo>
                    <a:pt x="1398" y="552"/>
                  </a:lnTo>
                  <a:lnTo>
                    <a:pt x="1408" y="552"/>
                  </a:lnTo>
                  <a:lnTo>
                    <a:pt x="1408" y="552"/>
                  </a:lnTo>
                  <a:lnTo>
                    <a:pt x="1410" y="552"/>
                  </a:lnTo>
                  <a:lnTo>
                    <a:pt x="1410" y="554"/>
                  </a:lnTo>
                  <a:lnTo>
                    <a:pt x="1410" y="554"/>
                  </a:lnTo>
                  <a:lnTo>
                    <a:pt x="1412" y="560"/>
                  </a:lnTo>
                  <a:lnTo>
                    <a:pt x="1412" y="566"/>
                  </a:lnTo>
                  <a:lnTo>
                    <a:pt x="1410" y="578"/>
                  </a:lnTo>
                  <a:lnTo>
                    <a:pt x="1410" y="5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T America" panose="00000500000000000000" pitchFamily="2" charset="0"/>
                <a:ea typeface="+mn-ea"/>
                <a:cs typeface="+mn-cs"/>
              </a:endParaRPr>
            </a:p>
          </p:txBody>
        </p:sp>
        <p:sp>
          <p:nvSpPr>
            <p:cNvPr id="140" name="Freihandform 139"/>
            <p:cNvSpPr/>
            <p:nvPr/>
          </p:nvSpPr>
          <p:spPr>
            <a:xfrm flipH="1">
              <a:off x="4478585" y="1478802"/>
              <a:ext cx="969936" cy="334860"/>
            </a:xfrm>
            <a:custGeom>
              <a:avLst/>
              <a:gdLst>
                <a:gd name="connsiteX0" fmla="*/ 480919 w 969936"/>
                <a:gd name="connsiteY0" fmla="*/ 0 h 334860"/>
                <a:gd name="connsiteX1" fmla="*/ 477570 w 969936"/>
                <a:gd name="connsiteY1" fmla="*/ 0 h 334860"/>
                <a:gd name="connsiteX2" fmla="*/ 472547 w 969936"/>
                <a:gd name="connsiteY2" fmla="*/ 1674 h 334860"/>
                <a:gd name="connsiteX3" fmla="*/ 462502 w 969936"/>
                <a:gd name="connsiteY3" fmla="*/ 10046 h 334860"/>
                <a:gd name="connsiteX4" fmla="*/ 454130 w 969936"/>
                <a:gd name="connsiteY4" fmla="*/ 18417 h 334860"/>
                <a:gd name="connsiteX5" fmla="*/ 437387 w 969936"/>
                <a:gd name="connsiteY5" fmla="*/ 36835 h 334860"/>
                <a:gd name="connsiteX6" fmla="*/ 261585 w 969936"/>
                <a:gd name="connsiteY6" fmla="*/ 205939 h 334860"/>
                <a:gd name="connsiteX7" fmla="*/ 179545 w 969936"/>
                <a:gd name="connsiteY7" fmla="*/ 284631 h 334860"/>
                <a:gd name="connsiteX8" fmla="*/ 176196 w 969936"/>
                <a:gd name="connsiteY8" fmla="*/ 286305 h 334860"/>
                <a:gd name="connsiteX9" fmla="*/ 170336 w 969936"/>
                <a:gd name="connsiteY9" fmla="*/ 287980 h 334860"/>
                <a:gd name="connsiteX10" fmla="*/ 0 w 969936"/>
                <a:gd name="connsiteY10" fmla="*/ 287980 h 334860"/>
                <a:gd name="connsiteX11" fmla="*/ 0 w 969936"/>
                <a:gd name="connsiteY11" fmla="*/ 334860 h 334860"/>
                <a:gd name="connsiteX12" fmla="*/ 191265 w 969936"/>
                <a:gd name="connsiteY12" fmla="*/ 334860 h 334860"/>
                <a:gd name="connsiteX13" fmla="*/ 194613 w 969936"/>
                <a:gd name="connsiteY13" fmla="*/ 333186 h 334860"/>
                <a:gd name="connsiteX14" fmla="*/ 197962 w 969936"/>
                <a:gd name="connsiteY14" fmla="*/ 331511 h 334860"/>
                <a:gd name="connsiteX15" fmla="*/ 206334 w 969936"/>
                <a:gd name="connsiteY15" fmla="*/ 323140 h 334860"/>
                <a:gd name="connsiteX16" fmla="*/ 216379 w 969936"/>
                <a:gd name="connsiteY16" fmla="*/ 313094 h 334860"/>
                <a:gd name="connsiteX17" fmla="*/ 288374 w 969936"/>
                <a:gd name="connsiteY17" fmla="*/ 244448 h 334860"/>
                <a:gd name="connsiteX18" fmla="*/ 452456 w 969936"/>
                <a:gd name="connsiteY18" fmla="*/ 85389 h 334860"/>
                <a:gd name="connsiteX19" fmla="*/ 459153 w 969936"/>
                <a:gd name="connsiteY19" fmla="*/ 78692 h 334860"/>
                <a:gd name="connsiteX20" fmla="*/ 467525 w 969936"/>
                <a:gd name="connsiteY20" fmla="*/ 68646 h 334860"/>
                <a:gd name="connsiteX21" fmla="*/ 470873 w 969936"/>
                <a:gd name="connsiteY21" fmla="*/ 65298 h 334860"/>
                <a:gd name="connsiteX22" fmla="*/ 475896 w 969936"/>
                <a:gd name="connsiteY22" fmla="*/ 63623 h 334860"/>
                <a:gd name="connsiteX23" fmla="*/ 480919 w 969936"/>
                <a:gd name="connsiteY23" fmla="*/ 61949 h 334860"/>
                <a:gd name="connsiteX24" fmla="*/ 485942 w 969936"/>
                <a:gd name="connsiteY24" fmla="*/ 63623 h 334860"/>
                <a:gd name="connsiteX25" fmla="*/ 490965 w 969936"/>
                <a:gd name="connsiteY25" fmla="*/ 68646 h 334860"/>
                <a:gd name="connsiteX26" fmla="*/ 495988 w 969936"/>
                <a:gd name="connsiteY26" fmla="*/ 73669 h 334860"/>
                <a:gd name="connsiteX27" fmla="*/ 522777 w 969936"/>
                <a:gd name="connsiteY27" fmla="*/ 100458 h 334860"/>
                <a:gd name="connsiteX28" fmla="*/ 690207 w 969936"/>
                <a:gd name="connsiteY28" fmla="*/ 264539 h 334860"/>
                <a:gd name="connsiteX29" fmla="*/ 752156 w 969936"/>
                <a:gd name="connsiteY29" fmla="*/ 324814 h 334860"/>
                <a:gd name="connsiteX30" fmla="*/ 757179 w 969936"/>
                <a:gd name="connsiteY30" fmla="*/ 329837 h 334860"/>
                <a:gd name="connsiteX31" fmla="*/ 762202 w 969936"/>
                <a:gd name="connsiteY31" fmla="*/ 333186 h 334860"/>
                <a:gd name="connsiteX32" fmla="*/ 762202 w 969936"/>
                <a:gd name="connsiteY32" fmla="*/ 334860 h 334860"/>
                <a:gd name="connsiteX33" fmla="*/ 969936 w 969936"/>
                <a:gd name="connsiteY33" fmla="*/ 334860 h 334860"/>
                <a:gd name="connsiteX34" fmla="*/ 969936 w 969936"/>
                <a:gd name="connsiteY34" fmla="*/ 287980 h 334860"/>
                <a:gd name="connsiteX35" fmla="*/ 788153 w 969936"/>
                <a:gd name="connsiteY35" fmla="*/ 287980 h 334860"/>
                <a:gd name="connsiteX36" fmla="*/ 783130 w 969936"/>
                <a:gd name="connsiteY36" fmla="*/ 286305 h 334860"/>
                <a:gd name="connsiteX37" fmla="*/ 778945 w 969936"/>
                <a:gd name="connsiteY37" fmla="*/ 284631 h 334860"/>
                <a:gd name="connsiteX38" fmla="*/ 673464 w 969936"/>
                <a:gd name="connsiteY38" fmla="*/ 182499 h 334860"/>
                <a:gd name="connsiteX39" fmla="*/ 507708 w 969936"/>
                <a:gd name="connsiteY39" fmla="*/ 21766 h 334860"/>
                <a:gd name="connsiteX40" fmla="*/ 499336 w 969936"/>
                <a:gd name="connsiteY40" fmla="*/ 15069 h 334860"/>
                <a:gd name="connsiteX41" fmla="*/ 490965 w 969936"/>
                <a:gd name="connsiteY41" fmla="*/ 6697 h 334860"/>
                <a:gd name="connsiteX42" fmla="*/ 485942 w 969936"/>
                <a:gd name="connsiteY42" fmla="*/ 3349 h 3348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969936" h="334860">
                  <a:moveTo>
                    <a:pt x="480919" y="0"/>
                  </a:moveTo>
                  <a:lnTo>
                    <a:pt x="477570" y="0"/>
                  </a:lnTo>
                  <a:lnTo>
                    <a:pt x="472547" y="1674"/>
                  </a:lnTo>
                  <a:lnTo>
                    <a:pt x="462502" y="10046"/>
                  </a:lnTo>
                  <a:lnTo>
                    <a:pt x="454130" y="18417"/>
                  </a:lnTo>
                  <a:lnTo>
                    <a:pt x="437387" y="36835"/>
                  </a:lnTo>
                  <a:lnTo>
                    <a:pt x="261585" y="205939"/>
                  </a:lnTo>
                  <a:lnTo>
                    <a:pt x="179545" y="284631"/>
                  </a:lnTo>
                  <a:lnTo>
                    <a:pt x="176196" y="286305"/>
                  </a:lnTo>
                  <a:lnTo>
                    <a:pt x="170336" y="287980"/>
                  </a:lnTo>
                  <a:lnTo>
                    <a:pt x="0" y="287980"/>
                  </a:lnTo>
                  <a:lnTo>
                    <a:pt x="0" y="334860"/>
                  </a:lnTo>
                  <a:lnTo>
                    <a:pt x="191265" y="334860"/>
                  </a:lnTo>
                  <a:lnTo>
                    <a:pt x="194613" y="333186"/>
                  </a:lnTo>
                  <a:lnTo>
                    <a:pt x="197962" y="331511"/>
                  </a:lnTo>
                  <a:lnTo>
                    <a:pt x="206334" y="323140"/>
                  </a:lnTo>
                  <a:lnTo>
                    <a:pt x="216379" y="313094"/>
                  </a:lnTo>
                  <a:lnTo>
                    <a:pt x="288374" y="244448"/>
                  </a:lnTo>
                  <a:lnTo>
                    <a:pt x="452456" y="85389"/>
                  </a:lnTo>
                  <a:lnTo>
                    <a:pt x="459153" y="78692"/>
                  </a:lnTo>
                  <a:lnTo>
                    <a:pt x="467525" y="68646"/>
                  </a:lnTo>
                  <a:lnTo>
                    <a:pt x="470873" y="65298"/>
                  </a:lnTo>
                  <a:lnTo>
                    <a:pt x="475896" y="63623"/>
                  </a:lnTo>
                  <a:lnTo>
                    <a:pt x="480919" y="61949"/>
                  </a:lnTo>
                  <a:lnTo>
                    <a:pt x="485942" y="63623"/>
                  </a:lnTo>
                  <a:lnTo>
                    <a:pt x="490965" y="68646"/>
                  </a:lnTo>
                  <a:lnTo>
                    <a:pt x="495988" y="73669"/>
                  </a:lnTo>
                  <a:lnTo>
                    <a:pt x="522777" y="100458"/>
                  </a:lnTo>
                  <a:lnTo>
                    <a:pt x="690207" y="264539"/>
                  </a:lnTo>
                  <a:lnTo>
                    <a:pt x="752156" y="324814"/>
                  </a:lnTo>
                  <a:lnTo>
                    <a:pt x="757179" y="329837"/>
                  </a:lnTo>
                  <a:lnTo>
                    <a:pt x="762202" y="333186"/>
                  </a:lnTo>
                  <a:lnTo>
                    <a:pt x="762202" y="334860"/>
                  </a:lnTo>
                  <a:lnTo>
                    <a:pt x="969936" y="334860"/>
                  </a:lnTo>
                  <a:lnTo>
                    <a:pt x="969936" y="287980"/>
                  </a:lnTo>
                  <a:lnTo>
                    <a:pt x="788153" y="287980"/>
                  </a:lnTo>
                  <a:lnTo>
                    <a:pt x="783130" y="286305"/>
                  </a:lnTo>
                  <a:lnTo>
                    <a:pt x="778945" y="284631"/>
                  </a:lnTo>
                  <a:lnTo>
                    <a:pt x="673464" y="182499"/>
                  </a:lnTo>
                  <a:lnTo>
                    <a:pt x="507708" y="21766"/>
                  </a:lnTo>
                  <a:lnTo>
                    <a:pt x="499336" y="15069"/>
                  </a:lnTo>
                  <a:lnTo>
                    <a:pt x="490965" y="6697"/>
                  </a:lnTo>
                  <a:lnTo>
                    <a:pt x="485942" y="334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216000" marR="0" lvl="0" indent="-21600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Char char="–"/>
                <a:tabLst/>
                <a:defRPr/>
              </a:pPr>
              <a:endParaRPr kumimoji="0" lang="de-DE" sz="16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T America" panose="00000500000000000000" pitchFamily="2" charset="0"/>
                <a:ea typeface="+mn-ea"/>
                <a:cs typeface="+mn-cs"/>
              </a:endParaRPr>
            </a:p>
          </p:txBody>
        </p:sp>
        <p:sp>
          <p:nvSpPr>
            <p:cNvPr id="142" name="Rechteck 141"/>
            <p:cNvSpPr/>
            <p:nvPr/>
          </p:nvSpPr>
          <p:spPr>
            <a:xfrm>
              <a:off x="5448521" y="1817689"/>
              <a:ext cx="136201" cy="380999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216000" marR="0" lvl="0" indent="-21600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Char char="–"/>
                <a:tabLst/>
                <a:defRPr/>
              </a:pPr>
              <a:endParaRPr kumimoji="0" lang="de-DE" sz="16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T America" panose="00000500000000000000" pitchFamily="2" charset="0"/>
                <a:ea typeface="+mn-ea"/>
                <a:cs typeface="+mn-cs"/>
              </a:endParaRPr>
            </a:p>
          </p:txBody>
        </p:sp>
        <p:sp>
          <p:nvSpPr>
            <p:cNvPr id="148" name="Rechteck 147"/>
            <p:cNvSpPr/>
            <p:nvPr/>
          </p:nvSpPr>
          <p:spPr>
            <a:xfrm>
              <a:off x="4343597" y="1817688"/>
              <a:ext cx="136200" cy="381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216000" marR="0" lvl="0" indent="-21600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Char char="–"/>
                <a:tabLst/>
                <a:defRPr/>
              </a:pPr>
              <a:endParaRPr kumimoji="0" lang="de-DE" sz="16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T America" panose="00000500000000000000" pitchFamily="2" charset="0"/>
                <a:ea typeface="+mn-ea"/>
                <a:cs typeface="+mn-cs"/>
              </a:endParaRPr>
            </a:p>
          </p:txBody>
        </p:sp>
      </p:grpSp>
      <p:grpSp>
        <p:nvGrpSpPr>
          <p:cNvPr id="211" name="Group 154"/>
          <p:cNvGrpSpPr>
            <a:grpSpLocks noChangeAspect="1"/>
          </p:cNvGrpSpPr>
          <p:nvPr/>
        </p:nvGrpSpPr>
        <p:grpSpPr bwMode="auto">
          <a:xfrm>
            <a:off x="5572515" y="1734711"/>
            <a:ext cx="521999" cy="617729"/>
            <a:chOff x="3262" y="1456"/>
            <a:chExt cx="1156" cy="1368"/>
          </a:xfrm>
          <a:solidFill>
            <a:schemeClr val="bg1"/>
          </a:solidFill>
        </p:grpSpPr>
        <p:sp>
          <p:nvSpPr>
            <p:cNvPr id="213" name="Freeform 155"/>
            <p:cNvSpPr>
              <a:spLocks/>
            </p:cNvSpPr>
            <p:nvPr/>
          </p:nvSpPr>
          <p:spPr bwMode="auto">
            <a:xfrm>
              <a:off x="3262" y="1669"/>
              <a:ext cx="1156" cy="1155"/>
            </a:xfrm>
            <a:custGeom>
              <a:avLst/>
              <a:gdLst>
                <a:gd name="T0" fmla="*/ 1156 w 1156"/>
                <a:gd name="T1" fmla="*/ 577 h 1155"/>
                <a:gd name="T2" fmla="*/ 1152 w 1156"/>
                <a:gd name="T3" fmla="*/ 635 h 1155"/>
                <a:gd name="T4" fmla="*/ 1144 w 1156"/>
                <a:gd name="T5" fmla="*/ 694 h 1155"/>
                <a:gd name="T6" fmla="*/ 1130 w 1156"/>
                <a:gd name="T7" fmla="*/ 748 h 1155"/>
                <a:gd name="T8" fmla="*/ 1110 w 1156"/>
                <a:gd name="T9" fmla="*/ 802 h 1155"/>
                <a:gd name="T10" fmla="*/ 1086 w 1156"/>
                <a:gd name="T11" fmla="*/ 852 h 1155"/>
                <a:gd name="T12" fmla="*/ 1056 w 1156"/>
                <a:gd name="T13" fmla="*/ 900 h 1155"/>
                <a:gd name="T14" fmla="*/ 1023 w 1156"/>
                <a:gd name="T15" fmla="*/ 944 h 1155"/>
                <a:gd name="T16" fmla="*/ 985 w 1156"/>
                <a:gd name="T17" fmla="*/ 984 h 1155"/>
                <a:gd name="T18" fmla="*/ 945 w 1156"/>
                <a:gd name="T19" fmla="*/ 1023 h 1155"/>
                <a:gd name="T20" fmla="*/ 899 w 1156"/>
                <a:gd name="T21" fmla="*/ 1057 h 1155"/>
                <a:gd name="T22" fmla="*/ 853 w 1156"/>
                <a:gd name="T23" fmla="*/ 1085 h 1155"/>
                <a:gd name="T24" fmla="*/ 803 w 1156"/>
                <a:gd name="T25" fmla="*/ 1109 h 1155"/>
                <a:gd name="T26" fmla="*/ 749 w 1156"/>
                <a:gd name="T27" fmla="*/ 1129 h 1155"/>
                <a:gd name="T28" fmla="*/ 694 w 1156"/>
                <a:gd name="T29" fmla="*/ 1143 h 1155"/>
                <a:gd name="T30" fmla="*/ 636 w 1156"/>
                <a:gd name="T31" fmla="*/ 1153 h 1155"/>
                <a:gd name="T32" fmla="*/ 578 w 1156"/>
                <a:gd name="T33" fmla="*/ 1155 h 1155"/>
                <a:gd name="T34" fmla="*/ 548 w 1156"/>
                <a:gd name="T35" fmla="*/ 1155 h 1155"/>
                <a:gd name="T36" fmla="*/ 490 w 1156"/>
                <a:gd name="T37" fmla="*/ 1149 h 1155"/>
                <a:gd name="T38" fmla="*/ 434 w 1156"/>
                <a:gd name="T39" fmla="*/ 1137 h 1155"/>
                <a:gd name="T40" fmla="*/ 379 w 1156"/>
                <a:gd name="T41" fmla="*/ 1121 h 1155"/>
                <a:gd name="T42" fmla="*/ 329 w 1156"/>
                <a:gd name="T43" fmla="*/ 1099 h 1155"/>
                <a:gd name="T44" fmla="*/ 279 w 1156"/>
                <a:gd name="T45" fmla="*/ 1071 h 1155"/>
                <a:gd name="T46" fmla="*/ 233 w 1156"/>
                <a:gd name="T47" fmla="*/ 1041 h 1155"/>
                <a:gd name="T48" fmla="*/ 191 w 1156"/>
                <a:gd name="T49" fmla="*/ 1004 h 1155"/>
                <a:gd name="T50" fmla="*/ 151 w 1156"/>
                <a:gd name="T51" fmla="*/ 964 h 1155"/>
                <a:gd name="T52" fmla="*/ 115 w 1156"/>
                <a:gd name="T53" fmla="*/ 922 h 1155"/>
                <a:gd name="T54" fmla="*/ 84 w 1156"/>
                <a:gd name="T55" fmla="*/ 876 h 1155"/>
                <a:gd name="T56" fmla="*/ 58 w 1156"/>
                <a:gd name="T57" fmla="*/ 828 h 1155"/>
                <a:gd name="T58" fmla="*/ 36 w 1156"/>
                <a:gd name="T59" fmla="*/ 776 h 1155"/>
                <a:gd name="T60" fmla="*/ 18 w 1156"/>
                <a:gd name="T61" fmla="*/ 722 h 1155"/>
                <a:gd name="T62" fmla="*/ 6 w 1156"/>
                <a:gd name="T63" fmla="*/ 665 h 1155"/>
                <a:gd name="T64" fmla="*/ 0 w 1156"/>
                <a:gd name="T65" fmla="*/ 607 h 1155"/>
                <a:gd name="T66" fmla="*/ 0 w 1156"/>
                <a:gd name="T67" fmla="*/ 577 h 1155"/>
                <a:gd name="T68" fmla="*/ 2 w 1156"/>
                <a:gd name="T69" fmla="*/ 519 h 1155"/>
                <a:gd name="T70" fmla="*/ 12 w 1156"/>
                <a:gd name="T71" fmla="*/ 461 h 1155"/>
                <a:gd name="T72" fmla="*/ 26 w 1156"/>
                <a:gd name="T73" fmla="*/ 407 h 1155"/>
                <a:gd name="T74" fmla="*/ 46 w 1156"/>
                <a:gd name="T75" fmla="*/ 355 h 1155"/>
                <a:gd name="T76" fmla="*/ 70 w 1156"/>
                <a:gd name="T77" fmla="*/ 302 h 1155"/>
                <a:gd name="T78" fmla="*/ 98 w 1156"/>
                <a:gd name="T79" fmla="*/ 256 h 1155"/>
                <a:gd name="T80" fmla="*/ 133 w 1156"/>
                <a:gd name="T81" fmla="*/ 210 h 1155"/>
                <a:gd name="T82" fmla="*/ 171 w 1156"/>
                <a:gd name="T83" fmla="*/ 170 h 1155"/>
                <a:gd name="T84" fmla="*/ 211 w 1156"/>
                <a:gd name="T85" fmla="*/ 132 h 1155"/>
                <a:gd name="T86" fmla="*/ 255 w 1156"/>
                <a:gd name="T87" fmla="*/ 100 h 1155"/>
                <a:gd name="T88" fmla="*/ 303 w 1156"/>
                <a:gd name="T89" fmla="*/ 70 h 1155"/>
                <a:gd name="T90" fmla="*/ 353 w 1156"/>
                <a:gd name="T91" fmla="*/ 46 h 1155"/>
                <a:gd name="T92" fmla="*/ 407 w 1156"/>
                <a:gd name="T93" fmla="*/ 26 h 1155"/>
                <a:gd name="T94" fmla="*/ 462 w 1156"/>
                <a:gd name="T95" fmla="*/ 12 h 1155"/>
                <a:gd name="T96" fmla="*/ 520 w 1156"/>
                <a:gd name="T97" fmla="*/ 4 h 1155"/>
                <a:gd name="T98" fmla="*/ 578 w 1156"/>
                <a:gd name="T99" fmla="*/ 0 h 1155"/>
                <a:gd name="T100" fmla="*/ 602 w 1156"/>
                <a:gd name="T101" fmla="*/ 2 h 1155"/>
                <a:gd name="T102" fmla="*/ 654 w 1156"/>
                <a:gd name="T103" fmla="*/ 10 h 1155"/>
                <a:gd name="T104" fmla="*/ 712 w 1156"/>
                <a:gd name="T105" fmla="*/ 28 h 1155"/>
                <a:gd name="T106" fmla="*/ 807 w 1156"/>
                <a:gd name="T107" fmla="*/ 66 h 1155"/>
                <a:gd name="T108" fmla="*/ 935 w 1156"/>
                <a:gd name="T109" fmla="*/ 130 h 1155"/>
                <a:gd name="T110" fmla="*/ 1046 w 1156"/>
                <a:gd name="T111" fmla="*/ 200 h 1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56" h="1155">
                  <a:moveTo>
                    <a:pt x="1156" y="577"/>
                  </a:moveTo>
                  <a:lnTo>
                    <a:pt x="1156" y="577"/>
                  </a:lnTo>
                  <a:lnTo>
                    <a:pt x="1156" y="607"/>
                  </a:lnTo>
                  <a:lnTo>
                    <a:pt x="1152" y="635"/>
                  </a:lnTo>
                  <a:lnTo>
                    <a:pt x="1150" y="665"/>
                  </a:lnTo>
                  <a:lnTo>
                    <a:pt x="1144" y="694"/>
                  </a:lnTo>
                  <a:lnTo>
                    <a:pt x="1138" y="722"/>
                  </a:lnTo>
                  <a:lnTo>
                    <a:pt x="1130" y="748"/>
                  </a:lnTo>
                  <a:lnTo>
                    <a:pt x="1120" y="776"/>
                  </a:lnTo>
                  <a:lnTo>
                    <a:pt x="1110" y="802"/>
                  </a:lnTo>
                  <a:lnTo>
                    <a:pt x="1098" y="828"/>
                  </a:lnTo>
                  <a:lnTo>
                    <a:pt x="1086" y="852"/>
                  </a:lnTo>
                  <a:lnTo>
                    <a:pt x="1072" y="876"/>
                  </a:lnTo>
                  <a:lnTo>
                    <a:pt x="1056" y="900"/>
                  </a:lnTo>
                  <a:lnTo>
                    <a:pt x="1039" y="922"/>
                  </a:lnTo>
                  <a:lnTo>
                    <a:pt x="1023" y="944"/>
                  </a:lnTo>
                  <a:lnTo>
                    <a:pt x="1005" y="964"/>
                  </a:lnTo>
                  <a:lnTo>
                    <a:pt x="985" y="984"/>
                  </a:lnTo>
                  <a:lnTo>
                    <a:pt x="965" y="1004"/>
                  </a:lnTo>
                  <a:lnTo>
                    <a:pt x="945" y="1023"/>
                  </a:lnTo>
                  <a:lnTo>
                    <a:pt x="923" y="1041"/>
                  </a:lnTo>
                  <a:lnTo>
                    <a:pt x="899" y="1057"/>
                  </a:lnTo>
                  <a:lnTo>
                    <a:pt x="877" y="1071"/>
                  </a:lnTo>
                  <a:lnTo>
                    <a:pt x="853" y="1085"/>
                  </a:lnTo>
                  <a:lnTo>
                    <a:pt x="827" y="1099"/>
                  </a:lnTo>
                  <a:lnTo>
                    <a:pt x="803" y="1109"/>
                  </a:lnTo>
                  <a:lnTo>
                    <a:pt x="777" y="1121"/>
                  </a:lnTo>
                  <a:lnTo>
                    <a:pt x="749" y="1129"/>
                  </a:lnTo>
                  <a:lnTo>
                    <a:pt x="722" y="1137"/>
                  </a:lnTo>
                  <a:lnTo>
                    <a:pt x="694" y="1143"/>
                  </a:lnTo>
                  <a:lnTo>
                    <a:pt x="666" y="1149"/>
                  </a:lnTo>
                  <a:lnTo>
                    <a:pt x="636" y="1153"/>
                  </a:lnTo>
                  <a:lnTo>
                    <a:pt x="608" y="1155"/>
                  </a:lnTo>
                  <a:lnTo>
                    <a:pt x="578" y="1155"/>
                  </a:lnTo>
                  <a:lnTo>
                    <a:pt x="578" y="1155"/>
                  </a:lnTo>
                  <a:lnTo>
                    <a:pt x="548" y="1155"/>
                  </a:lnTo>
                  <a:lnTo>
                    <a:pt x="520" y="1153"/>
                  </a:lnTo>
                  <a:lnTo>
                    <a:pt x="490" y="1149"/>
                  </a:lnTo>
                  <a:lnTo>
                    <a:pt x="462" y="1143"/>
                  </a:lnTo>
                  <a:lnTo>
                    <a:pt x="434" y="1137"/>
                  </a:lnTo>
                  <a:lnTo>
                    <a:pt x="407" y="1129"/>
                  </a:lnTo>
                  <a:lnTo>
                    <a:pt x="379" y="1121"/>
                  </a:lnTo>
                  <a:lnTo>
                    <a:pt x="353" y="1109"/>
                  </a:lnTo>
                  <a:lnTo>
                    <a:pt x="329" y="1099"/>
                  </a:lnTo>
                  <a:lnTo>
                    <a:pt x="303" y="1085"/>
                  </a:lnTo>
                  <a:lnTo>
                    <a:pt x="279" y="1071"/>
                  </a:lnTo>
                  <a:lnTo>
                    <a:pt x="255" y="1057"/>
                  </a:lnTo>
                  <a:lnTo>
                    <a:pt x="233" y="1041"/>
                  </a:lnTo>
                  <a:lnTo>
                    <a:pt x="211" y="1023"/>
                  </a:lnTo>
                  <a:lnTo>
                    <a:pt x="191" y="1004"/>
                  </a:lnTo>
                  <a:lnTo>
                    <a:pt x="171" y="984"/>
                  </a:lnTo>
                  <a:lnTo>
                    <a:pt x="151" y="964"/>
                  </a:lnTo>
                  <a:lnTo>
                    <a:pt x="133" y="944"/>
                  </a:lnTo>
                  <a:lnTo>
                    <a:pt x="115" y="922"/>
                  </a:lnTo>
                  <a:lnTo>
                    <a:pt x="98" y="900"/>
                  </a:lnTo>
                  <a:lnTo>
                    <a:pt x="84" y="876"/>
                  </a:lnTo>
                  <a:lnTo>
                    <a:pt x="70" y="852"/>
                  </a:lnTo>
                  <a:lnTo>
                    <a:pt x="58" y="828"/>
                  </a:lnTo>
                  <a:lnTo>
                    <a:pt x="46" y="802"/>
                  </a:lnTo>
                  <a:lnTo>
                    <a:pt x="36" y="776"/>
                  </a:lnTo>
                  <a:lnTo>
                    <a:pt x="26" y="748"/>
                  </a:lnTo>
                  <a:lnTo>
                    <a:pt x="18" y="722"/>
                  </a:lnTo>
                  <a:lnTo>
                    <a:pt x="12" y="694"/>
                  </a:lnTo>
                  <a:lnTo>
                    <a:pt x="6" y="665"/>
                  </a:lnTo>
                  <a:lnTo>
                    <a:pt x="2" y="635"/>
                  </a:lnTo>
                  <a:lnTo>
                    <a:pt x="0" y="607"/>
                  </a:lnTo>
                  <a:lnTo>
                    <a:pt x="0" y="577"/>
                  </a:lnTo>
                  <a:lnTo>
                    <a:pt x="0" y="577"/>
                  </a:lnTo>
                  <a:lnTo>
                    <a:pt x="0" y="547"/>
                  </a:lnTo>
                  <a:lnTo>
                    <a:pt x="2" y="519"/>
                  </a:lnTo>
                  <a:lnTo>
                    <a:pt x="6" y="491"/>
                  </a:lnTo>
                  <a:lnTo>
                    <a:pt x="12" y="461"/>
                  </a:lnTo>
                  <a:lnTo>
                    <a:pt x="18" y="435"/>
                  </a:lnTo>
                  <a:lnTo>
                    <a:pt x="26" y="407"/>
                  </a:lnTo>
                  <a:lnTo>
                    <a:pt x="36" y="381"/>
                  </a:lnTo>
                  <a:lnTo>
                    <a:pt x="46" y="355"/>
                  </a:lnTo>
                  <a:lnTo>
                    <a:pt x="58" y="329"/>
                  </a:lnTo>
                  <a:lnTo>
                    <a:pt x="70" y="302"/>
                  </a:lnTo>
                  <a:lnTo>
                    <a:pt x="84" y="278"/>
                  </a:lnTo>
                  <a:lnTo>
                    <a:pt x="98" y="256"/>
                  </a:lnTo>
                  <a:lnTo>
                    <a:pt x="115" y="232"/>
                  </a:lnTo>
                  <a:lnTo>
                    <a:pt x="133" y="210"/>
                  </a:lnTo>
                  <a:lnTo>
                    <a:pt x="151" y="190"/>
                  </a:lnTo>
                  <a:lnTo>
                    <a:pt x="171" y="170"/>
                  </a:lnTo>
                  <a:lnTo>
                    <a:pt x="191" y="150"/>
                  </a:lnTo>
                  <a:lnTo>
                    <a:pt x="211" y="132"/>
                  </a:lnTo>
                  <a:lnTo>
                    <a:pt x="233" y="116"/>
                  </a:lnTo>
                  <a:lnTo>
                    <a:pt x="255" y="100"/>
                  </a:lnTo>
                  <a:lnTo>
                    <a:pt x="279" y="84"/>
                  </a:lnTo>
                  <a:lnTo>
                    <a:pt x="303" y="70"/>
                  </a:lnTo>
                  <a:lnTo>
                    <a:pt x="329" y="58"/>
                  </a:lnTo>
                  <a:lnTo>
                    <a:pt x="353" y="46"/>
                  </a:lnTo>
                  <a:lnTo>
                    <a:pt x="379" y="36"/>
                  </a:lnTo>
                  <a:lnTo>
                    <a:pt x="407" y="26"/>
                  </a:lnTo>
                  <a:lnTo>
                    <a:pt x="434" y="18"/>
                  </a:lnTo>
                  <a:lnTo>
                    <a:pt x="462" y="12"/>
                  </a:lnTo>
                  <a:lnTo>
                    <a:pt x="490" y="8"/>
                  </a:lnTo>
                  <a:lnTo>
                    <a:pt x="520" y="4"/>
                  </a:lnTo>
                  <a:lnTo>
                    <a:pt x="548" y="2"/>
                  </a:lnTo>
                  <a:lnTo>
                    <a:pt x="578" y="0"/>
                  </a:lnTo>
                  <a:lnTo>
                    <a:pt x="578" y="0"/>
                  </a:lnTo>
                  <a:lnTo>
                    <a:pt x="602" y="2"/>
                  </a:lnTo>
                  <a:lnTo>
                    <a:pt x="626" y="6"/>
                  </a:lnTo>
                  <a:lnTo>
                    <a:pt x="654" y="10"/>
                  </a:lnTo>
                  <a:lnTo>
                    <a:pt x="682" y="18"/>
                  </a:lnTo>
                  <a:lnTo>
                    <a:pt x="712" y="28"/>
                  </a:lnTo>
                  <a:lnTo>
                    <a:pt x="743" y="40"/>
                  </a:lnTo>
                  <a:lnTo>
                    <a:pt x="807" y="66"/>
                  </a:lnTo>
                  <a:lnTo>
                    <a:pt x="871" y="96"/>
                  </a:lnTo>
                  <a:lnTo>
                    <a:pt x="935" y="130"/>
                  </a:lnTo>
                  <a:lnTo>
                    <a:pt x="993" y="164"/>
                  </a:lnTo>
                  <a:lnTo>
                    <a:pt x="1046" y="200"/>
                  </a:lnTo>
                </a:path>
              </a:pathLst>
            </a:custGeom>
            <a:noFill/>
            <a:ln w="349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T America" panose="00000500000000000000" pitchFamily="2" charset="0"/>
                <a:ea typeface="+mn-ea"/>
                <a:cs typeface="+mn-cs"/>
              </a:endParaRPr>
            </a:p>
          </p:txBody>
        </p:sp>
        <p:sp>
          <p:nvSpPr>
            <p:cNvPr id="214" name="Freeform 156"/>
            <p:cNvSpPr>
              <a:spLocks/>
            </p:cNvSpPr>
            <p:nvPr/>
          </p:nvSpPr>
          <p:spPr bwMode="auto">
            <a:xfrm>
              <a:off x="3888" y="1456"/>
              <a:ext cx="490" cy="552"/>
            </a:xfrm>
            <a:custGeom>
              <a:avLst/>
              <a:gdLst>
                <a:gd name="T0" fmla="*/ 14 w 490"/>
                <a:gd name="T1" fmla="*/ 552 h 552"/>
                <a:gd name="T2" fmla="*/ 0 w 490"/>
                <a:gd name="T3" fmla="*/ 473 h 552"/>
                <a:gd name="T4" fmla="*/ 389 w 490"/>
                <a:gd name="T5" fmla="*/ 403 h 552"/>
                <a:gd name="T6" fmla="*/ 291 w 490"/>
                <a:gd name="T7" fmla="*/ 20 h 552"/>
                <a:gd name="T8" fmla="*/ 369 w 490"/>
                <a:gd name="T9" fmla="*/ 0 h 552"/>
                <a:gd name="T10" fmla="*/ 490 w 490"/>
                <a:gd name="T11" fmla="*/ 465 h 552"/>
                <a:gd name="T12" fmla="*/ 14 w 490"/>
                <a:gd name="T13" fmla="*/ 552 h 5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90" h="552">
                  <a:moveTo>
                    <a:pt x="14" y="552"/>
                  </a:moveTo>
                  <a:lnTo>
                    <a:pt x="0" y="473"/>
                  </a:lnTo>
                  <a:lnTo>
                    <a:pt x="389" y="403"/>
                  </a:lnTo>
                  <a:lnTo>
                    <a:pt x="291" y="20"/>
                  </a:lnTo>
                  <a:lnTo>
                    <a:pt x="369" y="0"/>
                  </a:lnTo>
                  <a:lnTo>
                    <a:pt x="490" y="465"/>
                  </a:lnTo>
                  <a:lnTo>
                    <a:pt x="14" y="5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T America" panose="00000500000000000000" pitchFamily="2" charset="0"/>
                <a:ea typeface="+mn-ea"/>
                <a:cs typeface="+mn-cs"/>
              </a:endParaRPr>
            </a:p>
          </p:txBody>
        </p:sp>
      </p:grpSp>
      <p:sp>
        <p:nvSpPr>
          <p:cNvPr id="150" name="Rechteck 149"/>
          <p:cNvSpPr/>
          <p:nvPr/>
        </p:nvSpPr>
        <p:spPr>
          <a:xfrm>
            <a:off x="9669822" y="4803687"/>
            <a:ext cx="2042753" cy="1620001"/>
          </a:xfrm>
          <a:prstGeom prst="rect">
            <a:avLst/>
          </a:prstGeom>
          <a:solidFill>
            <a:schemeClr val="accent3"/>
          </a:solidFill>
        </p:spPr>
        <p:txBody>
          <a:bodyPr wrap="square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T America" panose="00000500000000000000" pitchFamily="2" charset="0"/>
                <a:ea typeface="+mn-ea"/>
                <a:cs typeface="+mn-cs"/>
              </a:rPr>
              <a:t>Infrastruktur</a:t>
            </a:r>
          </a:p>
        </p:txBody>
      </p:sp>
      <p:grpSp>
        <p:nvGrpSpPr>
          <p:cNvPr id="154" name="Gruppieren 153"/>
          <p:cNvGrpSpPr/>
          <p:nvPr/>
        </p:nvGrpSpPr>
        <p:grpSpPr>
          <a:xfrm>
            <a:off x="3732264" y="1822176"/>
            <a:ext cx="147601" cy="579861"/>
            <a:chOff x="3732264" y="1822176"/>
            <a:chExt cx="147601" cy="579861"/>
          </a:xfrm>
        </p:grpSpPr>
        <p:sp>
          <p:nvSpPr>
            <p:cNvPr id="155" name="Freeform 160"/>
            <p:cNvSpPr>
              <a:spLocks/>
            </p:cNvSpPr>
            <p:nvPr/>
          </p:nvSpPr>
          <p:spPr bwMode="auto">
            <a:xfrm>
              <a:off x="3732264" y="1822176"/>
              <a:ext cx="147601" cy="401110"/>
            </a:xfrm>
            <a:custGeom>
              <a:avLst/>
              <a:gdLst>
                <a:gd name="T0" fmla="*/ 262 w 308"/>
                <a:gd name="T1" fmla="*/ 837 h 837"/>
                <a:gd name="T2" fmla="*/ 308 w 308"/>
                <a:gd name="T3" fmla="*/ 0 h 837"/>
                <a:gd name="T4" fmla="*/ 0 w 308"/>
                <a:gd name="T5" fmla="*/ 0 h 837"/>
                <a:gd name="T6" fmla="*/ 46 w 308"/>
                <a:gd name="T7" fmla="*/ 837 h 837"/>
                <a:gd name="T8" fmla="*/ 262 w 308"/>
                <a:gd name="T9" fmla="*/ 837 h 837"/>
                <a:gd name="T10" fmla="*/ 262 w 308"/>
                <a:gd name="T11" fmla="*/ 837 h 8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08" h="837">
                  <a:moveTo>
                    <a:pt x="262" y="837"/>
                  </a:moveTo>
                  <a:lnTo>
                    <a:pt x="308" y="0"/>
                  </a:lnTo>
                  <a:lnTo>
                    <a:pt x="0" y="0"/>
                  </a:lnTo>
                  <a:lnTo>
                    <a:pt x="46" y="837"/>
                  </a:lnTo>
                  <a:lnTo>
                    <a:pt x="262" y="837"/>
                  </a:lnTo>
                  <a:lnTo>
                    <a:pt x="262" y="837"/>
                  </a:lnTo>
                  <a:close/>
                </a:path>
              </a:pathLst>
            </a:custGeom>
            <a:solidFill>
              <a:schemeClr val="bg1"/>
            </a:solidFill>
            <a:ln w="222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T America" panose="00000500000000000000" pitchFamily="2" charset="0"/>
                <a:ea typeface="+mn-ea"/>
                <a:cs typeface="+mn-cs"/>
              </a:endParaRPr>
            </a:p>
          </p:txBody>
        </p:sp>
        <p:sp>
          <p:nvSpPr>
            <p:cNvPr id="156" name="Freeform 161"/>
            <p:cNvSpPr>
              <a:spLocks noEditPoints="1"/>
            </p:cNvSpPr>
            <p:nvPr/>
          </p:nvSpPr>
          <p:spPr bwMode="auto">
            <a:xfrm>
              <a:off x="3735139" y="2278397"/>
              <a:ext cx="140892" cy="123640"/>
            </a:xfrm>
            <a:custGeom>
              <a:avLst/>
              <a:gdLst>
                <a:gd name="T0" fmla="*/ 0 w 294"/>
                <a:gd name="T1" fmla="*/ 258 h 258"/>
                <a:gd name="T2" fmla="*/ 294 w 294"/>
                <a:gd name="T3" fmla="*/ 258 h 258"/>
                <a:gd name="T4" fmla="*/ 294 w 294"/>
                <a:gd name="T5" fmla="*/ 0 h 258"/>
                <a:gd name="T6" fmla="*/ 0 w 294"/>
                <a:gd name="T7" fmla="*/ 0 h 258"/>
                <a:gd name="T8" fmla="*/ 0 w 294"/>
                <a:gd name="T9" fmla="*/ 258 h 258"/>
                <a:gd name="T10" fmla="*/ 0 w 294"/>
                <a:gd name="T11" fmla="*/ 258 h 258"/>
                <a:gd name="T12" fmla="*/ 232 w 294"/>
                <a:gd name="T13" fmla="*/ 44 h 258"/>
                <a:gd name="T14" fmla="*/ 232 w 294"/>
                <a:gd name="T15" fmla="*/ 44 h 258"/>
                <a:gd name="T16" fmla="*/ 238 w 294"/>
                <a:gd name="T17" fmla="*/ 40 h 258"/>
                <a:gd name="T18" fmla="*/ 240 w 294"/>
                <a:gd name="T19" fmla="*/ 38 h 258"/>
                <a:gd name="T20" fmla="*/ 242 w 294"/>
                <a:gd name="T21" fmla="*/ 34 h 258"/>
                <a:gd name="T22" fmla="*/ 242 w 294"/>
                <a:gd name="T23" fmla="*/ 34 h 258"/>
                <a:gd name="T24" fmla="*/ 248 w 294"/>
                <a:gd name="T25" fmla="*/ 38 h 258"/>
                <a:gd name="T26" fmla="*/ 252 w 294"/>
                <a:gd name="T27" fmla="*/ 40 h 258"/>
                <a:gd name="T28" fmla="*/ 254 w 294"/>
                <a:gd name="T29" fmla="*/ 44 h 258"/>
                <a:gd name="T30" fmla="*/ 254 w 294"/>
                <a:gd name="T31" fmla="*/ 222 h 258"/>
                <a:gd name="T32" fmla="*/ 254 w 294"/>
                <a:gd name="T33" fmla="*/ 222 h 258"/>
                <a:gd name="T34" fmla="*/ 252 w 294"/>
                <a:gd name="T35" fmla="*/ 226 h 258"/>
                <a:gd name="T36" fmla="*/ 248 w 294"/>
                <a:gd name="T37" fmla="*/ 230 h 258"/>
                <a:gd name="T38" fmla="*/ 242 w 294"/>
                <a:gd name="T39" fmla="*/ 230 h 258"/>
                <a:gd name="T40" fmla="*/ 242 w 294"/>
                <a:gd name="T41" fmla="*/ 230 h 258"/>
                <a:gd name="T42" fmla="*/ 240 w 294"/>
                <a:gd name="T43" fmla="*/ 230 h 258"/>
                <a:gd name="T44" fmla="*/ 238 w 294"/>
                <a:gd name="T45" fmla="*/ 226 h 258"/>
                <a:gd name="T46" fmla="*/ 232 w 294"/>
                <a:gd name="T47" fmla="*/ 222 h 258"/>
                <a:gd name="T48" fmla="*/ 232 w 294"/>
                <a:gd name="T49" fmla="*/ 44 h 258"/>
                <a:gd name="T50" fmla="*/ 232 w 294"/>
                <a:gd name="T51" fmla="*/ 44 h 2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94" h="258">
                  <a:moveTo>
                    <a:pt x="0" y="258"/>
                  </a:moveTo>
                  <a:lnTo>
                    <a:pt x="294" y="258"/>
                  </a:lnTo>
                  <a:lnTo>
                    <a:pt x="294" y="0"/>
                  </a:lnTo>
                  <a:lnTo>
                    <a:pt x="0" y="0"/>
                  </a:lnTo>
                  <a:lnTo>
                    <a:pt x="0" y="258"/>
                  </a:lnTo>
                  <a:lnTo>
                    <a:pt x="0" y="258"/>
                  </a:lnTo>
                  <a:close/>
                  <a:moveTo>
                    <a:pt x="232" y="44"/>
                  </a:moveTo>
                  <a:lnTo>
                    <a:pt x="232" y="44"/>
                  </a:lnTo>
                  <a:lnTo>
                    <a:pt x="238" y="40"/>
                  </a:lnTo>
                  <a:lnTo>
                    <a:pt x="240" y="38"/>
                  </a:lnTo>
                  <a:lnTo>
                    <a:pt x="242" y="34"/>
                  </a:lnTo>
                  <a:lnTo>
                    <a:pt x="242" y="34"/>
                  </a:lnTo>
                  <a:lnTo>
                    <a:pt x="248" y="38"/>
                  </a:lnTo>
                  <a:lnTo>
                    <a:pt x="252" y="40"/>
                  </a:lnTo>
                  <a:lnTo>
                    <a:pt x="254" y="44"/>
                  </a:lnTo>
                  <a:lnTo>
                    <a:pt x="254" y="222"/>
                  </a:lnTo>
                  <a:lnTo>
                    <a:pt x="254" y="222"/>
                  </a:lnTo>
                  <a:lnTo>
                    <a:pt x="252" y="226"/>
                  </a:lnTo>
                  <a:lnTo>
                    <a:pt x="248" y="230"/>
                  </a:lnTo>
                  <a:lnTo>
                    <a:pt x="242" y="230"/>
                  </a:lnTo>
                  <a:lnTo>
                    <a:pt x="242" y="230"/>
                  </a:lnTo>
                  <a:lnTo>
                    <a:pt x="240" y="230"/>
                  </a:lnTo>
                  <a:lnTo>
                    <a:pt x="238" y="226"/>
                  </a:lnTo>
                  <a:lnTo>
                    <a:pt x="232" y="222"/>
                  </a:lnTo>
                  <a:lnTo>
                    <a:pt x="232" y="44"/>
                  </a:lnTo>
                  <a:lnTo>
                    <a:pt x="232" y="44"/>
                  </a:lnTo>
                  <a:close/>
                </a:path>
              </a:pathLst>
            </a:custGeom>
            <a:solidFill>
              <a:schemeClr val="bg1"/>
            </a:solidFill>
            <a:ln w="222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T America" panose="00000500000000000000" pitchFamily="2" charset="0"/>
                <a:ea typeface="+mn-ea"/>
                <a:cs typeface="+mn-cs"/>
              </a:endParaRPr>
            </a:p>
          </p:txBody>
        </p:sp>
      </p:grpSp>
      <p:grpSp>
        <p:nvGrpSpPr>
          <p:cNvPr id="227" name="Group 4"/>
          <p:cNvGrpSpPr>
            <a:grpSpLocks noChangeAspect="1"/>
          </p:cNvGrpSpPr>
          <p:nvPr/>
        </p:nvGrpSpPr>
        <p:grpSpPr bwMode="auto">
          <a:xfrm>
            <a:off x="10220126" y="1734711"/>
            <a:ext cx="869335" cy="795989"/>
            <a:chOff x="3117" y="1498"/>
            <a:chExt cx="1446" cy="1324"/>
          </a:xfrm>
          <a:solidFill>
            <a:schemeClr val="bg1"/>
          </a:solidFill>
        </p:grpSpPr>
        <p:sp>
          <p:nvSpPr>
            <p:cNvPr id="232" name="Freeform 5"/>
            <p:cNvSpPr>
              <a:spLocks/>
            </p:cNvSpPr>
            <p:nvPr/>
          </p:nvSpPr>
          <p:spPr bwMode="auto">
            <a:xfrm>
              <a:off x="3117" y="1774"/>
              <a:ext cx="774" cy="760"/>
            </a:xfrm>
            <a:custGeom>
              <a:avLst/>
              <a:gdLst>
                <a:gd name="T0" fmla="*/ 234 w 774"/>
                <a:gd name="T1" fmla="*/ 711 h 760"/>
                <a:gd name="T2" fmla="*/ 178 w 774"/>
                <a:gd name="T3" fmla="*/ 701 h 760"/>
                <a:gd name="T4" fmla="*/ 130 w 774"/>
                <a:gd name="T5" fmla="*/ 679 h 760"/>
                <a:gd name="T6" fmla="*/ 90 w 774"/>
                <a:gd name="T7" fmla="*/ 643 h 760"/>
                <a:gd name="T8" fmla="*/ 64 w 774"/>
                <a:gd name="T9" fmla="*/ 597 h 760"/>
                <a:gd name="T10" fmla="*/ 50 w 774"/>
                <a:gd name="T11" fmla="*/ 545 h 760"/>
                <a:gd name="T12" fmla="*/ 50 w 774"/>
                <a:gd name="T13" fmla="*/ 509 h 760"/>
                <a:gd name="T14" fmla="*/ 60 w 774"/>
                <a:gd name="T15" fmla="*/ 463 h 760"/>
                <a:gd name="T16" fmla="*/ 80 w 774"/>
                <a:gd name="T17" fmla="*/ 421 h 760"/>
                <a:gd name="T18" fmla="*/ 112 w 774"/>
                <a:gd name="T19" fmla="*/ 387 h 760"/>
                <a:gd name="T20" fmla="*/ 150 w 774"/>
                <a:gd name="T21" fmla="*/ 361 h 760"/>
                <a:gd name="T22" fmla="*/ 196 w 774"/>
                <a:gd name="T23" fmla="*/ 345 h 760"/>
                <a:gd name="T24" fmla="*/ 208 w 774"/>
                <a:gd name="T25" fmla="*/ 339 h 760"/>
                <a:gd name="T26" fmla="*/ 214 w 774"/>
                <a:gd name="T27" fmla="*/ 325 h 760"/>
                <a:gd name="T28" fmla="*/ 240 w 774"/>
                <a:gd name="T29" fmla="*/ 243 h 760"/>
                <a:gd name="T30" fmla="*/ 286 w 774"/>
                <a:gd name="T31" fmla="*/ 173 h 760"/>
                <a:gd name="T32" fmla="*/ 348 w 774"/>
                <a:gd name="T33" fmla="*/ 117 h 760"/>
                <a:gd name="T34" fmla="*/ 422 w 774"/>
                <a:gd name="T35" fmla="*/ 77 h 760"/>
                <a:gd name="T36" fmla="*/ 506 w 774"/>
                <a:gd name="T37" fmla="*/ 59 h 760"/>
                <a:gd name="T38" fmla="*/ 574 w 774"/>
                <a:gd name="T39" fmla="*/ 59 h 760"/>
                <a:gd name="T40" fmla="*/ 682 w 774"/>
                <a:gd name="T41" fmla="*/ 93 h 760"/>
                <a:gd name="T42" fmla="*/ 696 w 774"/>
                <a:gd name="T43" fmla="*/ 95 h 760"/>
                <a:gd name="T44" fmla="*/ 710 w 774"/>
                <a:gd name="T45" fmla="*/ 89 h 760"/>
                <a:gd name="T46" fmla="*/ 756 w 774"/>
                <a:gd name="T47" fmla="*/ 59 h 760"/>
                <a:gd name="T48" fmla="*/ 774 w 774"/>
                <a:gd name="T49" fmla="*/ 0 h 760"/>
                <a:gd name="T50" fmla="*/ 710 w 774"/>
                <a:gd name="T51" fmla="*/ 28 h 760"/>
                <a:gd name="T52" fmla="*/ 652 w 774"/>
                <a:gd name="T53" fmla="*/ 28 h 760"/>
                <a:gd name="T54" fmla="*/ 534 w 774"/>
                <a:gd name="T55" fmla="*/ 8 h 760"/>
                <a:gd name="T56" fmla="*/ 470 w 774"/>
                <a:gd name="T57" fmla="*/ 14 h 760"/>
                <a:gd name="T58" fmla="*/ 380 w 774"/>
                <a:gd name="T59" fmla="*/ 42 h 760"/>
                <a:gd name="T60" fmla="*/ 300 w 774"/>
                <a:gd name="T61" fmla="*/ 91 h 760"/>
                <a:gd name="T62" fmla="*/ 236 w 774"/>
                <a:gd name="T63" fmla="*/ 159 h 760"/>
                <a:gd name="T64" fmla="*/ 190 w 774"/>
                <a:gd name="T65" fmla="*/ 241 h 760"/>
                <a:gd name="T66" fmla="*/ 170 w 774"/>
                <a:gd name="T67" fmla="*/ 301 h 760"/>
                <a:gd name="T68" fmla="*/ 118 w 774"/>
                <a:gd name="T69" fmla="*/ 323 h 760"/>
                <a:gd name="T70" fmla="*/ 72 w 774"/>
                <a:gd name="T71" fmla="*/ 357 h 760"/>
                <a:gd name="T72" fmla="*/ 38 w 774"/>
                <a:gd name="T73" fmla="*/ 401 h 760"/>
                <a:gd name="T74" fmla="*/ 14 w 774"/>
                <a:gd name="T75" fmla="*/ 451 h 760"/>
                <a:gd name="T76" fmla="*/ 2 w 774"/>
                <a:gd name="T77" fmla="*/ 507 h 760"/>
                <a:gd name="T78" fmla="*/ 2 w 774"/>
                <a:gd name="T79" fmla="*/ 549 h 760"/>
                <a:gd name="T80" fmla="*/ 18 w 774"/>
                <a:gd name="T81" fmla="*/ 617 h 760"/>
                <a:gd name="T82" fmla="*/ 54 w 774"/>
                <a:gd name="T83" fmla="*/ 673 h 760"/>
                <a:gd name="T84" fmla="*/ 104 w 774"/>
                <a:gd name="T85" fmla="*/ 720 h 760"/>
                <a:gd name="T86" fmla="*/ 164 w 774"/>
                <a:gd name="T87" fmla="*/ 748 h 760"/>
                <a:gd name="T88" fmla="*/ 234 w 774"/>
                <a:gd name="T89" fmla="*/ 76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774" h="760">
                  <a:moveTo>
                    <a:pt x="774" y="711"/>
                  </a:moveTo>
                  <a:lnTo>
                    <a:pt x="234" y="711"/>
                  </a:lnTo>
                  <a:lnTo>
                    <a:pt x="234" y="711"/>
                  </a:lnTo>
                  <a:lnTo>
                    <a:pt x="214" y="709"/>
                  </a:lnTo>
                  <a:lnTo>
                    <a:pt x="196" y="707"/>
                  </a:lnTo>
                  <a:lnTo>
                    <a:pt x="178" y="701"/>
                  </a:lnTo>
                  <a:lnTo>
                    <a:pt x="162" y="695"/>
                  </a:lnTo>
                  <a:lnTo>
                    <a:pt x="146" y="687"/>
                  </a:lnTo>
                  <a:lnTo>
                    <a:pt x="130" y="679"/>
                  </a:lnTo>
                  <a:lnTo>
                    <a:pt x="116" y="667"/>
                  </a:lnTo>
                  <a:lnTo>
                    <a:pt x="102" y="657"/>
                  </a:lnTo>
                  <a:lnTo>
                    <a:pt x="90" y="643"/>
                  </a:lnTo>
                  <a:lnTo>
                    <a:pt x="80" y="629"/>
                  </a:lnTo>
                  <a:lnTo>
                    <a:pt x="72" y="613"/>
                  </a:lnTo>
                  <a:lnTo>
                    <a:pt x="64" y="597"/>
                  </a:lnTo>
                  <a:lnTo>
                    <a:pt x="58" y="581"/>
                  </a:lnTo>
                  <a:lnTo>
                    <a:pt x="52" y="563"/>
                  </a:lnTo>
                  <a:lnTo>
                    <a:pt x="50" y="545"/>
                  </a:lnTo>
                  <a:lnTo>
                    <a:pt x="48" y="525"/>
                  </a:lnTo>
                  <a:lnTo>
                    <a:pt x="48" y="525"/>
                  </a:lnTo>
                  <a:lnTo>
                    <a:pt x="50" y="509"/>
                  </a:lnTo>
                  <a:lnTo>
                    <a:pt x="52" y="493"/>
                  </a:lnTo>
                  <a:lnTo>
                    <a:pt x="54" y="479"/>
                  </a:lnTo>
                  <a:lnTo>
                    <a:pt x="60" y="463"/>
                  </a:lnTo>
                  <a:lnTo>
                    <a:pt x="66" y="449"/>
                  </a:lnTo>
                  <a:lnTo>
                    <a:pt x="72" y="435"/>
                  </a:lnTo>
                  <a:lnTo>
                    <a:pt x="80" y="421"/>
                  </a:lnTo>
                  <a:lnTo>
                    <a:pt x="90" y="409"/>
                  </a:lnTo>
                  <a:lnTo>
                    <a:pt x="100" y="397"/>
                  </a:lnTo>
                  <a:lnTo>
                    <a:pt x="112" y="387"/>
                  </a:lnTo>
                  <a:lnTo>
                    <a:pt x="124" y="377"/>
                  </a:lnTo>
                  <a:lnTo>
                    <a:pt x="136" y="369"/>
                  </a:lnTo>
                  <a:lnTo>
                    <a:pt x="150" y="361"/>
                  </a:lnTo>
                  <a:lnTo>
                    <a:pt x="164" y="355"/>
                  </a:lnTo>
                  <a:lnTo>
                    <a:pt x="180" y="349"/>
                  </a:lnTo>
                  <a:lnTo>
                    <a:pt x="196" y="345"/>
                  </a:lnTo>
                  <a:lnTo>
                    <a:pt x="196" y="345"/>
                  </a:lnTo>
                  <a:lnTo>
                    <a:pt x="202" y="343"/>
                  </a:lnTo>
                  <a:lnTo>
                    <a:pt x="208" y="339"/>
                  </a:lnTo>
                  <a:lnTo>
                    <a:pt x="212" y="333"/>
                  </a:lnTo>
                  <a:lnTo>
                    <a:pt x="214" y="325"/>
                  </a:lnTo>
                  <a:lnTo>
                    <a:pt x="214" y="325"/>
                  </a:lnTo>
                  <a:lnTo>
                    <a:pt x="220" y="297"/>
                  </a:lnTo>
                  <a:lnTo>
                    <a:pt x="230" y="269"/>
                  </a:lnTo>
                  <a:lnTo>
                    <a:pt x="240" y="243"/>
                  </a:lnTo>
                  <a:lnTo>
                    <a:pt x="254" y="219"/>
                  </a:lnTo>
                  <a:lnTo>
                    <a:pt x="268" y="195"/>
                  </a:lnTo>
                  <a:lnTo>
                    <a:pt x="286" y="173"/>
                  </a:lnTo>
                  <a:lnTo>
                    <a:pt x="306" y="153"/>
                  </a:lnTo>
                  <a:lnTo>
                    <a:pt x="326" y="133"/>
                  </a:lnTo>
                  <a:lnTo>
                    <a:pt x="348" y="117"/>
                  </a:lnTo>
                  <a:lnTo>
                    <a:pt x="372" y="101"/>
                  </a:lnTo>
                  <a:lnTo>
                    <a:pt x="396" y="89"/>
                  </a:lnTo>
                  <a:lnTo>
                    <a:pt x="422" y="77"/>
                  </a:lnTo>
                  <a:lnTo>
                    <a:pt x="450" y="69"/>
                  </a:lnTo>
                  <a:lnTo>
                    <a:pt x="476" y="63"/>
                  </a:lnTo>
                  <a:lnTo>
                    <a:pt x="506" y="59"/>
                  </a:lnTo>
                  <a:lnTo>
                    <a:pt x="534" y="57"/>
                  </a:lnTo>
                  <a:lnTo>
                    <a:pt x="534" y="57"/>
                  </a:lnTo>
                  <a:lnTo>
                    <a:pt x="574" y="59"/>
                  </a:lnTo>
                  <a:lnTo>
                    <a:pt x="610" y="67"/>
                  </a:lnTo>
                  <a:lnTo>
                    <a:pt x="648" y="77"/>
                  </a:lnTo>
                  <a:lnTo>
                    <a:pt x="682" y="93"/>
                  </a:lnTo>
                  <a:lnTo>
                    <a:pt x="682" y="93"/>
                  </a:lnTo>
                  <a:lnTo>
                    <a:pt x="690" y="95"/>
                  </a:lnTo>
                  <a:lnTo>
                    <a:pt x="696" y="95"/>
                  </a:lnTo>
                  <a:lnTo>
                    <a:pt x="704" y="93"/>
                  </a:lnTo>
                  <a:lnTo>
                    <a:pt x="710" y="89"/>
                  </a:lnTo>
                  <a:lnTo>
                    <a:pt x="710" y="89"/>
                  </a:lnTo>
                  <a:lnTo>
                    <a:pt x="724" y="77"/>
                  </a:lnTo>
                  <a:lnTo>
                    <a:pt x="740" y="67"/>
                  </a:lnTo>
                  <a:lnTo>
                    <a:pt x="756" y="59"/>
                  </a:lnTo>
                  <a:lnTo>
                    <a:pt x="774" y="50"/>
                  </a:lnTo>
                  <a:lnTo>
                    <a:pt x="774" y="0"/>
                  </a:lnTo>
                  <a:lnTo>
                    <a:pt x="774" y="0"/>
                  </a:lnTo>
                  <a:lnTo>
                    <a:pt x="752" y="8"/>
                  </a:lnTo>
                  <a:lnTo>
                    <a:pt x="730" y="16"/>
                  </a:lnTo>
                  <a:lnTo>
                    <a:pt x="710" y="28"/>
                  </a:lnTo>
                  <a:lnTo>
                    <a:pt x="690" y="42"/>
                  </a:lnTo>
                  <a:lnTo>
                    <a:pt x="690" y="42"/>
                  </a:lnTo>
                  <a:lnTo>
                    <a:pt x="652" y="28"/>
                  </a:lnTo>
                  <a:lnTo>
                    <a:pt x="614" y="16"/>
                  </a:lnTo>
                  <a:lnTo>
                    <a:pt x="576" y="10"/>
                  </a:lnTo>
                  <a:lnTo>
                    <a:pt x="534" y="8"/>
                  </a:lnTo>
                  <a:lnTo>
                    <a:pt x="534" y="8"/>
                  </a:lnTo>
                  <a:lnTo>
                    <a:pt x="502" y="10"/>
                  </a:lnTo>
                  <a:lnTo>
                    <a:pt x="470" y="14"/>
                  </a:lnTo>
                  <a:lnTo>
                    <a:pt x="440" y="20"/>
                  </a:lnTo>
                  <a:lnTo>
                    <a:pt x="408" y="30"/>
                  </a:lnTo>
                  <a:lnTo>
                    <a:pt x="380" y="42"/>
                  </a:lnTo>
                  <a:lnTo>
                    <a:pt x="352" y="57"/>
                  </a:lnTo>
                  <a:lnTo>
                    <a:pt x="326" y="73"/>
                  </a:lnTo>
                  <a:lnTo>
                    <a:pt x="300" y="91"/>
                  </a:lnTo>
                  <a:lnTo>
                    <a:pt x="278" y="113"/>
                  </a:lnTo>
                  <a:lnTo>
                    <a:pt x="256" y="135"/>
                  </a:lnTo>
                  <a:lnTo>
                    <a:pt x="236" y="159"/>
                  </a:lnTo>
                  <a:lnTo>
                    <a:pt x="218" y="185"/>
                  </a:lnTo>
                  <a:lnTo>
                    <a:pt x="202" y="211"/>
                  </a:lnTo>
                  <a:lnTo>
                    <a:pt x="190" y="241"/>
                  </a:lnTo>
                  <a:lnTo>
                    <a:pt x="178" y="271"/>
                  </a:lnTo>
                  <a:lnTo>
                    <a:pt x="170" y="301"/>
                  </a:lnTo>
                  <a:lnTo>
                    <a:pt x="170" y="301"/>
                  </a:lnTo>
                  <a:lnTo>
                    <a:pt x="152" y="307"/>
                  </a:lnTo>
                  <a:lnTo>
                    <a:pt x="134" y="315"/>
                  </a:lnTo>
                  <a:lnTo>
                    <a:pt x="118" y="323"/>
                  </a:lnTo>
                  <a:lnTo>
                    <a:pt x="102" y="333"/>
                  </a:lnTo>
                  <a:lnTo>
                    <a:pt x="86" y="345"/>
                  </a:lnTo>
                  <a:lnTo>
                    <a:pt x="72" y="357"/>
                  </a:lnTo>
                  <a:lnTo>
                    <a:pt x="60" y="371"/>
                  </a:lnTo>
                  <a:lnTo>
                    <a:pt x="48" y="385"/>
                  </a:lnTo>
                  <a:lnTo>
                    <a:pt x="38" y="401"/>
                  </a:lnTo>
                  <a:lnTo>
                    <a:pt x="28" y="417"/>
                  </a:lnTo>
                  <a:lnTo>
                    <a:pt x="20" y="433"/>
                  </a:lnTo>
                  <a:lnTo>
                    <a:pt x="14" y="451"/>
                  </a:lnTo>
                  <a:lnTo>
                    <a:pt x="8" y="469"/>
                  </a:lnTo>
                  <a:lnTo>
                    <a:pt x="4" y="487"/>
                  </a:lnTo>
                  <a:lnTo>
                    <a:pt x="2" y="507"/>
                  </a:lnTo>
                  <a:lnTo>
                    <a:pt x="0" y="525"/>
                  </a:lnTo>
                  <a:lnTo>
                    <a:pt x="0" y="525"/>
                  </a:lnTo>
                  <a:lnTo>
                    <a:pt x="2" y="549"/>
                  </a:lnTo>
                  <a:lnTo>
                    <a:pt x="6" y="573"/>
                  </a:lnTo>
                  <a:lnTo>
                    <a:pt x="12" y="595"/>
                  </a:lnTo>
                  <a:lnTo>
                    <a:pt x="18" y="617"/>
                  </a:lnTo>
                  <a:lnTo>
                    <a:pt x="28" y="637"/>
                  </a:lnTo>
                  <a:lnTo>
                    <a:pt x="40" y="655"/>
                  </a:lnTo>
                  <a:lnTo>
                    <a:pt x="54" y="673"/>
                  </a:lnTo>
                  <a:lnTo>
                    <a:pt x="68" y="689"/>
                  </a:lnTo>
                  <a:lnTo>
                    <a:pt x="86" y="705"/>
                  </a:lnTo>
                  <a:lnTo>
                    <a:pt x="104" y="720"/>
                  </a:lnTo>
                  <a:lnTo>
                    <a:pt x="122" y="732"/>
                  </a:lnTo>
                  <a:lnTo>
                    <a:pt x="142" y="740"/>
                  </a:lnTo>
                  <a:lnTo>
                    <a:pt x="164" y="748"/>
                  </a:lnTo>
                  <a:lnTo>
                    <a:pt x="186" y="754"/>
                  </a:lnTo>
                  <a:lnTo>
                    <a:pt x="210" y="758"/>
                  </a:lnTo>
                  <a:lnTo>
                    <a:pt x="234" y="760"/>
                  </a:lnTo>
                  <a:lnTo>
                    <a:pt x="774" y="760"/>
                  </a:lnTo>
                  <a:lnTo>
                    <a:pt x="774" y="71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T America" panose="00000500000000000000" pitchFamily="2" charset="0"/>
                <a:ea typeface="+mn-ea"/>
                <a:cs typeface="+mn-cs"/>
              </a:endParaRPr>
            </a:p>
          </p:txBody>
        </p:sp>
        <p:sp>
          <p:nvSpPr>
            <p:cNvPr id="233" name="Freeform 6"/>
            <p:cNvSpPr>
              <a:spLocks noEditPoints="1"/>
            </p:cNvSpPr>
            <p:nvPr/>
          </p:nvSpPr>
          <p:spPr bwMode="auto">
            <a:xfrm>
              <a:off x="3991" y="1672"/>
              <a:ext cx="500" cy="974"/>
            </a:xfrm>
            <a:custGeom>
              <a:avLst/>
              <a:gdLst>
                <a:gd name="T0" fmla="*/ 0 w 500"/>
                <a:gd name="T1" fmla="*/ 974 h 974"/>
                <a:gd name="T2" fmla="*/ 500 w 500"/>
                <a:gd name="T3" fmla="*/ 974 h 974"/>
                <a:gd name="T4" fmla="*/ 500 w 500"/>
                <a:gd name="T5" fmla="*/ 0 h 974"/>
                <a:gd name="T6" fmla="*/ 0 w 500"/>
                <a:gd name="T7" fmla="*/ 0 h 974"/>
                <a:gd name="T8" fmla="*/ 0 w 500"/>
                <a:gd name="T9" fmla="*/ 974 h 974"/>
                <a:gd name="T10" fmla="*/ 168 w 500"/>
                <a:gd name="T11" fmla="*/ 519 h 974"/>
                <a:gd name="T12" fmla="*/ 396 w 500"/>
                <a:gd name="T13" fmla="*/ 293 h 974"/>
                <a:gd name="T14" fmla="*/ 396 w 500"/>
                <a:gd name="T15" fmla="*/ 293 h 974"/>
                <a:gd name="T16" fmla="*/ 400 w 500"/>
                <a:gd name="T17" fmla="*/ 289 h 974"/>
                <a:gd name="T18" fmla="*/ 404 w 500"/>
                <a:gd name="T19" fmla="*/ 289 h 974"/>
                <a:gd name="T20" fmla="*/ 408 w 500"/>
                <a:gd name="T21" fmla="*/ 289 h 974"/>
                <a:gd name="T22" fmla="*/ 412 w 500"/>
                <a:gd name="T23" fmla="*/ 293 h 974"/>
                <a:gd name="T24" fmla="*/ 412 w 500"/>
                <a:gd name="T25" fmla="*/ 293 h 974"/>
                <a:gd name="T26" fmla="*/ 416 w 500"/>
                <a:gd name="T27" fmla="*/ 297 h 974"/>
                <a:gd name="T28" fmla="*/ 416 w 500"/>
                <a:gd name="T29" fmla="*/ 301 h 974"/>
                <a:gd name="T30" fmla="*/ 416 w 500"/>
                <a:gd name="T31" fmla="*/ 305 h 974"/>
                <a:gd name="T32" fmla="*/ 412 w 500"/>
                <a:gd name="T33" fmla="*/ 309 h 974"/>
                <a:gd name="T34" fmla="*/ 186 w 500"/>
                <a:gd name="T35" fmla="*/ 537 h 974"/>
                <a:gd name="T36" fmla="*/ 186 w 500"/>
                <a:gd name="T37" fmla="*/ 537 h 974"/>
                <a:gd name="T38" fmla="*/ 182 w 500"/>
                <a:gd name="T39" fmla="*/ 539 h 974"/>
                <a:gd name="T40" fmla="*/ 178 w 500"/>
                <a:gd name="T41" fmla="*/ 539 h 974"/>
                <a:gd name="T42" fmla="*/ 178 w 500"/>
                <a:gd name="T43" fmla="*/ 539 h 974"/>
                <a:gd name="T44" fmla="*/ 172 w 500"/>
                <a:gd name="T45" fmla="*/ 539 h 974"/>
                <a:gd name="T46" fmla="*/ 168 w 500"/>
                <a:gd name="T47" fmla="*/ 537 h 974"/>
                <a:gd name="T48" fmla="*/ 168 w 500"/>
                <a:gd name="T49" fmla="*/ 537 h 974"/>
                <a:gd name="T50" fmla="*/ 166 w 500"/>
                <a:gd name="T51" fmla="*/ 533 h 974"/>
                <a:gd name="T52" fmla="*/ 166 w 500"/>
                <a:gd name="T53" fmla="*/ 527 h 974"/>
                <a:gd name="T54" fmla="*/ 166 w 500"/>
                <a:gd name="T55" fmla="*/ 523 h 974"/>
                <a:gd name="T56" fmla="*/ 168 w 500"/>
                <a:gd name="T57" fmla="*/ 519 h 974"/>
                <a:gd name="T58" fmla="*/ 168 w 500"/>
                <a:gd name="T59" fmla="*/ 519 h 974"/>
                <a:gd name="T60" fmla="*/ 56 w 500"/>
                <a:gd name="T61" fmla="*/ 745 h 974"/>
                <a:gd name="T62" fmla="*/ 422 w 500"/>
                <a:gd name="T63" fmla="*/ 379 h 974"/>
                <a:gd name="T64" fmla="*/ 422 w 500"/>
                <a:gd name="T65" fmla="*/ 379 h 974"/>
                <a:gd name="T66" fmla="*/ 426 w 500"/>
                <a:gd name="T67" fmla="*/ 377 h 974"/>
                <a:gd name="T68" fmla="*/ 430 w 500"/>
                <a:gd name="T69" fmla="*/ 375 h 974"/>
                <a:gd name="T70" fmla="*/ 436 w 500"/>
                <a:gd name="T71" fmla="*/ 377 h 974"/>
                <a:gd name="T72" fmla="*/ 440 w 500"/>
                <a:gd name="T73" fmla="*/ 379 h 974"/>
                <a:gd name="T74" fmla="*/ 440 w 500"/>
                <a:gd name="T75" fmla="*/ 379 h 974"/>
                <a:gd name="T76" fmla="*/ 442 w 500"/>
                <a:gd name="T77" fmla="*/ 383 h 974"/>
                <a:gd name="T78" fmla="*/ 442 w 500"/>
                <a:gd name="T79" fmla="*/ 387 h 974"/>
                <a:gd name="T80" fmla="*/ 442 w 500"/>
                <a:gd name="T81" fmla="*/ 391 h 974"/>
                <a:gd name="T82" fmla="*/ 440 w 500"/>
                <a:gd name="T83" fmla="*/ 395 h 974"/>
                <a:gd name="T84" fmla="*/ 72 w 500"/>
                <a:gd name="T85" fmla="*/ 763 h 974"/>
                <a:gd name="T86" fmla="*/ 72 w 500"/>
                <a:gd name="T87" fmla="*/ 763 h 974"/>
                <a:gd name="T88" fmla="*/ 68 w 500"/>
                <a:gd name="T89" fmla="*/ 765 h 974"/>
                <a:gd name="T90" fmla="*/ 64 w 500"/>
                <a:gd name="T91" fmla="*/ 765 h 974"/>
                <a:gd name="T92" fmla="*/ 64 w 500"/>
                <a:gd name="T93" fmla="*/ 765 h 974"/>
                <a:gd name="T94" fmla="*/ 60 w 500"/>
                <a:gd name="T95" fmla="*/ 765 h 974"/>
                <a:gd name="T96" fmla="*/ 56 w 500"/>
                <a:gd name="T97" fmla="*/ 763 h 974"/>
                <a:gd name="T98" fmla="*/ 56 w 500"/>
                <a:gd name="T99" fmla="*/ 763 h 974"/>
                <a:gd name="T100" fmla="*/ 54 w 500"/>
                <a:gd name="T101" fmla="*/ 759 h 974"/>
                <a:gd name="T102" fmla="*/ 52 w 500"/>
                <a:gd name="T103" fmla="*/ 753 h 974"/>
                <a:gd name="T104" fmla="*/ 54 w 500"/>
                <a:gd name="T105" fmla="*/ 749 h 974"/>
                <a:gd name="T106" fmla="*/ 56 w 500"/>
                <a:gd name="T107" fmla="*/ 745 h 974"/>
                <a:gd name="T108" fmla="*/ 56 w 500"/>
                <a:gd name="T109" fmla="*/ 745 h 9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500" h="974">
                  <a:moveTo>
                    <a:pt x="0" y="974"/>
                  </a:moveTo>
                  <a:lnTo>
                    <a:pt x="500" y="974"/>
                  </a:lnTo>
                  <a:lnTo>
                    <a:pt x="500" y="0"/>
                  </a:lnTo>
                  <a:lnTo>
                    <a:pt x="0" y="0"/>
                  </a:lnTo>
                  <a:lnTo>
                    <a:pt x="0" y="974"/>
                  </a:lnTo>
                  <a:close/>
                  <a:moveTo>
                    <a:pt x="168" y="519"/>
                  </a:moveTo>
                  <a:lnTo>
                    <a:pt x="396" y="293"/>
                  </a:lnTo>
                  <a:lnTo>
                    <a:pt x="396" y="293"/>
                  </a:lnTo>
                  <a:lnTo>
                    <a:pt x="400" y="289"/>
                  </a:lnTo>
                  <a:lnTo>
                    <a:pt x="404" y="289"/>
                  </a:lnTo>
                  <a:lnTo>
                    <a:pt x="408" y="289"/>
                  </a:lnTo>
                  <a:lnTo>
                    <a:pt x="412" y="293"/>
                  </a:lnTo>
                  <a:lnTo>
                    <a:pt x="412" y="293"/>
                  </a:lnTo>
                  <a:lnTo>
                    <a:pt x="416" y="297"/>
                  </a:lnTo>
                  <a:lnTo>
                    <a:pt x="416" y="301"/>
                  </a:lnTo>
                  <a:lnTo>
                    <a:pt x="416" y="305"/>
                  </a:lnTo>
                  <a:lnTo>
                    <a:pt x="412" y="309"/>
                  </a:lnTo>
                  <a:lnTo>
                    <a:pt x="186" y="537"/>
                  </a:lnTo>
                  <a:lnTo>
                    <a:pt x="186" y="537"/>
                  </a:lnTo>
                  <a:lnTo>
                    <a:pt x="182" y="539"/>
                  </a:lnTo>
                  <a:lnTo>
                    <a:pt x="178" y="539"/>
                  </a:lnTo>
                  <a:lnTo>
                    <a:pt x="178" y="539"/>
                  </a:lnTo>
                  <a:lnTo>
                    <a:pt x="172" y="539"/>
                  </a:lnTo>
                  <a:lnTo>
                    <a:pt x="168" y="537"/>
                  </a:lnTo>
                  <a:lnTo>
                    <a:pt x="168" y="537"/>
                  </a:lnTo>
                  <a:lnTo>
                    <a:pt x="166" y="533"/>
                  </a:lnTo>
                  <a:lnTo>
                    <a:pt x="166" y="527"/>
                  </a:lnTo>
                  <a:lnTo>
                    <a:pt x="166" y="523"/>
                  </a:lnTo>
                  <a:lnTo>
                    <a:pt x="168" y="519"/>
                  </a:lnTo>
                  <a:lnTo>
                    <a:pt x="168" y="519"/>
                  </a:lnTo>
                  <a:close/>
                  <a:moveTo>
                    <a:pt x="56" y="745"/>
                  </a:moveTo>
                  <a:lnTo>
                    <a:pt x="422" y="379"/>
                  </a:lnTo>
                  <a:lnTo>
                    <a:pt x="422" y="379"/>
                  </a:lnTo>
                  <a:lnTo>
                    <a:pt x="426" y="377"/>
                  </a:lnTo>
                  <a:lnTo>
                    <a:pt x="430" y="375"/>
                  </a:lnTo>
                  <a:lnTo>
                    <a:pt x="436" y="377"/>
                  </a:lnTo>
                  <a:lnTo>
                    <a:pt x="440" y="379"/>
                  </a:lnTo>
                  <a:lnTo>
                    <a:pt x="440" y="379"/>
                  </a:lnTo>
                  <a:lnTo>
                    <a:pt x="442" y="383"/>
                  </a:lnTo>
                  <a:lnTo>
                    <a:pt x="442" y="387"/>
                  </a:lnTo>
                  <a:lnTo>
                    <a:pt x="442" y="391"/>
                  </a:lnTo>
                  <a:lnTo>
                    <a:pt x="440" y="395"/>
                  </a:lnTo>
                  <a:lnTo>
                    <a:pt x="72" y="763"/>
                  </a:lnTo>
                  <a:lnTo>
                    <a:pt x="72" y="763"/>
                  </a:lnTo>
                  <a:lnTo>
                    <a:pt x="68" y="765"/>
                  </a:lnTo>
                  <a:lnTo>
                    <a:pt x="64" y="765"/>
                  </a:lnTo>
                  <a:lnTo>
                    <a:pt x="64" y="765"/>
                  </a:lnTo>
                  <a:lnTo>
                    <a:pt x="60" y="765"/>
                  </a:lnTo>
                  <a:lnTo>
                    <a:pt x="56" y="763"/>
                  </a:lnTo>
                  <a:lnTo>
                    <a:pt x="56" y="763"/>
                  </a:lnTo>
                  <a:lnTo>
                    <a:pt x="54" y="759"/>
                  </a:lnTo>
                  <a:lnTo>
                    <a:pt x="52" y="753"/>
                  </a:lnTo>
                  <a:lnTo>
                    <a:pt x="54" y="749"/>
                  </a:lnTo>
                  <a:lnTo>
                    <a:pt x="56" y="745"/>
                  </a:lnTo>
                  <a:lnTo>
                    <a:pt x="56" y="7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T America" panose="00000500000000000000" pitchFamily="2" charset="0"/>
                <a:ea typeface="+mn-ea"/>
                <a:cs typeface="+mn-cs"/>
              </a:endParaRPr>
            </a:p>
          </p:txBody>
        </p:sp>
        <p:sp>
          <p:nvSpPr>
            <p:cNvPr id="234" name="Freeform 7"/>
            <p:cNvSpPr>
              <a:spLocks noEditPoints="1"/>
            </p:cNvSpPr>
            <p:nvPr/>
          </p:nvSpPr>
          <p:spPr bwMode="auto">
            <a:xfrm>
              <a:off x="3919" y="1498"/>
              <a:ext cx="644" cy="1324"/>
            </a:xfrm>
            <a:custGeom>
              <a:avLst/>
              <a:gdLst>
                <a:gd name="T0" fmla="*/ 52 w 644"/>
                <a:gd name="T1" fmla="*/ 0 h 1324"/>
                <a:gd name="T2" fmla="*/ 42 w 644"/>
                <a:gd name="T3" fmla="*/ 0 h 1324"/>
                <a:gd name="T4" fmla="*/ 24 w 644"/>
                <a:gd name="T5" fmla="*/ 8 h 1324"/>
                <a:gd name="T6" fmla="*/ 10 w 644"/>
                <a:gd name="T7" fmla="*/ 22 h 1324"/>
                <a:gd name="T8" fmla="*/ 2 w 644"/>
                <a:gd name="T9" fmla="*/ 42 h 1324"/>
                <a:gd name="T10" fmla="*/ 0 w 644"/>
                <a:gd name="T11" fmla="*/ 1270 h 1324"/>
                <a:gd name="T12" fmla="*/ 2 w 644"/>
                <a:gd name="T13" fmla="*/ 1282 h 1324"/>
                <a:gd name="T14" fmla="*/ 10 w 644"/>
                <a:gd name="T15" fmla="*/ 1300 h 1324"/>
                <a:gd name="T16" fmla="*/ 24 w 644"/>
                <a:gd name="T17" fmla="*/ 1314 h 1324"/>
                <a:gd name="T18" fmla="*/ 42 w 644"/>
                <a:gd name="T19" fmla="*/ 1322 h 1324"/>
                <a:gd name="T20" fmla="*/ 592 w 644"/>
                <a:gd name="T21" fmla="*/ 1324 h 1324"/>
                <a:gd name="T22" fmla="*/ 602 w 644"/>
                <a:gd name="T23" fmla="*/ 1322 h 1324"/>
                <a:gd name="T24" fmla="*/ 620 w 644"/>
                <a:gd name="T25" fmla="*/ 1314 h 1324"/>
                <a:gd name="T26" fmla="*/ 634 w 644"/>
                <a:gd name="T27" fmla="*/ 1300 h 1324"/>
                <a:gd name="T28" fmla="*/ 642 w 644"/>
                <a:gd name="T29" fmla="*/ 1282 h 1324"/>
                <a:gd name="T30" fmla="*/ 644 w 644"/>
                <a:gd name="T31" fmla="*/ 52 h 1324"/>
                <a:gd name="T32" fmla="*/ 642 w 644"/>
                <a:gd name="T33" fmla="*/ 42 h 1324"/>
                <a:gd name="T34" fmla="*/ 634 w 644"/>
                <a:gd name="T35" fmla="*/ 22 h 1324"/>
                <a:gd name="T36" fmla="*/ 620 w 644"/>
                <a:gd name="T37" fmla="*/ 8 h 1324"/>
                <a:gd name="T38" fmla="*/ 602 w 644"/>
                <a:gd name="T39" fmla="*/ 0 h 1324"/>
                <a:gd name="T40" fmla="*/ 592 w 644"/>
                <a:gd name="T41" fmla="*/ 0 h 1324"/>
                <a:gd name="T42" fmla="*/ 378 w 644"/>
                <a:gd name="T43" fmla="*/ 74 h 1324"/>
                <a:gd name="T44" fmla="*/ 382 w 644"/>
                <a:gd name="T45" fmla="*/ 76 h 1324"/>
                <a:gd name="T46" fmla="*/ 388 w 644"/>
                <a:gd name="T47" fmla="*/ 82 h 1324"/>
                <a:gd name="T48" fmla="*/ 390 w 644"/>
                <a:gd name="T49" fmla="*/ 86 h 1324"/>
                <a:gd name="T50" fmla="*/ 386 w 644"/>
                <a:gd name="T51" fmla="*/ 96 h 1324"/>
                <a:gd name="T52" fmla="*/ 378 w 644"/>
                <a:gd name="T53" fmla="*/ 98 h 1324"/>
                <a:gd name="T54" fmla="*/ 266 w 644"/>
                <a:gd name="T55" fmla="*/ 98 h 1324"/>
                <a:gd name="T56" fmla="*/ 258 w 644"/>
                <a:gd name="T57" fmla="*/ 96 h 1324"/>
                <a:gd name="T58" fmla="*/ 254 w 644"/>
                <a:gd name="T59" fmla="*/ 86 h 1324"/>
                <a:gd name="T60" fmla="*/ 254 w 644"/>
                <a:gd name="T61" fmla="*/ 82 h 1324"/>
                <a:gd name="T62" fmla="*/ 262 w 644"/>
                <a:gd name="T63" fmla="*/ 76 h 1324"/>
                <a:gd name="T64" fmla="*/ 266 w 644"/>
                <a:gd name="T65" fmla="*/ 74 h 1324"/>
                <a:gd name="T66" fmla="*/ 596 w 644"/>
                <a:gd name="T67" fmla="*/ 1160 h 1324"/>
                <a:gd name="T68" fmla="*/ 594 w 644"/>
                <a:gd name="T69" fmla="*/ 1168 h 1324"/>
                <a:gd name="T70" fmla="*/ 584 w 644"/>
                <a:gd name="T71" fmla="*/ 1172 h 1324"/>
                <a:gd name="T72" fmla="*/ 60 w 644"/>
                <a:gd name="T73" fmla="*/ 1172 h 1324"/>
                <a:gd name="T74" fmla="*/ 50 w 644"/>
                <a:gd name="T75" fmla="*/ 1168 h 1324"/>
                <a:gd name="T76" fmla="*/ 48 w 644"/>
                <a:gd name="T77" fmla="*/ 1160 h 1324"/>
                <a:gd name="T78" fmla="*/ 48 w 644"/>
                <a:gd name="T79" fmla="*/ 162 h 1324"/>
                <a:gd name="T80" fmla="*/ 50 w 644"/>
                <a:gd name="T81" fmla="*/ 154 h 1324"/>
                <a:gd name="T82" fmla="*/ 60 w 644"/>
                <a:gd name="T83" fmla="*/ 150 h 1324"/>
                <a:gd name="T84" fmla="*/ 584 w 644"/>
                <a:gd name="T85" fmla="*/ 150 h 1324"/>
                <a:gd name="T86" fmla="*/ 594 w 644"/>
                <a:gd name="T87" fmla="*/ 154 h 1324"/>
                <a:gd name="T88" fmla="*/ 596 w 644"/>
                <a:gd name="T89" fmla="*/ 162 h 13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44" h="1324">
                  <a:moveTo>
                    <a:pt x="592" y="0"/>
                  </a:moveTo>
                  <a:lnTo>
                    <a:pt x="52" y="0"/>
                  </a:lnTo>
                  <a:lnTo>
                    <a:pt x="52" y="0"/>
                  </a:lnTo>
                  <a:lnTo>
                    <a:pt x="42" y="0"/>
                  </a:lnTo>
                  <a:lnTo>
                    <a:pt x="32" y="4"/>
                  </a:lnTo>
                  <a:lnTo>
                    <a:pt x="24" y="8"/>
                  </a:lnTo>
                  <a:lnTo>
                    <a:pt x="16" y="16"/>
                  </a:lnTo>
                  <a:lnTo>
                    <a:pt x="10" y="22"/>
                  </a:lnTo>
                  <a:lnTo>
                    <a:pt x="4" y="32"/>
                  </a:lnTo>
                  <a:lnTo>
                    <a:pt x="2" y="42"/>
                  </a:lnTo>
                  <a:lnTo>
                    <a:pt x="0" y="52"/>
                  </a:lnTo>
                  <a:lnTo>
                    <a:pt x="0" y="1270"/>
                  </a:lnTo>
                  <a:lnTo>
                    <a:pt x="0" y="1270"/>
                  </a:lnTo>
                  <a:lnTo>
                    <a:pt x="2" y="1282"/>
                  </a:lnTo>
                  <a:lnTo>
                    <a:pt x="4" y="1292"/>
                  </a:lnTo>
                  <a:lnTo>
                    <a:pt x="10" y="1300"/>
                  </a:lnTo>
                  <a:lnTo>
                    <a:pt x="16" y="1308"/>
                  </a:lnTo>
                  <a:lnTo>
                    <a:pt x="24" y="1314"/>
                  </a:lnTo>
                  <a:lnTo>
                    <a:pt x="32" y="1320"/>
                  </a:lnTo>
                  <a:lnTo>
                    <a:pt x="42" y="1322"/>
                  </a:lnTo>
                  <a:lnTo>
                    <a:pt x="52" y="1324"/>
                  </a:lnTo>
                  <a:lnTo>
                    <a:pt x="592" y="1324"/>
                  </a:lnTo>
                  <a:lnTo>
                    <a:pt x="592" y="1324"/>
                  </a:lnTo>
                  <a:lnTo>
                    <a:pt x="602" y="1322"/>
                  </a:lnTo>
                  <a:lnTo>
                    <a:pt x="612" y="1320"/>
                  </a:lnTo>
                  <a:lnTo>
                    <a:pt x="620" y="1314"/>
                  </a:lnTo>
                  <a:lnTo>
                    <a:pt x="628" y="1308"/>
                  </a:lnTo>
                  <a:lnTo>
                    <a:pt x="634" y="1300"/>
                  </a:lnTo>
                  <a:lnTo>
                    <a:pt x="640" y="1292"/>
                  </a:lnTo>
                  <a:lnTo>
                    <a:pt x="642" y="1282"/>
                  </a:lnTo>
                  <a:lnTo>
                    <a:pt x="644" y="1270"/>
                  </a:lnTo>
                  <a:lnTo>
                    <a:pt x="644" y="52"/>
                  </a:lnTo>
                  <a:lnTo>
                    <a:pt x="644" y="52"/>
                  </a:lnTo>
                  <a:lnTo>
                    <a:pt x="642" y="42"/>
                  </a:lnTo>
                  <a:lnTo>
                    <a:pt x="640" y="32"/>
                  </a:lnTo>
                  <a:lnTo>
                    <a:pt x="634" y="22"/>
                  </a:lnTo>
                  <a:lnTo>
                    <a:pt x="628" y="16"/>
                  </a:lnTo>
                  <a:lnTo>
                    <a:pt x="620" y="8"/>
                  </a:lnTo>
                  <a:lnTo>
                    <a:pt x="612" y="4"/>
                  </a:lnTo>
                  <a:lnTo>
                    <a:pt x="602" y="0"/>
                  </a:lnTo>
                  <a:lnTo>
                    <a:pt x="592" y="0"/>
                  </a:lnTo>
                  <a:lnTo>
                    <a:pt x="592" y="0"/>
                  </a:lnTo>
                  <a:close/>
                  <a:moveTo>
                    <a:pt x="266" y="74"/>
                  </a:moveTo>
                  <a:lnTo>
                    <a:pt x="378" y="74"/>
                  </a:lnTo>
                  <a:lnTo>
                    <a:pt x="378" y="74"/>
                  </a:lnTo>
                  <a:lnTo>
                    <a:pt x="382" y="76"/>
                  </a:lnTo>
                  <a:lnTo>
                    <a:pt x="386" y="78"/>
                  </a:lnTo>
                  <a:lnTo>
                    <a:pt x="388" y="82"/>
                  </a:lnTo>
                  <a:lnTo>
                    <a:pt x="390" y="86"/>
                  </a:lnTo>
                  <a:lnTo>
                    <a:pt x="390" y="86"/>
                  </a:lnTo>
                  <a:lnTo>
                    <a:pt x="388" y="92"/>
                  </a:lnTo>
                  <a:lnTo>
                    <a:pt x="386" y="96"/>
                  </a:lnTo>
                  <a:lnTo>
                    <a:pt x="382" y="98"/>
                  </a:lnTo>
                  <a:lnTo>
                    <a:pt x="378" y="98"/>
                  </a:lnTo>
                  <a:lnTo>
                    <a:pt x="266" y="98"/>
                  </a:lnTo>
                  <a:lnTo>
                    <a:pt x="266" y="98"/>
                  </a:lnTo>
                  <a:lnTo>
                    <a:pt x="262" y="98"/>
                  </a:lnTo>
                  <a:lnTo>
                    <a:pt x="258" y="96"/>
                  </a:lnTo>
                  <a:lnTo>
                    <a:pt x="254" y="92"/>
                  </a:lnTo>
                  <a:lnTo>
                    <a:pt x="254" y="86"/>
                  </a:lnTo>
                  <a:lnTo>
                    <a:pt x="254" y="86"/>
                  </a:lnTo>
                  <a:lnTo>
                    <a:pt x="254" y="82"/>
                  </a:lnTo>
                  <a:lnTo>
                    <a:pt x="258" y="78"/>
                  </a:lnTo>
                  <a:lnTo>
                    <a:pt x="262" y="76"/>
                  </a:lnTo>
                  <a:lnTo>
                    <a:pt x="266" y="74"/>
                  </a:lnTo>
                  <a:lnTo>
                    <a:pt x="266" y="74"/>
                  </a:lnTo>
                  <a:close/>
                  <a:moveTo>
                    <a:pt x="596" y="1160"/>
                  </a:moveTo>
                  <a:lnTo>
                    <a:pt x="596" y="1160"/>
                  </a:lnTo>
                  <a:lnTo>
                    <a:pt x="596" y="1166"/>
                  </a:lnTo>
                  <a:lnTo>
                    <a:pt x="594" y="1168"/>
                  </a:lnTo>
                  <a:lnTo>
                    <a:pt x="590" y="1172"/>
                  </a:lnTo>
                  <a:lnTo>
                    <a:pt x="584" y="1172"/>
                  </a:lnTo>
                  <a:lnTo>
                    <a:pt x="60" y="1172"/>
                  </a:lnTo>
                  <a:lnTo>
                    <a:pt x="60" y="1172"/>
                  </a:lnTo>
                  <a:lnTo>
                    <a:pt x="54" y="1172"/>
                  </a:lnTo>
                  <a:lnTo>
                    <a:pt x="50" y="1168"/>
                  </a:lnTo>
                  <a:lnTo>
                    <a:pt x="48" y="1166"/>
                  </a:lnTo>
                  <a:lnTo>
                    <a:pt x="48" y="1160"/>
                  </a:lnTo>
                  <a:lnTo>
                    <a:pt x="48" y="162"/>
                  </a:lnTo>
                  <a:lnTo>
                    <a:pt x="48" y="162"/>
                  </a:lnTo>
                  <a:lnTo>
                    <a:pt x="48" y="158"/>
                  </a:lnTo>
                  <a:lnTo>
                    <a:pt x="50" y="154"/>
                  </a:lnTo>
                  <a:lnTo>
                    <a:pt x="54" y="152"/>
                  </a:lnTo>
                  <a:lnTo>
                    <a:pt x="60" y="150"/>
                  </a:lnTo>
                  <a:lnTo>
                    <a:pt x="584" y="150"/>
                  </a:lnTo>
                  <a:lnTo>
                    <a:pt x="584" y="150"/>
                  </a:lnTo>
                  <a:lnTo>
                    <a:pt x="590" y="152"/>
                  </a:lnTo>
                  <a:lnTo>
                    <a:pt x="594" y="154"/>
                  </a:lnTo>
                  <a:lnTo>
                    <a:pt x="596" y="158"/>
                  </a:lnTo>
                  <a:lnTo>
                    <a:pt x="596" y="162"/>
                  </a:lnTo>
                  <a:lnTo>
                    <a:pt x="596" y="11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T America" panose="00000500000000000000" pitchFamily="2" charset="0"/>
                <a:ea typeface="+mn-ea"/>
                <a:cs typeface="+mn-cs"/>
              </a:endParaRPr>
            </a:p>
          </p:txBody>
        </p:sp>
      </p:grpSp>
      <p:grpSp>
        <p:nvGrpSpPr>
          <p:cNvPr id="236" name="Group 10"/>
          <p:cNvGrpSpPr>
            <a:grpSpLocks noChangeAspect="1"/>
          </p:cNvGrpSpPr>
          <p:nvPr/>
        </p:nvGrpSpPr>
        <p:grpSpPr bwMode="auto">
          <a:xfrm>
            <a:off x="10204720" y="5214481"/>
            <a:ext cx="1023952" cy="834126"/>
            <a:chOff x="3101" y="1558"/>
            <a:chExt cx="1478" cy="1204"/>
          </a:xfrm>
          <a:solidFill>
            <a:schemeClr val="bg1"/>
          </a:solidFill>
        </p:grpSpPr>
        <p:sp>
          <p:nvSpPr>
            <p:cNvPr id="238" name="Freeform 11"/>
            <p:cNvSpPr>
              <a:spLocks/>
            </p:cNvSpPr>
            <p:nvPr/>
          </p:nvSpPr>
          <p:spPr bwMode="auto">
            <a:xfrm>
              <a:off x="4245" y="1785"/>
              <a:ext cx="2" cy="2"/>
            </a:xfrm>
            <a:custGeom>
              <a:avLst/>
              <a:gdLst>
                <a:gd name="T0" fmla="*/ 0 w 2"/>
                <a:gd name="T1" fmla="*/ 2 h 2"/>
                <a:gd name="T2" fmla="*/ 0 w 2"/>
                <a:gd name="T3" fmla="*/ 2 h 2"/>
                <a:gd name="T4" fmla="*/ 2 w 2"/>
                <a:gd name="T5" fmla="*/ 0 h 2"/>
                <a:gd name="T6" fmla="*/ 2 w 2"/>
                <a:gd name="T7" fmla="*/ 0 h 2"/>
                <a:gd name="T8" fmla="*/ 0 w 2"/>
                <a:gd name="T9" fmla="*/ 2 h 2"/>
                <a:gd name="T10" fmla="*/ 0 w 2"/>
                <a:gd name="T11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" h="2">
                  <a:moveTo>
                    <a:pt x="0" y="2"/>
                  </a:moveTo>
                  <a:lnTo>
                    <a:pt x="0" y="2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2"/>
                  </a:lnTo>
                  <a:lnTo>
                    <a:pt x="0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T America" panose="00000500000000000000" pitchFamily="2" charset="0"/>
                <a:ea typeface="+mn-ea"/>
                <a:cs typeface="+mn-cs"/>
              </a:endParaRPr>
            </a:p>
          </p:txBody>
        </p:sp>
        <p:sp>
          <p:nvSpPr>
            <p:cNvPr id="239" name="Freeform 12"/>
            <p:cNvSpPr>
              <a:spLocks/>
            </p:cNvSpPr>
            <p:nvPr/>
          </p:nvSpPr>
          <p:spPr bwMode="auto">
            <a:xfrm>
              <a:off x="4265" y="1765"/>
              <a:ext cx="0" cy="2"/>
            </a:xfrm>
            <a:custGeom>
              <a:avLst/>
              <a:gdLst>
                <a:gd name="T0" fmla="*/ 2 h 2"/>
                <a:gd name="T1" fmla="*/ 2 h 2"/>
                <a:gd name="T2" fmla="*/ 0 h 2"/>
                <a:gd name="T3" fmla="*/ 2 h 2"/>
                <a:gd name="T4" fmla="*/ 2 h 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2">
                  <a:moveTo>
                    <a:pt x="0" y="2"/>
                  </a:moveTo>
                  <a:lnTo>
                    <a:pt x="0" y="2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T America" panose="00000500000000000000" pitchFamily="2" charset="0"/>
                <a:ea typeface="+mn-ea"/>
                <a:cs typeface="+mn-cs"/>
              </a:endParaRPr>
            </a:p>
          </p:txBody>
        </p:sp>
        <p:sp>
          <p:nvSpPr>
            <p:cNvPr id="240" name="Freeform 13"/>
            <p:cNvSpPr>
              <a:spLocks/>
            </p:cNvSpPr>
            <p:nvPr/>
          </p:nvSpPr>
          <p:spPr bwMode="auto">
            <a:xfrm>
              <a:off x="4247" y="1783"/>
              <a:ext cx="2" cy="2"/>
            </a:xfrm>
            <a:custGeom>
              <a:avLst/>
              <a:gdLst>
                <a:gd name="T0" fmla="*/ 2 w 2"/>
                <a:gd name="T1" fmla="*/ 0 h 2"/>
                <a:gd name="T2" fmla="*/ 2 w 2"/>
                <a:gd name="T3" fmla="*/ 0 h 2"/>
                <a:gd name="T4" fmla="*/ 0 w 2"/>
                <a:gd name="T5" fmla="*/ 2 h 2"/>
                <a:gd name="T6" fmla="*/ 0 w 2"/>
                <a:gd name="T7" fmla="*/ 2 h 2"/>
                <a:gd name="T8" fmla="*/ 2 w 2"/>
                <a:gd name="T9" fmla="*/ 0 h 2"/>
                <a:gd name="T10" fmla="*/ 2 w 2"/>
                <a:gd name="T11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" h="2">
                  <a:moveTo>
                    <a:pt x="2" y="0"/>
                  </a:moveTo>
                  <a:lnTo>
                    <a:pt x="2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2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T America" panose="00000500000000000000" pitchFamily="2" charset="0"/>
                <a:ea typeface="+mn-ea"/>
                <a:cs typeface="+mn-cs"/>
              </a:endParaRPr>
            </a:p>
          </p:txBody>
        </p:sp>
        <p:sp>
          <p:nvSpPr>
            <p:cNvPr id="241" name="Freeform 14"/>
            <p:cNvSpPr>
              <a:spLocks/>
            </p:cNvSpPr>
            <p:nvPr/>
          </p:nvSpPr>
          <p:spPr bwMode="auto">
            <a:xfrm>
              <a:off x="4132" y="1648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T America" panose="00000500000000000000" pitchFamily="2" charset="0"/>
                <a:ea typeface="+mn-ea"/>
                <a:cs typeface="+mn-cs"/>
              </a:endParaRPr>
            </a:p>
          </p:txBody>
        </p:sp>
        <p:sp>
          <p:nvSpPr>
            <p:cNvPr id="242" name="Freeform 15"/>
            <p:cNvSpPr>
              <a:spLocks/>
            </p:cNvSpPr>
            <p:nvPr/>
          </p:nvSpPr>
          <p:spPr bwMode="auto">
            <a:xfrm>
              <a:off x="4229" y="2722"/>
              <a:ext cx="20" cy="22"/>
            </a:xfrm>
            <a:custGeom>
              <a:avLst/>
              <a:gdLst>
                <a:gd name="T0" fmla="*/ 0 w 20"/>
                <a:gd name="T1" fmla="*/ 0 h 22"/>
                <a:gd name="T2" fmla="*/ 0 w 20"/>
                <a:gd name="T3" fmla="*/ 0 h 22"/>
                <a:gd name="T4" fmla="*/ 20 w 20"/>
                <a:gd name="T5" fmla="*/ 22 h 22"/>
                <a:gd name="T6" fmla="*/ 20 w 20"/>
                <a:gd name="T7" fmla="*/ 22 h 22"/>
                <a:gd name="T8" fmla="*/ 10 w 20"/>
                <a:gd name="T9" fmla="*/ 10 h 22"/>
                <a:gd name="T10" fmla="*/ 10 w 20"/>
                <a:gd name="T11" fmla="*/ 10 h 22"/>
                <a:gd name="T12" fmla="*/ 0 w 20"/>
                <a:gd name="T13" fmla="*/ 0 h 22"/>
                <a:gd name="T14" fmla="*/ 0 w 20"/>
                <a:gd name="T15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0" h="22">
                  <a:moveTo>
                    <a:pt x="0" y="0"/>
                  </a:moveTo>
                  <a:lnTo>
                    <a:pt x="0" y="0"/>
                  </a:lnTo>
                  <a:lnTo>
                    <a:pt x="20" y="22"/>
                  </a:lnTo>
                  <a:lnTo>
                    <a:pt x="20" y="22"/>
                  </a:lnTo>
                  <a:lnTo>
                    <a:pt x="10" y="10"/>
                  </a:lnTo>
                  <a:lnTo>
                    <a:pt x="10" y="1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T America" panose="00000500000000000000" pitchFamily="2" charset="0"/>
                <a:ea typeface="+mn-ea"/>
                <a:cs typeface="+mn-cs"/>
              </a:endParaRPr>
            </a:p>
          </p:txBody>
        </p:sp>
        <p:sp>
          <p:nvSpPr>
            <p:cNvPr id="243" name="Freeform 16"/>
            <p:cNvSpPr>
              <a:spLocks/>
            </p:cNvSpPr>
            <p:nvPr/>
          </p:nvSpPr>
          <p:spPr bwMode="auto">
            <a:xfrm>
              <a:off x="3243" y="2553"/>
              <a:ext cx="14" cy="14"/>
            </a:xfrm>
            <a:custGeom>
              <a:avLst/>
              <a:gdLst>
                <a:gd name="T0" fmla="*/ 14 w 14"/>
                <a:gd name="T1" fmla="*/ 0 h 14"/>
                <a:gd name="T2" fmla="*/ 14 w 14"/>
                <a:gd name="T3" fmla="*/ 0 h 14"/>
                <a:gd name="T4" fmla="*/ 0 w 14"/>
                <a:gd name="T5" fmla="*/ 14 h 14"/>
                <a:gd name="T6" fmla="*/ 0 w 14"/>
                <a:gd name="T7" fmla="*/ 14 h 14"/>
                <a:gd name="T8" fmla="*/ 4 w 14"/>
                <a:gd name="T9" fmla="*/ 10 h 14"/>
                <a:gd name="T10" fmla="*/ 4 w 14"/>
                <a:gd name="T11" fmla="*/ 10 h 14"/>
                <a:gd name="T12" fmla="*/ 14 w 14"/>
                <a:gd name="T13" fmla="*/ 0 h 14"/>
                <a:gd name="T14" fmla="*/ 14 w 14"/>
                <a:gd name="T15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" h="14">
                  <a:moveTo>
                    <a:pt x="14" y="0"/>
                  </a:moveTo>
                  <a:lnTo>
                    <a:pt x="14" y="0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4" y="10"/>
                  </a:lnTo>
                  <a:lnTo>
                    <a:pt x="4" y="10"/>
                  </a:lnTo>
                  <a:lnTo>
                    <a:pt x="14" y="0"/>
                  </a:lnTo>
                  <a:lnTo>
                    <a:pt x="1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T America" panose="00000500000000000000" pitchFamily="2" charset="0"/>
                <a:ea typeface="+mn-ea"/>
                <a:cs typeface="+mn-cs"/>
              </a:endParaRPr>
            </a:p>
          </p:txBody>
        </p:sp>
        <p:sp>
          <p:nvSpPr>
            <p:cNvPr id="244" name="Freeform 17"/>
            <p:cNvSpPr>
              <a:spLocks/>
            </p:cNvSpPr>
            <p:nvPr/>
          </p:nvSpPr>
          <p:spPr bwMode="auto">
            <a:xfrm>
              <a:off x="3237" y="2571"/>
              <a:ext cx="2" cy="4"/>
            </a:xfrm>
            <a:custGeom>
              <a:avLst/>
              <a:gdLst>
                <a:gd name="T0" fmla="*/ 2 w 2"/>
                <a:gd name="T1" fmla="*/ 0 h 4"/>
                <a:gd name="T2" fmla="*/ 2 w 2"/>
                <a:gd name="T3" fmla="*/ 0 h 4"/>
                <a:gd name="T4" fmla="*/ 0 w 2"/>
                <a:gd name="T5" fmla="*/ 4 h 4"/>
                <a:gd name="T6" fmla="*/ 2 w 2"/>
                <a:gd name="T7" fmla="*/ 0 h 4"/>
                <a:gd name="T8" fmla="*/ 2 w 2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4">
                  <a:moveTo>
                    <a:pt x="2" y="0"/>
                  </a:moveTo>
                  <a:lnTo>
                    <a:pt x="2" y="0"/>
                  </a:lnTo>
                  <a:lnTo>
                    <a:pt x="0" y="4"/>
                  </a:lnTo>
                  <a:lnTo>
                    <a:pt x="2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T America" panose="00000500000000000000" pitchFamily="2" charset="0"/>
                <a:ea typeface="+mn-ea"/>
                <a:cs typeface="+mn-cs"/>
              </a:endParaRPr>
            </a:p>
          </p:txBody>
        </p:sp>
        <p:sp>
          <p:nvSpPr>
            <p:cNvPr id="245" name="Freeform 18"/>
            <p:cNvSpPr>
              <a:spLocks/>
            </p:cNvSpPr>
            <p:nvPr/>
          </p:nvSpPr>
          <p:spPr bwMode="auto">
            <a:xfrm>
              <a:off x="3239" y="2567"/>
              <a:ext cx="4" cy="4"/>
            </a:xfrm>
            <a:custGeom>
              <a:avLst/>
              <a:gdLst>
                <a:gd name="T0" fmla="*/ 4 w 4"/>
                <a:gd name="T1" fmla="*/ 0 h 4"/>
                <a:gd name="T2" fmla="*/ 4 w 4"/>
                <a:gd name="T3" fmla="*/ 0 h 4"/>
                <a:gd name="T4" fmla="*/ 0 w 4"/>
                <a:gd name="T5" fmla="*/ 4 h 4"/>
                <a:gd name="T6" fmla="*/ 0 w 4"/>
                <a:gd name="T7" fmla="*/ 4 h 4"/>
                <a:gd name="T8" fmla="*/ 4 w 4"/>
                <a:gd name="T9" fmla="*/ 0 h 4"/>
                <a:gd name="T10" fmla="*/ 4 w 4"/>
                <a:gd name="T11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" h="4">
                  <a:moveTo>
                    <a:pt x="4" y="0"/>
                  </a:moveTo>
                  <a:lnTo>
                    <a:pt x="4" y="0"/>
                  </a:lnTo>
                  <a:lnTo>
                    <a:pt x="0" y="4"/>
                  </a:lnTo>
                  <a:lnTo>
                    <a:pt x="0" y="4"/>
                  </a:lnTo>
                  <a:lnTo>
                    <a:pt x="4" y="0"/>
                  </a:lnTo>
                  <a:lnTo>
                    <a:pt x="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T America" panose="00000500000000000000" pitchFamily="2" charset="0"/>
                <a:ea typeface="+mn-ea"/>
                <a:cs typeface="+mn-cs"/>
              </a:endParaRPr>
            </a:p>
          </p:txBody>
        </p:sp>
        <p:sp>
          <p:nvSpPr>
            <p:cNvPr id="246" name="Freeform 19"/>
            <p:cNvSpPr>
              <a:spLocks/>
            </p:cNvSpPr>
            <p:nvPr/>
          </p:nvSpPr>
          <p:spPr bwMode="auto">
            <a:xfrm>
              <a:off x="3249" y="1809"/>
              <a:ext cx="2" cy="0"/>
            </a:xfrm>
            <a:custGeom>
              <a:avLst/>
              <a:gdLst>
                <a:gd name="T0" fmla="*/ 0 w 2"/>
                <a:gd name="T1" fmla="*/ 0 w 2"/>
                <a:gd name="T2" fmla="*/ 2 w 2"/>
                <a:gd name="T3" fmla="*/ 2 w 2"/>
                <a:gd name="T4" fmla="*/ 0 w 2"/>
                <a:gd name="T5" fmla="*/ 0 w 2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</a:cxnLst>
              <a:rect l="0" t="0" r="r" b="b"/>
              <a:pathLst>
                <a:path w="2">
                  <a:moveTo>
                    <a:pt x="0" y="0"/>
                  </a:moveTo>
                  <a:lnTo>
                    <a:pt x="0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T America" panose="00000500000000000000" pitchFamily="2" charset="0"/>
                <a:ea typeface="+mn-ea"/>
                <a:cs typeface="+mn-cs"/>
              </a:endParaRPr>
            </a:p>
          </p:txBody>
        </p:sp>
        <p:sp>
          <p:nvSpPr>
            <p:cNvPr id="247" name="Freeform 20"/>
            <p:cNvSpPr>
              <a:spLocks/>
            </p:cNvSpPr>
            <p:nvPr/>
          </p:nvSpPr>
          <p:spPr bwMode="auto">
            <a:xfrm>
              <a:off x="3251" y="1809"/>
              <a:ext cx="2" cy="2"/>
            </a:xfrm>
            <a:custGeom>
              <a:avLst/>
              <a:gdLst>
                <a:gd name="T0" fmla="*/ 0 w 2"/>
                <a:gd name="T1" fmla="*/ 0 h 2"/>
                <a:gd name="T2" fmla="*/ 0 w 2"/>
                <a:gd name="T3" fmla="*/ 0 h 2"/>
                <a:gd name="T4" fmla="*/ 2 w 2"/>
                <a:gd name="T5" fmla="*/ 2 h 2"/>
                <a:gd name="T6" fmla="*/ 0 w 2"/>
                <a:gd name="T7" fmla="*/ 0 h 2"/>
                <a:gd name="T8" fmla="*/ 0 w 2"/>
                <a:gd name="T9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2">
                  <a:moveTo>
                    <a:pt x="0" y="0"/>
                  </a:moveTo>
                  <a:lnTo>
                    <a:pt x="0" y="0"/>
                  </a:lnTo>
                  <a:lnTo>
                    <a:pt x="2" y="2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T America" panose="00000500000000000000" pitchFamily="2" charset="0"/>
                <a:ea typeface="+mn-ea"/>
                <a:cs typeface="+mn-cs"/>
              </a:endParaRPr>
            </a:p>
          </p:txBody>
        </p:sp>
        <p:sp>
          <p:nvSpPr>
            <p:cNvPr id="248" name="Freeform 21"/>
            <p:cNvSpPr>
              <a:spLocks/>
            </p:cNvSpPr>
            <p:nvPr/>
          </p:nvSpPr>
          <p:spPr bwMode="auto">
            <a:xfrm>
              <a:off x="3235" y="1801"/>
              <a:ext cx="8" cy="4"/>
            </a:xfrm>
            <a:custGeom>
              <a:avLst/>
              <a:gdLst>
                <a:gd name="T0" fmla="*/ 0 w 8"/>
                <a:gd name="T1" fmla="*/ 0 h 4"/>
                <a:gd name="T2" fmla="*/ 0 w 8"/>
                <a:gd name="T3" fmla="*/ 0 h 4"/>
                <a:gd name="T4" fmla="*/ 4 w 8"/>
                <a:gd name="T5" fmla="*/ 2 h 4"/>
                <a:gd name="T6" fmla="*/ 4 w 8"/>
                <a:gd name="T7" fmla="*/ 2 h 4"/>
                <a:gd name="T8" fmla="*/ 8 w 8"/>
                <a:gd name="T9" fmla="*/ 4 h 4"/>
                <a:gd name="T10" fmla="*/ 8 w 8"/>
                <a:gd name="T11" fmla="*/ 4 h 4"/>
                <a:gd name="T12" fmla="*/ 0 w 8"/>
                <a:gd name="T13" fmla="*/ 0 h 4"/>
                <a:gd name="T14" fmla="*/ 0 w 8"/>
                <a:gd name="T15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" h="4">
                  <a:moveTo>
                    <a:pt x="0" y="0"/>
                  </a:moveTo>
                  <a:lnTo>
                    <a:pt x="0" y="0"/>
                  </a:lnTo>
                  <a:lnTo>
                    <a:pt x="4" y="2"/>
                  </a:lnTo>
                  <a:lnTo>
                    <a:pt x="4" y="2"/>
                  </a:lnTo>
                  <a:lnTo>
                    <a:pt x="8" y="4"/>
                  </a:lnTo>
                  <a:lnTo>
                    <a:pt x="8" y="4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T America" panose="00000500000000000000" pitchFamily="2" charset="0"/>
                <a:ea typeface="+mn-ea"/>
                <a:cs typeface="+mn-cs"/>
              </a:endParaRPr>
            </a:p>
          </p:txBody>
        </p:sp>
        <p:sp>
          <p:nvSpPr>
            <p:cNvPr id="249" name="Rectangle 22"/>
            <p:cNvSpPr>
              <a:spLocks noChangeArrowheads="1"/>
            </p:cNvSpPr>
            <p:nvPr/>
          </p:nvSpPr>
          <p:spPr bwMode="auto">
            <a:xfrm>
              <a:off x="3227" y="1797"/>
              <a:ext cx="1" cy="1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T America" panose="00000500000000000000" pitchFamily="2" charset="0"/>
                <a:ea typeface="+mn-ea"/>
                <a:cs typeface="+mn-cs"/>
              </a:endParaRPr>
            </a:p>
          </p:txBody>
        </p:sp>
        <p:sp>
          <p:nvSpPr>
            <p:cNvPr id="250" name="Freeform 23"/>
            <p:cNvSpPr>
              <a:spLocks/>
            </p:cNvSpPr>
            <p:nvPr/>
          </p:nvSpPr>
          <p:spPr bwMode="auto">
            <a:xfrm>
              <a:off x="3165" y="1967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T America" panose="00000500000000000000" pitchFamily="2" charset="0"/>
                <a:ea typeface="+mn-ea"/>
                <a:cs typeface="+mn-cs"/>
              </a:endParaRPr>
            </a:p>
          </p:txBody>
        </p:sp>
        <p:sp>
          <p:nvSpPr>
            <p:cNvPr id="251" name="Freeform 24"/>
            <p:cNvSpPr>
              <a:spLocks/>
            </p:cNvSpPr>
            <p:nvPr/>
          </p:nvSpPr>
          <p:spPr bwMode="auto">
            <a:xfrm>
              <a:off x="3243" y="1805"/>
              <a:ext cx="6" cy="4"/>
            </a:xfrm>
            <a:custGeom>
              <a:avLst/>
              <a:gdLst>
                <a:gd name="T0" fmla="*/ 0 w 6"/>
                <a:gd name="T1" fmla="*/ 0 h 4"/>
                <a:gd name="T2" fmla="*/ 0 w 6"/>
                <a:gd name="T3" fmla="*/ 0 h 4"/>
                <a:gd name="T4" fmla="*/ 6 w 6"/>
                <a:gd name="T5" fmla="*/ 4 h 4"/>
                <a:gd name="T6" fmla="*/ 6 w 6"/>
                <a:gd name="T7" fmla="*/ 4 h 4"/>
                <a:gd name="T8" fmla="*/ 0 w 6"/>
                <a:gd name="T9" fmla="*/ 0 h 4"/>
                <a:gd name="T10" fmla="*/ 0 w 6"/>
                <a:gd name="T11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4">
                  <a:moveTo>
                    <a:pt x="0" y="0"/>
                  </a:moveTo>
                  <a:lnTo>
                    <a:pt x="0" y="0"/>
                  </a:lnTo>
                  <a:lnTo>
                    <a:pt x="6" y="4"/>
                  </a:lnTo>
                  <a:lnTo>
                    <a:pt x="6" y="4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T America" panose="00000500000000000000" pitchFamily="2" charset="0"/>
                <a:ea typeface="+mn-ea"/>
                <a:cs typeface="+mn-cs"/>
              </a:endParaRPr>
            </a:p>
          </p:txBody>
        </p:sp>
        <p:sp>
          <p:nvSpPr>
            <p:cNvPr id="252" name="Freeform 25"/>
            <p:cNvSpPr>
              <a:spLocks/>
            </p:cNvSpPr>
            <p:nvPr/>
          </p:nvSpPr>
          <p:spPr bwMode="auto">
            <a:xfrm>
              <a:off x="3231" y="1799"/>
              <a:ext cx="4" cy="2"/>
            </a:xfrm>
            <a:custGeom>
              <a:avLst/>
              <a:gdLst>
                <a:gd name="T0" fmla="*/ 4 w 4"/>
                <a:gd name="T1" fmla="*/ 2 h 2"/>
                <a:gd name="T2" fmla="*/ 4 w 4"/>
                <a:gd name="T3" fmla="*/ 2 h 2"/>
                <a:gd name="T4" fmla="*/ 0 w 4"/>
                <a:gd name="T5" fmla="*/ 0 h 2"/>
                <a:gd name="T6" fmla="*/ 0 w 4"/>
                <a:gd name="T7" fmla="*/ 0 h 2"/>
                <a:gd name="T8" fmla="*/ 4 w 4"/>
                <a:gd name="T9" fmla="*/ 2 h 2"/>
                <a:gd name="T10" fmla="*/ 4 w 4"/>
                <a:gd name="T11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" h="2">
                  <a:moveTo>
                    <a:pt x="4" y="2"/>
                  </a:moveTo>
                  <a:lnTo>
                    <a:pt x="4" y="2"/>
                  </a:lnTo>
                  <a:lnTo>
                    <a:pt x="0" y="0"/>
                  </a:lnTo>
                  <a:lnTo>
                    <a:pt x="0" y="0"/>
                  </a:lnTo>
                  <a:lnTo>
                    <a:pt x="4" y="2"/>
                  </a:lnTo>
                  <a:lnTo>
                    <a:pt x="4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T America" panose="00000500000000000000" pitchFamily="2" charset="0"/>
                <a:ea typeface="+mn-ea"/>
                <a:cs typeface="+mn-cs"/>
              </a:endParaRPr>
            </a:p>
          </p:txBody>
        </p:sp>
        <p:sp>
          <p:nvSpPr>
            <p:cNvPr id="253" name="Freeform 26"/>
            <p:cNvSpPr>
              <a:spLocks/>
            </p:cNvSpPr>
            <p:nvPr/>
          </p:nvSpPr>
          <p:spPr bwMode="auto">
            <a:xfrm>
              <a:off x="3227" y="1797"/>
              <a:ext cx="2" cy="2"/>
            </a:xfrm>
            <a:custGeom>
              <a:avLst/>
              <a:gdLst>
                <a:gd name="T0" fmla="*/ 2 w 2"/>
                <a:gd name="T1" fmla="*/ 2 h 2"/>
                <a:gd name="T2" fmla="*/ 2 w 2"/>
                <a:gd name="T3" fmla="*/ 2 h 2"/>
                <a:gd name="T4" fmla="*/ 0 w 2"/>
                <a:gd name="T5" fmla="*/ 0 h 2"/>
                <a:gd name="T6" fmla="*/ 0 w 2"/>
                <a:gd name="T7" fmla="*/ 0 h 2"/>
                <a:gd name="T8" fmla="*/ 2 w 2"/>
                <a:gd name="T9" fmla="*/ 2 h 2"/>
                <a:gd name="T10" fmla="*/ 2 w 2"/>
                <a:gd name="T11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" h="2">
                  <a:moveTo>
                    <a:pt x="2" y="2"/>
                  </a:moveTo>
                  <a:lnTo>
                    <a:pt x="2" y="2"/>
                  </a:lnTo>
                  <a:lnTo>
                    <a:pt x="0" y="0"/>
                  </a:lnTo>
                  <a:lnTo>
                    <a:pt x="0" y="0"/>
                  </a:lnTo>
                  <a:lnTo>
                    <a:pt x="2" y="2"/>
                  </a:lnTo>
                  <a:lnTo>
                    <a:pt x="2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T America" panose="00000500000000000000" pitchFamily="2" charset="0"/>
                <a:ea typeface="+mn-ea"/>
                <a:cs typeface="+mn-cs"/>
              </a:endParaRPr>
            </a:p>
          </p:txBody>
        </p:sp>
        <p:sp>
          <p:nvSpPr>
            <p:cNvPr id="254" name="Freeform 27"/>
            <p:cNvSpPr>
              <a:spLocks/>
            </p:cNvSpPr>
            <p:nvPr/>
          </p:nvSpPr>
          <p:spPr bwMode="auto">
            <a:xfrm>
              <a:off x="3229" y="1799"/>
              <a:ext cx="2" cy="0"/>
            </a:xfrm>
            <a:custGeom>
              <a:avLst/>
              <a:gdLst>
                <a:gd name="T0" fmla="*/ 2 w 2"/>
                <a:gd name="T1" fmla="*/ 2 w 2"/>
                <a:gd name="T2" fmla="*/ 0 w 2"/>
                <a:gd name="T3" fmla="*/ 0 w 2"/>
                <a:gd name="T4" fmla="*/ 2 w 2"/>
                <a:gd name="T5" fmla="*/ 2 w 2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</a:cxnLst>
              <a:rect l="0" t="0" r="r" b="b"/>
              <a:pathLst>
                <a:path w="2">
                  <a:moveTo>
                    <a:pt x="2" y="0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2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T America" panose="00000500000000000000" pitchFamily="2" charset="0"/>
                <a:ea typeface="+mn-ea"/>
                <a:cs typeface="+mn-cs"/>
              </a:endParaRPr>
            </a:p>
          </p:txBody>
        </p:sp>
        <p:sp>
          <p:nvSpPr>
            <p:cNvPr id="255" name="Freeform 28"/>
            <p:cNvSpPr>
              <a:spLocks/>
            </p:cNvSpPr>
            <p:nvPr/>
          </p:nvSpPr>
          <p:spPr bwMode="auto">
            <a:xfrm>
              <a:off x="3806" y="1650"/>
              <a:ext cx="0" cy="4"/>
            </a:xfrm>
            <a:custGeom>
              <a:avLst/>
              <a:gdLst>
                <a:gd name="T0" fmla="*/ 0 h 4"/>
                <a:gd name="T1" fmla="*/ 0 h 4"/>
                <a:gd name="T2" fmla="*/ 4 h 4"/>
                <a:gd name="T3" fmla="*/ 4 h 4"/>
                <a:gd name="T4" fmla="*/ 0 h 4"/>
                <a:gd name="T5" fmla="*/ 0 h 4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  <a:cxn ang="0">
                  <a:pos x="0" y="T5"/>
                </a:cxn>
              </a:cxnLst>
              <a:rect l="0" t="0" r="r" b="b"/>
              <a:pathLst>
                <a:path h="4">
                  <a:moveTo>
                    <a:pt x="0" y="0"/>
                  </a:moveTo>
                  <a:lnTo>
                    <a:pt x="0" y="0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T America" panose="00000500000000000000" pitchFamily="2" charset="0"/>
                <a:ea typeface="+mn-ea"/>
                <a:cs typeface="+mn-cs"/>
              </a:endParaRPr>
            </a:p>
          </p:txBody>
        </p:sp>
        <p:sp>
          <p:nvSpPr>
            <p:cNvPr id="32" name="Freeform 29"/>
            <p:cNvSpPr>
              <a:spLocks/>
            </p:cNvSpPr>
            <p:nvPr/>
          </p:nvSpPr>
          <p:spPr bwMode="auto">
            <a:xfrm>
              <a:off x="3806" y="1654"/>
              <a:ext cx="2" cy="2"/>
            </a:xfrm>
            <a:custGeom>
              <a:avLst/>
              <a:gdLst>
                <a:gd name="T0" fmla="*/ 0 w 2"/>
                <a:gd name="T1" fmla="*/ 0 h 2"/>
                <a:gd name="T2" fmla="*/ 0 w 2"/>
                <a:gd name="T3" fmla="*/ 0 h 2"/>
                <a:gd name="T4" fmla="*/ 2 w 2"/>
                <a:gd name="T5" fmla="*/ 2 h 2"/>
                <a:gd name="T6" fmla="*/ 2 w 2"/>
                <a:gd name="T7" fmla="*/ 2 h 2"/>
                <a:gd name="T8" fmla="*/ 0 w 2"/>
                <a:gd name="T9" fmla="*/ 0 h 2"/>
                <a:gd name="T10" fmla="*/ 0 w 2"/>
                <a:gd name="T11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" h="2">
                  <a:moveTo>
                    <a:pt x="0" y="0"/>
                  </a:moveTo>
                  <a:lnTo>
                    <a:pt x="0" y="0"/>
                  </a:lnTo>
                  <a:lnTo>
                    <a:pt x="2" y="2"/>
                  </a:lnTo>
                  <a:lnTo>
                    <a:pt x="2" y="2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T America" panose="00000500000000000000" pitchFamily="2" charset="0"/>
                <a:ea typeface="+mn-ea"/>
                <a:cs typeface="+mn-cs"/>
              </a:endParaRPr>
            </a:p>
          </p:txBody>
        </p:sp>
        <p:sp>
          <p:nvSpPr>
            <p:cNvPr id="34" name="Freeform 30"/>
            <p:cNvSpPr>
              <a:spLocks/>
            </p:cNvSpPr>
            <p:nvPr/>
          </p:nvSpPr>
          <p:spPr bwMode="auto">
            <a:xfrm>
              <a:off x="3804" y="1634"/>
              <a:ext cx="0" cy="4"/>
            </a:xfrm>
            <a:custGeom>
              <a:avLst/>
              <a:gdLst>
                <a:gd name="T0" fmla="*/ 4 h 4"/>
                <a:gd name="T1" fmla="*/ 4 h 4"/>
                <a:gd name="T2" fmla="*/ 0 h 4"/>
                <a:gd name="T3" fmla="*/ 0 h 4"/>
                <a:gd name="T4" fmla="*/ 4 h 4"/>
                <a:gd name="T5" fmla="*/ 4 h 4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  <a:cxn ang="0">
                  <a:pos x="0" y="T5"/>
                </a:cxn>
              </a:cxnLst>
              <a:rect l="0" t="0" r="r" b="b"/>
              <a:pathLst>
                <a:path h="4">
                  <a:moveTo>
                    <a:pt x="0" y="4"/>
                  </a:moveTo>
                  <a:lnTo>
                    <a:pt x="0" y="4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4"/>
                  </a:lnTo>
                  <a:lnTo>
                    <a:pt x="0" y="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T America" panose="00000500000000000000" pitchFamily="2" charset="0"/>
                <a:ea typeface="+mn-ea"/>
                <a:cs typeface="+mn-cs"/>
              </a:endParaRPr>
            </a:p>
          </p:txBody>
        </p:sp>
        <p:sp>
          <p:nvSpPr>
            <p:cNvPr id="36" name="Freeform 31"/>
            <p:cNvSpPr>
              <a:spLocks/>
            </p:cNvSpPr>
            <p:nvPr/>
          </p:nvSpPr>
          <p:spPr bwMode="auto">
            <a:xfrm>
              <a:off x="3806" y="1646"/>
              <a:ext cx="0" cy="4"/>
            </a:xfrm>
            <a:custGeom>
              <a:avLst/>
              <a:gdLst>
                <a:gd name="T0" fmla="*/ 0 h 4"/>
                <a:gd name="T1" fmla="*/ 0 h 4"/>
                <a:gd name="T2" fmla="*/ 4 h 4"/>
                <a:gd name="T3" fmla="*/ 4 h 4"/>
                <a:gd name="T4" fmla="*/ 0 h 4"/>
                <a:gd name="T5" fmla="*/ 0 h 4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  <a:cxn ang="0">
                  <a:pos x="0" y="T5"/>
                </a:cxn>
              </a:cxnLst>
              <a:rect l="0" t="0" r="r" b="b"/>
              <a:pathLst>
                <a:path h="4">
                  <a:moveTo>
                    <a:pt x="0" y="0"/>
                  </a:moveTo>
                  <a:lnTo>
                    <a:pt x="0" y="0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T America" panose="00000500000000000000" pitchFamily="2" charset="0"/>
                <a:ea typeface="+mn-ea"/>
                <a:cs typeface="+mn-cs"/>
              </a:endParaRPr>
            </a:p>
          </p:txBody>
        </p:sp>
        <p:sp>
          <p:nvSpPr>
            <p:cNvPr id="43" name="Rectangle 32"/>
            <p:cNvSpPr>
              <a:spLocks noChangeArrowheads="1"/>
            </p:cNvSpPr>
            <p:nvPr/>
          </p:nvSpPr>
          <p:spPr bwMode="auto">
            <a:xfrm>
              <a:off x="3808" y="1656"/>
              <a:ext cx="1" cy="1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T America" panose="00000500000000000000" pitchFamily="2" charset="0"/>
                <a:ea typeface="+mn-ea"/>
                <a:cs typeface="+mn-cs"/>
              </a:endParaRPr>
            </a:p>
          </p:txBody>
        </p:sp>
        <p:sp>
          <p:nvSpPr>
            <p:cNvPr id="44" name="Freeform 33"/>
            <p:cNvSpPr>
              <a:spLocks/>
            </p:cNvSpPr>
            <p:nvPr/>
          </p:nvSpPr>
          <p:spPr bwMode="auto">
            <a:xfrm>
              <a:off x="3804" y="1638"/>
              <a:ext cx="2" cy="8"/>
            </a:xfrm>
            <a:custGeom>
              <a:avLst/>
              <a:gdLst>
                <a:gd name="T0" fmla="*/ 0 w 2"/>
                <a:gd name="T1" fmla="*/ 0 h 8"/>
                <a:gd name="T2" fmla="*/ 0 w 2"/>
                <a:gd name="T3" fmla="*/ 0 h 8"/>
                <a:gd name="T4" fmla="*/ 0 w 2"/>
                <a:gd name="T5" fmla="*/ 2 h 8"/>
                <a:gd name="T6" fmla="*/ 0 w 2"/>
                <a:gd name="T7" fmla="*/ 2 h 8"/>
                <a:gd name="T8" fmla="*/ 2 w 2"/>
                <a:gd name="T9" fmla="*/ 8 h 8"/>
                <a:gd name="T10" fmla="*/ 2 w 2"/>
                <a:gd name="T11" fmla="*/ 8 h 8"/>
                <a:gd name="T12" fmla="*/ 0 w 2"/>
                <a:gd name="T13" fmla="*/ 0 h 8"/>
                <a:gd name="T14" fmla="*/ 0 w 2"/>
                <a:gd name="T15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" h="8">
                  <a:moveTo>
                    <a:pt x="0" y="0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2" y="8"/>
                  </a:lnTo>
                  <a:lnTo>
                    <a:pt x="2" y="8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T America" panose="00000500000000000000" pitchFamily="2" charset="0"/>
                <a:ea typeface="+mn-ea"/>
                <a:cs typeface="+mn-cs"/>
              </a:endParaRPr>
            </a:p>
          </p:txBody>
        </p:sp>
        <p:sp>
          <p:nvSpPr>
            <p:cNvPr id="45" name="Freeform 34"/>
            <p:cNvSpPr>
              <a:spLocks/>
            </p:cNvSpPr>
            <p:nvPr/>
          </p:nvSpPr>
          <p:spPr bwMode="auto">
            <a:xfrm>
              <a:off x="3802" y="1624"/>
              <a:ext cx="2" cy="10"/>
            </a:xfrm>
            <a:custGeom>
              <a:avLst/>
              <a:gdLst>
                <a:gd name="T0" fmla="*/ 2 w 2"/>
                <a:gd name="T1" fmla="*/ 10 h 10"/>
                <a:gd name="T2" fmla="*/ 2 w 2"/>
                <a:gd name="T3" fmla="*/ 10 h 10"/>
                <a:gd name="T4" fmla="*/ 0 w 2"/>
                <a:gd name="T5" fmla="*/ 0 h 10"/>
                <a:gd name="T6" fmla="*/ 0 w 2"/>
                <a:gd name="T7" fmla="*/ 0 h 10"/>
                <a:gd name="T8" fmla="*/ 2 w 2"/>
                <a:gd name="T9" fmla="*/ 10 h 10"/>
                <a:gd name="T10" fmla="*/ 2 w 2"/>
                <a:gd name="T11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" h="10">
                  <a:moveTo>
                    <a:pt x="2" y="10"/>
                  </a:moveTo>
                  <a:lnTo>
                    <a:pt x="2" y="10"/>
                  </a:lnTo>
                  <a:lnTo>
                    <a:pt x="0" y="0"/>
                  </a:lnTo>
                  <a:lnTo>
                    <a:pt x="0" y="0"/>
                  </a:lnTo>
                  <a:lnTo>
                    <a:pt x="2" y="10"/>
                  </a:lnTo>
                  <a:lnTo>
                    <a:pt x="2" y="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T America" panose="00000500000000000000" pitchFamily="2" charset="0"/>
                <a:ea typeface="+mn-ea"/>
                <a:cs typeface="+mn-cs"/>
              </a:endParaRPr>
            </a:p>
          </p:txBody>
        </p:sp>
        <p:sp>
          <p:nvSpPr>
            <p:cNvPr id="46" name="Rectangle 35"/>
            <p:cNvSpPr>
              <a:spLocks noChangeArrowheads="1"/>
            </p:cNvSpPr>
            <p:nvPr/>
          </p:nvSpPr>
          <p:spPr bwMode="auto">
            <a:xfrm>
              <a:off x="3802" y="1624"/>
              <a:ext cx="1" cy="1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T America" panose="00000500000000000000" pitchFamily="2" charset="0"/>
                <a:ea typeface="+mn-ea"/>
                <a:cs typeface="+mn-cs"/>
              </a:endParaRPr>
            </a:p>
          </p:txBody>
        </p:sp>
        <p:sp>
          <p:nvSpPr>
            <p:cNvPr id="48" name="Freeform 36"/>
            <p:cNvSpPr>
              <a:spLocks/>
            </p:cNvSpPr>
            <p:nvPr/>
          </p:nvSpPr>
          <p:spPr bwMode="auto">
            <a:xfrm>
              <a:off x="4445" y="2377"/>
              <a:ext cx="2" cy="0"/>
            </a:xfrm>
            <a:custGeom>
              <a:avLst/>
              <a:gdLst>
                <a:gd name="T0" fmla="*/ 2 w 2"/>
                <a:gd name="T1" fmla="*/ 2 w 2"/>
                <a:gd name="T2" fmla="*/ 0 w 2"/>
                <a:gd name="T3" fmla="*/ 2 w 2"/>
                <a:gd name="T4" fmla="*/ 2 w 2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</a:cxnLst>
              <a:rect l="0" t="0" r="r" b="b"/>
              <a:pathLst>
                <a:path w="2">
                  <a:moveTo>
                    <a:pt x="2" y="0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2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T America" panose="00000500000000000000" pitchFamily="2" charset="0"/>
                <a:ea typeface="+mn-ea"/>
                <a:cs typeface="+mn-cs"/>
              </a:endParaRPr>
            </a:p>
          </p:txBody>
        </p:sp>
        <p:sp>
          <p:nvSpPr>
            <p:cNvPr id="49" name="Freeform 37"/>
            <p:cNvSpPr>
              <a:spLocks/>
            </p:cNvSpPr>
            <p:nvPr/>
          </p:nvSpPr>
          <p:spPr bwMode="auto">
            <a:xfrm>
              <a:off x="4461" y="2381"/>
              <a:ext cx="14" cy="4"/>
            </a:xfrm>
            <a:custGeom>
              <a:avLst/>
              <a:gdLst>
                <a:gd name="T0" fmla="*/ 0 w 14"/>
                <a:gd name="T1" fmla="*/ 0 h 4"/>
                <a:gd name="T2" fmla="*/ 0 w 14"/>
                <a:gd name="T3" fmla="*/ 0 h 4"/>
                <a:gd name="T4" fmla="*/ 14 w 14"/>
                <a:gd name="T5" fmla="*/ 4 h 4"/>
                <a:gd name="T6" fmla="*/ 0 w 14"/>
                <a:gd name="T7" fmla="*/ 0 h 4"/>
                <a:gd name="T8" fmla="*/ 0 w 14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4">
                  <a:moveTo>
                    <a:pt x="0" y="0"/>
                  </a:moveTo>
                  <a:lnTo>
                    <a:pt x="0" y="0"/>
                  </a:lnTo>
                  <a:lnTo>
                    <a:pt x="14" y="4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T America" panose="00000500000000000000" pitchFamily="2" charset="0"/>
                <a:ea typeface="+mn-ea"/>
                <a:cs typeface="+mn-cs"/>
              </a:endParaRPr>
            </a:p>
          </p:txBody>
        </p:sp>
        <p:sp>
          <p:nvSpPr>
            <p:cNvPr id="51" name="Freeform 38"/>
            <p:cNvSpPr>
              <a:spLocks/>
            </p:cNvSpPr>
            <p:nvPr/>
          </p:nvSpPr>
          <p:spPr bwMode="auto">
            <a:xfrm>
              <a:off x="4499" y="2204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T America" panose="00000500000000000000" pitchFamily="2" charset="0"/>
                <a:ea typeface="+mn-ea"/>
                <a:cs typeface="+mn-cs"/>
              </a:endParaRPr>
            </a:p>
          </p:txBody>
        </p:sp>
        <p:sp>
          <p:nvSpPr>
            <p:cNvPr id="56" name="Freeform 39"/>
            <p:cNvSpPr>
              <a:spLocks noEditPoints="1"/>
            </p:cNvSpPr>
            <p:nvPr/>
          </p:nvSpPr>
          <p:spPr bwMode="auto">
            <a:xfrm>
              <a:off x="3101" y="1558"/>
              <a:ext cx="1478" cy="1204"/>
            </a:xfrm>
            <a:custGeom>
              <a:avLst/>
              <a:gdLst>
                <a:gd name="T0" fmla="*/ 861 w 1478"/>
                <a:gd name="T1" fmla="*/ 572 h 1204"/>
                <a:gd name="T2" fmla="*/ 1049 w 1478"/>
                <a:gd name="T3" fmla="*/ 241 h 1204"/>
                <a:gd name="T4" fmla="*/ 1180 w 1478"/>
                <a:gd name="T5" fmla="*/ 167 h 1204"/>
                <a:gd name="T6" fmla="*/ 1065 w 1478"/>
                <a:gd name="T7" fmla="*/ 46 h 1204"/>
                <a:gd name="T8" fmla="*/ 995 w 1478"/>
                <a:gd name="T9" fmla="*/ 185 h 1204"/>
                <a:gd name="T10" fmla="*/ 649 w 1478"/>
                <a:gd name="T11" fmla="*/ 195 h 1204"/>
                <a:gd name="T12" fmla="*/ 689 w 1478"/>
                <a:gd name="T13" fmla="*/ 44 h 1204"/>
                <a:gd name="T14" fmla="*/ 527 w 1478"/>
                <a:gd name="T15" fmla="*/ 44 h 1204"/>
                <a:gd name="T16" fmla="*/ 573 w 1478"/>
                <a:gd name="T17" fmla="*/ 197 h 1204"/>
                <a:gd name="T18" fmla="*/ 553 w 1478"/>
                <a:gd name="T19" fmla="*/ 522 h 1204"/>
                <a:gd name="T20" fmla="*/ 138 w 1478"/>
                <a:gd name="T21" fmla="*/ 245 h 1204"/>
                <a:gd name="T22" fmla="*/ 2 w 1478"/>
                <a:gd name="T23" fmla="*/ 313 h 1204"/>
                <a:gd name="T24" fmla="*/ 102 w 1478"/>
                <a:gd name="T25" fmla="*/ 439 h 1204"/>
                <a:gd name="T26" fmla="*/ 543 w 1478"/>
                <a:gd name="T27" fmla="*/ 638 h 1204"/>
                <a:gd name="T28" fmla="*/ 160 w 1478"/>
                <a:gd name="T29" fmla="*/ 995 h 1204"/>
                <a:gd name="T30" fmla="*/ 146 w 1478"/>
                <a:gd name="T31" fmla="*/ 1152 h 1204"/>
                <a:gd name="T32" fmla="*/ 302 w 1478"/>
                <a:gd name="T33" fmla="*/ 1122 h 1204"/>
                <a:gd name="T34" fmla="*/ 625 w 1478"/>
                <a:gd name="T35" fmla="*/ 744 h 1204"/>
                <a:gd name="T36" fmla="*/ 773 w 1478"/>
                <a:gd name="T37" fmla="*/ 744 h 1204"/>
                <a:gd name="T38" fmla="*/ 1120 w 1478"/>
                <a:gd name="T39" fmla="*/ 1146 h 1204"/>
                <a:gd name="T40" fmla="*/ 1276 w 1478"/>
                <a:gd name="T41" fmla="*/ 1174 h 1204"/>
                <a:gd name="T42" fmla="*/ 1264 w 1478"/>
                <a:gd name="T43" fmla="*/ 1019 h 1204"/>
                <a:gd name="T44" fmla="*/ 851 w 1478"/>
                <a:gd name="T45" fmla="*/ 652 h 1204"/>
                <a:gd name="T46" fmla="*/ 1344 w 1478"/>
                <a:gd name="T47" fmla="*/ 817 h 1204"/>
                <a:gd name="T48" fmla="*/ 1378 w 1478"/>
                <a:gd name="T49" fmla="*/ 825 h 1204"/>
                <a:gd name="T50" fmla="*/ 1472 w 1478"/>
                <a:gd name="T51" fmla="*/ 686 h 1204"/>
                <a:gd name="T52" fmla="*/ 1039 w 1478"/>
                <a:gd name="T53" fmla="*/ 82 h 1204"/>
                <a:gd name="T54" fmla="*/ 1025 w 1478"/>
                <a:gd name="T55" fmla="*/ 98 h 1204"/>
                <a:gd name="T56" fmla="*/ 1057 w 1478"/>
                <a:gd name="T57" fmla="*/ 74 h 1204"/>
                <a:gd name="T58" fmla="*/ 1160 w 1478"/>
                <a:gd name="T59" fmla="*/ 146 h 1204"/>
                <a:gd name="T60" fmla="*/ 1057 w 1478"/>
                <a:gd name="T61" fmla="*/ 219 h 1204"/>
                <a:gd name="T62" fmla="*/ 1031 w 1478"/>
                <a:gd name="T63" fmla="*/ 90 h 1204"/>
                <a:gd name="T64" fmla="*/ 547 w 1478"/>
                <a:gd name="T65" fmla="*/ 58 h 1204"/>
                <a:gd name="T66" fmla="*/ 669 w 1478"/>
                <a:gd name="T67" fmla="*/ 58 h 1204"/>
                <a:gd name="T68" fmla="*/ 623 w 1478"/>
                <a:gd name="T69" fmla="*/ 179 h 1204"/>
                <a:gd name="T70" fmla="*/ 56 w 1478"/>
                <a:gd name="T71" fmla="*/ 405 h 1204"/>
                <a:gd name="T72" fmla="*/ 64 w 1478"/>
                <a:gd name="T73" fmla="*/ 407 h 1204"/>
                <a:gd name="T74" fmla="*/ 30 w 1478"/>
                <a:gd name="T75" fmla="*/ 303 h 1204"/>
                <a:gd name="T76" fmla="*/ 142 w 1478"/>
                <a:gd name="T77" fmla="*/ 275 h 1204"/>
                <a:gd name="T78" fmla="*/ 134 w 1478"/>
                <a:gd name="T79" fmla="*/ 405 h 1204"/>
                <a:gd name="T80" fmla="*/ 74 w 1478"/>
                <a:gd name="T81" fmla="*/ 413 h 1204"/>
                <a:gd name="T82" fmla="*/ 72 w 1478"/>
                <a:gd name="T83" fmla="*/ 411 h 1204"/>
                <a:gd name="T84" fmla="*/ 268 w 1478"/>
                <a:gd name="T85" fmla="*/ 1134 h 1204"/>
                <a:gd name="T86" fmla="*/ 152 w 1478"/>
                <a:gd name="T87" fmla="*/ 1122 h 1204"/>
                <a:gd name="T88" fmla="*/ 200 w 1478"/>
                <a:gd name="T89" fmla="*/ 1001 h 1204"/>
                <a:gd name="T90" fmla="*/ 288 w 1478"/>
                <a:gd name="T91" fmla="*/ 1094 h 1204"/>
                <a:gd name="T92" fmla="*/ 635 w 1478"/>
                <a:gd name="T93" fmla="*/ 694 h 1204"/>
                <a:gd name="T94" fmla="*/ 603 w 1478"/>
                <a:gd name="T95" fmla="*/ 524 h 1204"/>
                <a:gd name="T96" fmla="*/ 735 w 1478"/>
                <a:gd name="T97" fmla="*/ 474 h 1204"/>
                <a:gd name="T98" fmla="*/ 815 w 1478"/>
                <a:gd name="T99" fmla="*/ 616 h 1204"/>
                <a:gd name="T100" fmla="*/ 1268 w 1478"/>
                <a:gd name="T101" fmla="*/ 1056 h 1204"/>
                <a:gd name="T102" fmla="*/ 1276 w 1478"/>
                <a:gd name="T103" fmla="*/ 1132 h 1204"/>
                <a:gd name="T104" fmla="*/ 1154 w 1478"/>
                <a:gd name="T105" fmla="*/ 1158 h 1204"/>
                <a:gd name="T106" fmla="*/ 1166 w 1478"/>
                <a:gd name="T107" fmla="*/ 1037 h 1204"/>
                <a:gd name="T108" fmla="*/ 1448 w 1478"/>
                <a:gd name="T109" fmla="*/ 755 h 1204"/>
                <a:gd name="T110" fmla="*/ 1326 w 1478"/>
                <a:gd name="T111" fmla="*/ 777 h 1204"/>
                <a:gd name="T112" fmla="*/ 1354 w 1478"/>
                <a:gd name="T113" fmla="*/ 650 h 1204"/>
                <a:gd name="T114" fmla="*/ 1398 w 1478"/>
                <a:gd name="T115" fmla="*/ 646 h 1204"/>
                <a:gd name="T116" fmla="*/ 1408 w 1478"/>
                <a:gd name="T117" fmla="*/ 648 h 1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478" h="1204">
                  <a:moveTo>
                    <a:pt x="1402" y="622"/>
                  </a:moveTo>
                  <a:lnTo>
                    <a:pt x="1402" y="622"/>
                  </a:lnTo>
                  <a:lnTo>
                    <a:pt x="1386" y="620"/>
                  </a:lnTo>
                  <a:lnTo>
                    <a:pt x="1370" y="620"/>
                  </a:lnTo>
                  <a:lnTo>
                    <a:pt x="1354" y="624"/>
                  </a:lnTo>
                  <a:lnTo>
                    <a:pt x="1338" y="630"/>
                  </a:lnTo>
                  <a:lnTo>
                    <a:pt x="1324" y="638"/>
                  </a:lnTo>
                  <a:lnTo>
                    <a:pt x="1312" y="650"/>
                  </a:lnTo>
                  <a:lnTo>
                    <a:pt x="1302" y="662"/>
                  </a:lnTo>
                  <a:lnTo>
                    <a:pt x="1294" y="676"/>
                  </a:lnTo>
                  <a:lnTo>
                    <a:pt x="861" y="572"/>
                  </a:lnTo>
                  <a:lnTo>
                    <a:pt x="861" y="572"/>
                  </a:lnTo>
                  <a:lnTo>
                    <a:pt x="859" y="558"/>
                  </a:lnTo>
                  <a:lnTo>
                    <a:pt x="855" y="544"/>
                  </a:lnTo>
                  <a:lnTo>
                    <a:pt x="851" y="530"/>
                  </a:lnTo>
                  <a:lnTo>
                    <a:pt x="845" y="516"/>
                  </a:lnTo>
                  <a:lnTo>
                    <a:pt x="837" y="502"/>
                  </a:lnTo>
                  <a:lnTo>
                    <a:pt x="831" y="490"/>
                  </a:lnTo>
                  <a:lnTo>
                    <a:pt x="811" y="468"/>
                  </a:lnTo>
                  <a:lnTo>
                    <a:pt x="1033" y="235"/>
                  </a:lnTo>
                  <a:lnTo>
                    <a:pt x="1033" y="235"/>
                  </a:lnTo>
                  <a:lnTo>
                    <a:pt x="1049" y="241"/>
                  </a:lnTo>
                  <a:lnTo>
                    <a:pt x="1063" y="247"/>
                  </a:lnTo>
                  <a:lnTo>
                    <a:pt x="1079" y="249"/>
                  </a:lnTo>
                  <a:lnTo>
                    <a:pt x="1095" y="249"/>
                  </a:lnTo>
                  <a:lnTo>
                    <a:pt x="1112" y="245"/>
                  </a:lnTo>
                  <a:lnTo>
                    <a:pt x="1126" y="239"/>
                  </a:lnTo>
                  <a:lnTo>
                    <a:pt x="1140" y="231"/>
                  </a:lnTo>
                  <a:lnTo>
                    <a:pt x="1154" y="219"/>
                  </a:lnTo>
                  <a:lnTo>
                    <a:pt x="1154" y="219"/>
                  </a:lnTo>
                  <a:lnTo>
                    <a:pt x="1166" y="203"/>
                  </a:lnTo>
                  <a:lnTo>
                    <a:pt x="1176" y="185"/>
                  </a:lnTo>
                  <a:lnTo>
                    <a:pt x="1180" y="167"/>
                  </a:lnTo>
                  <a:lnTo>
                    <a:pt x="1182" y="146"/>
                  </a:lnTo>
                  <a:lnTo>
                    <a:pt x="1180" y="126"/>
                  </a:lnTo>
                  <a:lnTo>
                    <a:pt x="1176" y="108"/>
                  </a:lnTo>
                  <a:lnTo>
                    <a:pt x="1166" y="90"/>
                  </a:lnTo>
                  <a:lnTo>
                    <a:pt x="1154" y="74"/>
                  </a:lnTo>
                  <a:lnTo>
                    <a:pt x="1154" y="74"/>
                  </a:lnTo>
                  <a:lnTo>
                    <a:pt x="1138" y="60"/>
                  </a:lnTo>
                  <a:lnTo>
                    <a:pt x="1122" y="52"/>
                  </a:lnTo>
                  <a:lnTo>
                    <a:pt x="1103" y="46"/>
                  </a:lnTo>
                  <a:lnTo>
                    <a:pt x="1085" y="44"/>
                  </a:lnTo>
                  <a:lnTo>
                    <a:pt x="1065" y="46"/>
                  </a:lnTo>
                  <a:lnTo>
                    <a:pt x="1047" y="52"/>
                  </a:lnTo>
                  <a:lnTo>
                    <a:pt x="1031" y="60"/>
                  </a:lnTo>
                  <a:lnTo>
                    <a:pt x="1015" y="74"/>
                  </a:lnTo>
                  <a:lnTo>
                    <a:pt x="1015" y="74"/>
                  </a:lnTo>
                  <a:lnTo>
                    <a:pt x="1005" y="88"/>
                  </a:lnTo>
                  <a:lnTo>
                    <a:pt x="997" y="102"/>
                  </a:lnTo>
                  <a:lnTo>
                    <a:pt x="991" y="118"/>
                  </a:lnTo>
                  <a:lnTo>
                    <a:pt x="987" y="134"/>
                  </a:lnTo>
                  <a:lnTo>
                    <a:pt x="987" y="153"/>
                  </a:lnTo>
                  <a:lnTo>
                    <a:pt x="989" y="169"/>
                  </a:lnTo>
                  <a:lnTo>
                    <a:pt x="995" y="185"/>
                  </a:lnTo>
                  <a:lnTo>
                    <a:pt x="1001" y="201"/>
                  </a:lnTo>
                  <a:lnTo>
                    <a:pt x="775" y="439"/>
                  </a:lnTo>
                  <a:lnTo>
                    <a:pt x="775" y="439"/>
                  </a:lnTo>
                  <a:lnTo>
                    <a:pt x="757" y="431"/>
                  </a:lnTo>
                  <a:lnTo>
                    <a:pt x="739" y="425"/>
                  </a:lnTo>
                  <a:lnTo>
                    <a:pt x="719" y="421"/>
                  </a:lnTo>
                  <a:lnTo>
                    <a:pt x="699" y="421"/>
                  </a:lnTo>
                  <a:lnTo>
                    <a:pt x="699" y="421"/>
                  </a:lnTo>
                  <a:lnTo>
                    <a:pt x="691" y="421"/>
                  </a:lnTo>
                  <a:lnTo>
                    <a:pt x="649" y="195"/>
                  </a:lnTo>
                  <a:lnTo>
                    <a:pt x="649" y="195"/>
                  </a:lnTo>
                  <a:lnTo>
                    <a:pt x="663" y="187"/>
                  </a:lnTo>
                  <a:lnTo>
                    <a:pt x="675" y="177"/>
                  </a:lnTo>
                  <a:lnTo>
                    <a:pt x="685" y="163"/>
                  </a:lnTo>
                  <a:lnTo>
                    <a:pt x="695" y="148"/>
                  </a:lnTo>
                  <a:lnTo>
                    <a:pt x="701" y="134"/>
                  </a:lnTo>
                  <a:lnTo>
                    <a:pt x="705" y="116"/>
                  </a:lnTo>
                  <a:lnTo>
                    <a:pt x="705" y="100"/>
                  </a:lnTo>
                  <a:lnTo>
                    <a:pt x="703" y="82"/>
                  </a:lnTo>
                  <a:lnTo>
                    <a:pt x="703" y="82"/>
                  </a:lnTo>
                  <a:lnTo>
                    <a:pt x="697" y="62"/>
                  </a:lnTo>
                  <a:lnTo>
                    <a:pt x="689" y="44"/>
                  </a:lnTo>
                  <a:lnTo>
                    <a:pt x="677" y="30"/>
                  </a:lnTo>
                  <a:lnTo>
                    <a:pt x="663" y="16"/>
                  </a:lnTo>
                  <a:lnTo>
                    <a:pt x="645" y="8"/>
                  </a:lnTo>
                  <a:lnTo>
                    <a:pt x="629" y="2"/>
                  </a:lnTo>
                  <a:lnTo>
                    <a:pt x="609" y="0"/>
                  </a:lnTo>
                  <a:lnTo>
                    <a:pt x="589" y="2"/>
                  </a:lnTo>
                  <a:lnTo>
                    <a:pt x="589" y="2"/>
                  </a:lnTo>
                  <a:lnTo>
                    <a:pt x="571" y="6"/>
                  </a:lnTo>
                  <a:lnTo>
                    <a:pt x="553" y="16"/>
                  </a:lnTo>
                  <a:lnTo>
                    <a:pt x="539" y="30"/>
                  </a:lnTo>
                  <a:lnTo>
                    <a:pt x="527" y="44"/>
                  </a:lnTo>
                  <a:lnTo>
                    <a:pt x="519" y="62"/>
                  </a:lnTo>
                  <a:lnTo>
                    <a:pt x="513" y="80"/>
                  </a:lnTo>
                  <a:lnTo>
                    <a:pt x="511" y="100"/>
                  </a:lnTo>
                  <a:lnTo>
                    <a:pt x="513" y="120"/>
                  </a:lnTo>
                  <a:lnTo>
                    <a:pt x="513" y="120"/>
                  </a:lnTo>
                  <a:lnTo>
                    <a:pt x="517" y="138"/>
                  </a:lnTo>
                  <a:lnTo>
                    <a:pt x="525" y="155"/>
                  </a:lnTo>
                  <a:lnTo>
                    <a:pt x="533" y="169"/>
                  </a:lnTo>
                  <a:lnTo>
                    <a:pt x="545" y="181"/>
                  </a:lnTo>
                  <a:lnTo>
                    <a:pt x="559" y="189"/>
                  </a:lnTo>
                  <a:lnTo>
                    <a:pt x="573" y="197"/>
                  </a:lnTo>
                  <a:lnTo>
                    <a:pt x="587" y="203"/>
                  </a:lnTo>
                  <a:lnTo>
                    <a:pt x="603" y="205"/>
                  </a:lnTo>
                  <a:lnTo>
                    <a:pt x="645" y="431"/>
                  </a:lnTo>
                  <a:lnTo>
                    <a:pt x="645" y="431"/>
                  </a:lnTo>
                  <a:lnTo>
                    <a:pt x="629" y="437"/>
                  </a:lnTo>
                  <a:lnTo>
                    <a:pt x="613" y="447"/>
                  </a:lnTo>
                  <a:lnTo>
                    <a:pt x="597" y="460"/>
                  </a:lnTo>
                  <a:lnTo>
                    <a:pt x="583" y="474"/>
                  </a:lnTo>
                  <a:lnTo>
                    <a:pt x="571" y="488"/>
                  </a:lnTo>
                  <a:lnTo>
                    <a:pt x="561" y="504"/>
                  </a:lnTo>
                  <a:lnTo>
                    <a:pt x="553" y="522"/>
                  </a:lnTo>
                  <a:lnTo>
                    <a:pt x="545" y="540"/>
                  </a:lnTo>
                  <a:lnTo>
                    <a:pt x="192" y="359"/>
                  </a:lnTo>
                  <a:lnTo>
                    <a:pt x="192" y="359"/>
                  </a:lnTo>
                  <a:lnTo>
                    <a:pt x="194" y="343"/>
                  </a:lnTo>
                  <a:lnTo>
                    <a:pt x="192" y="325"/>
                  </a:lnTo>
                  <a:lnTo>
                    <a:pt x="190" y="309"/>
                  </a:lnTo>
                  <a:lnTo>
                    <a:pt x="184" y="293"/>
                  </a:lnTo>
                  <a:lnTo>
                    <a:pt x="176" y="279"/>
                  </a:lnTo>
                  <a:lnTo>
                    <a:pt x="166" y="265"/>
                  </a:lnTo>
                  <a:lnTo>
                    <a:pt x="154" y="255"/>
                  </a:lnTo>
                  <a:lnTo>
                    <a:pt x="138" y="245"/>
                  </a:lnTo>
                  <a:lnTo>
                    <a:pt x="138" y="245"/>
                  </a:lnTo>
                  <a:lnTo>
                    <a:pt x="120" y="239"/>
                  </a:lnTo>
                  <a:lnTo>
                    <a:pt x="102" y="235"/>
                  </a:lnTo>
                  <a:lnTo>
                    <a:pt x="82" y="237"/>
                  </a:lnTo>
                  <a:lnTo>
                    <a:pt x="64" y="241"/>
                  </a:lnTo>
                  <a:lnTo>
                    <a:pt x="48" y="249"/>
                  </a:lnTo>
                  <a:lnTo>
                    <a:pt x="32" y="261"/>
                  </a:lnTo>
                  <a:lnTo>
                    <a:pt x="20" y="275"/>
                  </a:lnTo>
                  <a:lnTo>
                    <a:pt x="10" y="293"/>
                  </a:lnTo>
                  <a:lnTo>
                    <a:pt x="10" y="293"/>
                  </a:lnTo>
                  <a:lnTo>
                    <a:pt x="2" y="313"/>
                  </a:lnTo>
                  <a:lnTo>
                    <a:pt x="0" y="333"/>
                  </a:lnTo>
                  <a:lnTo>
                    <a:pt x="0" y="353"/>
                  </a:lnTo>
                  <a:lnTo>
                    <a:pt x="6" y="371"/>
                  </a:lnTo>
                  <a:lnTo>
                    <a:pt x="12" y="389"/>
                  </a:lnTo>
                  <a:lnTo>
                    <a:pt x="24" y="405"/>
                  </a:lnTo>
                  <a:lnTo>
                    <a:pt x="38" y="419"/>
                  </a:lnTo>
                  <a:lnTo>
                    <a:pt x="54" y="429"/>
                  </a:lnTo>
                  <a:lnTo>
                    <a:pt x="54" y="429"/>
                  </a:lnTo>
                  <a:lnTo>
                    <a:pt x="70" y="435"/>
                  </a:lnTo>
                  <a:lnTo>
                    <a:pt x="86" y="439"/>
                  </a:lnTo>
                  <a:lnTo>
                    <a:pt x="102" y="439"/>
                  </a:lnTo>
                  <a:lnTo>
                    <a:pt x="118" y="437"/>
                  </a:lnTo>
                  <a:lnTo>
                    <a:pt x="134" y="433"/>
                  </a:lnTo>
                  <a:lnTo>
                    <a:pt x="148" y="425"/>
                  </a:lnTo>
                  <a:lnTo>
                    <a:pt x="160" y="415"/>
                  </a:lnTo>
                  <a:lnTo>
                    <a:pt x="172" y="403"/>
                  </a:lnTo>
                  <a:lnTo>
                    <a:pt x="537" y="590"/>
                  </a:lnTo>
                  <a:lnTo>
                    <a:pt x="537" y="590"/>
                  </a:lnTo>
                  <a:lnTo>
                    <a:pt x="537" y="592"/>
                  </a:lnTo>
                  <a:lnTo>
                    <a:pt x="537" y="592"/>
                  </a:lnTo>
                  <a:lnTo>
                    <a:pt x="539" y="616"/>
                  </a:lnTo>
                  <a:lnTo>
                    <a:pt x="543" y="638"/>
                  </a:lnTo>
                  <a:lnTo>
                    <a:pt x="551" y="660"/>
                  </a:lnTo>
                  <a:lnTo>
                    <a:pt x="561" y="680"/>
                  </a:lnTo>
                  <a:lnTo>
                    <a:pt x="266" y="991"/>
                  </a:lnTo>
                  <a:lnTo>
                    <a:pt x="266" y="991"/>
                  </a:lnTo>
                  <a:lnTo>
                    <a:pt x="250" y="983"/>
                  </a:lnTo>
                  <a:lnTo>
                    <a:pt x="236" y="979"/>
                  </a:lnTo>
                  <a:lnTo>
                    <a:pt x="220" y="975"/>
                  </a:lnTo>
                  <a:lnTo>
                    <a:pt x="204" y="977"/>
                  </a:lnTo>
                  <a:lnTo>
                    <a:pt x="188" y="979"/>
                  </a:lnTo>
                  <a:lnTo>
                    <a:pt x="174" y="985"/>
                  </a:lnTo>
                  <a:lnTo>
                    <a:pt x="160" y="995"/>
                  </a:lnTo>
                  <a:lnTo>
                    <a:pt x="146" y="1005"/>
                  </a:lnTo>
                  <a:lnTo>
                    <a:pt x="146" y="1005"/>
                  </a:lnTo>
                  <a:lnTo>
                    <a:pt x="134" y="1021"/>
                  </a:lnTo>
                  <a:lnTo>
                    <a:pt x="124" y="1039"/>
                  </a:lnTo>
                  <a:lnTo>
                    <a:pt x="120" y="1060"/>
                  </a:lnTo>
                  <a:lnTo>
                    <a:pt x="118" y="1078"/>
                  </a:lnTo>
                  <a:lnTo>
                    <a:pt x="120" y="1098"/>
                  </a:lnTo>
                  <a:lnTo>
                    <a:pt x="124" y="1118"/>
                  </a:lnTo>
                  <a:lnTo>
                    <a:pt x="134" y="1136"/>
                  </a:lnTo>
                  <a:lnTo>
                    <a:pt x="146" y="1152"/>
                  </a:lnTo>
                  <a:lnTo>
                    <a:pt x="146" y="1152"/>
                  </a:lnTo>
                  <a:lnTo>
                    <a:pt x="162" y="1164"/>
                  </a:lnTo>
                  <a:lnTo>
                    <a:pt x="178" y="1174"/>
                  </a:lnTo>
                  <a:lnTo>
                    <a:pt x="196" y="1180"/>
                  </a:lnTo>
                  <a:lnTo>
                    <a:pt x="214" y="1182"/>
                  </a:lnTo>
                  <a:lnTo>
                    <a:pt x="234" y="1180"/>
                  </a:lnTo>
                  <a:lnTo>
                    <a:pt x="252" y="1174"/>
                  </a:lnTo>
                  <a:lnTo>
                    <a:pt x="268" y="1164"/>
                  </a:lnTo>
                  <a:lnTo>
                    <a:pt x="284" y="1152"/>
                  </a:lnTo>
                  <a:lnTo>
                    <a:pt x="284" y="1152"/>
                  </a:lnTo>
                  <a:lnTo>
                    <a:pt x="294" y="1138"/>
                  </a:lnTo>
                  <a:lnTo>
                    <a:pt x="302" y="1122"/>
                  </a:lnTo>
                  <a:lnTo>
                    <a:pt x="308" y="1106"/>
                  </a:lnTo>
                  <a:lnTo>
                    <a:pt x="312" y="1090"/>
                  </a:lnTo>
                  <a:lnTo>
                    <a:pt x="312" y="1074"/>
                  </a:lnTo>
                  <a:lnTo>
                    <a:pt x="310" y="1058"/>
                  </a:lnTo>
                  <a:lnTo>
                    <a:pt x="304" y="1039"/>
                  </a:lnTo>
                  <a:lnTo>
                    <a:pt x="298" y="1025"/>
                  </a:lnTo>
                  <a:lnTo>
                    <a:pt x="589" y="718"/>
                  </a:lnTo>
                  <a:lnTo>
                    <a:pt x="589" y="718"/>
                  </a:lnTo>
                  <a:lnTo>
                    <a:pt x="601" y="728"/>
                  </a:lnTo>
                  <a:lnTo>
                    <a:pt x="613" y="736"/>
                  </a:lnTo>
                  <a:lnTo>
                    <a:pt x="625" y="744"/>
                  </a:lnTo>
                  <a:lnTo>
                    <a:pt x="639" y="750"/>
                  </a:lnTo>
                  <a:lnTo>
                    <a:pt x="653" y="757"/>
                  </a:lnTo>
                  <a:lnTo>
                    <a:pt x="669" y="761"/>
                  </a:lnTo>
                  <a:lnTo>
                    <a:pt x="685" y="763"/>
                  </a:lnTo>
                  <a:lnTo>
                    <a:pt x="699" y="765"/>
                  </a:lnTo>
                  <a:lnTo>
                    <a:pt x="699" y="765"/>
                  </a:lnTo>
                  <a:lnTo>
                    <a:pt x="715" y="763"/>
                  </a:lnTo>
                  <a:lnTo>
                    <a:pt x="731" y="761"/>
                  </a:lnTo>
                  <a:lnTo>
                    <a:pt x="745" y="757"/>
                  </a:lnTo>
                  <a:lnTo>
                    <a:pt x="761" y="750"/>
                  </a:lnTo>
                  <a:lnTo>
                    <a:pt x="773" y="744"/>
                  </a:lnTo>
                  <a:lnTo>
                    <a:pt x="787" y="736"/>
                  </a:lnTo>
                  <a:lnTo>
                    <a:pt x="799" y="728"/>
                  </a:lnTo>
                  <a:lnTo>
                    <a:pt x="811" y="718"/>
                  </a:lnTo>
                  <a:lnTo>
                    <a:pt x="1124" y="1049"/>
                  </a:lnTo>
                  <a:lnTo>
                    <a:pt x="1124" y="1049"/>
                  </a:lnTo>
                  <a:lnTo>
                    <a:pt x="1118" y="1064"/>
                  </a:lnTo>
                  <a:lnTo>
                    <a:pt x="1112" y="1080"/>
                  </a:lnTo>
                  <a:lnTo>
                    <a:pt x="1110" y="1098"/>
                  </a:lnTo>
                  <a:lnTo>
                    <a:pt x="1112" y="1114"/>
                  </a:lnTo>
                  <a:lnTo>
                    <a:pt x="1114" y="1130"/>
                  </a:lnTo>
                  <a:lnTo>
                    <a:pt x="1120" y="1146"/>
                  </a:lnTo>
                  <a:lnTo>
                    <a:pt x="1128" y="1162"/>
                  </a:lnTo>
                  <a:lnTo>
                    <a:pt x="1138" y="1174"/>
                  </a:lnTo>
                  <a:lnTo>
                    <a:pt x="1138" y="1174"/>
                  </a:lnTo>
                  <a:lnTo>
                    <a:pt x="1154" y="1188"/>
                  </a:lnTo>
                  <a:lnTo>
                    <a:pt x="1170" y="1198"/>
                  </a:lnTo>
                  <a:lnTo>
                    <a:pt x="1188" y="1204"/>
                  </a:lnTo>
                  <a:lnTo>
                    <a:pt x="1208" y="1204"/>
                  </a:lnTo>
                  <a:lnTo>
                    <a:pt x="1226" y="1204"/>
                  </a:lnTo>
                  <a:lnTo>
                    <a:pt x="1244" y="1198"/>
                  </a:lnTo>
                  <a:lnTo>
                    <a:pt x="1260" y="1188"/>
                  </a:lnTo>
                  <a:lnTo>
                    <a:pt x="1276" y="1174"/>
                  </a:lnTo>
                  <a:lnTo>
                    <a:pt x="1276" y="1174"/>
                  </a:lnTo>
                  <a:lnTo>
                    <a:pt x="1288" y="1158"/>
                  </a:lnTo>
                  <a:lnTo>
                    <a:pt x="1298" y="1142"/>
                  </a:lnTo>
                  <a:lnTo>
                    <a:pt x="1302" y="1122"/>
                  </a:lnTo>
                  <a:lnTo>
                    <a:pt x="1304" y="1102"/>
                  </a:lnTo>
                  <a:lnTo>
                    <a:pt x="1302" y="1084"/>
                  </a:lnTo>
                  <a:lnTo>
                    <a:pt x="1298" y="1064"/>
                  </a:lnTo>
                  <a:lnTo>
                    <a:pt x="1288" y="1045"/>
                  </a:lnTo>
                  <a:lnTo>
                    <a:pt x="1276" y="1029"/>
                  </a:lnTo>
                  <a:lnTo>
                    <a:pt x="1276" y="1029"/>
                  </a:lnTo>
                  <a:lnTo>
                    <a:pt x="1264" y="1019"/>
                  </a:lnTo>
                  <a:lnTo>
                    <a:pt x="1250" y="1009"/>
                  </a:lnTo>
                  <a:lnTo>
                    <a:pt x="1234" y="1003"/>
                  </a:lnTo>
                  <a:lnTo>
                    <a:pt x="1218" y="1001"/>
                  </a:lnTo>
                  <a:lnTo>
                    <a:pt x="1202" y="999"/>
                  </a:lnTo>
                  <a:lnTo>
                    <a:pt x="1186" y="1001"/>
                  </a:lnTo>
                  <a:lnTo>
                    <a:pt x="1172" y="1007"/>
                  </a:lnTo>
                  <a:lnTo>
                    <a:pt x="1156" y="1015"/>
                  </a:lnTo>
                  <a:lnTo>
                    <a:pt x="839" y="680"/>
                  </a:lnTo>
                  <a:lnTo>
                    <a:pt x="839" y="680"/>
                  </a:lnTo>
                  <a:lnTo>
                    <a:pt x="845" y="666"/>
                  </a:lnTo>
                  <a:lnTo>
                    <a:pt x="851" y="652"/>
                  </a:lnTo>
                  <a:lnTo>
                    <a:pt x="857" y="638"/>
                  </a:lnTo>
                  <a:lnTo>
                    <a:pt x="859" y="622"/>
                  </a:lnTo>
                  <a:lnTo>
                    <a:pt x="1284" y="724"/>
                  </a:lnTo>
                  <a:lnTo>
                    <a:pt x="1284" y="724"/>
                  </a:lnTo>
                  <a:lnTo>
                    <a:pt x="1286" y="740"/>
                  </a:lnTo>
                  <a:lnTo>
                    <a:pt x="1290" y="757"/>
                  </a:lnTo>
                  <a:lnTo>
                    <a:pt x="1296" y="773"/>
                  </a:lnTo>
                  <a:lnTo>
                    <a:pt x="1304" y="787"/>
                  </a:lnTo>
                  <a:lnTo>
                    <a:pt x="1316" y="799"/>
                  </a:lnTo>
                  <a:lnTo>
                    <a:pt x="1328" y="809"/>
                  </a:lnTo>
                  <a:lnTo>
                    <a:pt x="1344" y="817"/>
                  </a:lnTo>
                  <a:lnTo>
                    <a:pt x="1360" y="823"/>
                  </a:lnTo>
                  <a:lnTo>
                    <a:pt x="1360" y="823"/>
                  </a:lnTo>
                  <a:lnTo>
                    <a:pt x="1346" y="819"/>
                  </a:lnTo>
                  <a:lnTo>
                    <a:pt x="1346" y="819"/>
                  </a:lnTo>
                  <a:lnTo>
                    <a:pt x="1360" y="823"/>
                  </a:lnTo>
                  <a:lnTo>
                    <a:pt x="1360" y="823"/>
                  </a:lnTo>
                  <a:lnTo>
                    <a:pt x="1360" y="823"/>
                  </a:lnTo>
                  <a:lnTo>
                    <a:pt x="1360" y="823"/>
                  </a:lnTo>
                  <a:lnTo>
                    <a:pt x="1360" y="823"/>
                  </a:lnTo>
                  <a:lnTo>
                    <a:pt x="1360" y="823"/>
                  </a:lnTo>
                  <a:lnTo>
                    <a:pt x="1378" y="825"/>
                  </a:lnTo>
                  <a:lnTo>
                    <a:pt x="1398" y="823"/>
                  </a:lnTo>
                  <a:lnTo>
                    <a:pt x="1416" y="819"/>
                  </a:lnTo>
                  <a:lnTo>
                    <a:pt x="1432" y="809"/>
                  </a:lnTo>
                  <a:lnTo>
                    <a:pt x="1448" y="797"/>
                  </a:lnTo>
                  <a:lnTo>
                    <a:pt x="1460" y="783"/>
                  </a:lnTo>
                  <a:lnTo>
                    <a:pt x="1468" y="765"/>
                  </a:lnTo>
                  <a:lnTo>
                    <a:pt x="1476" y="744"/>
                  </a:lnTo>
                  <a:lnTo>
                    <a:pt x="1476" y="744"/>
                  </a:lnTo>
                  <a:lnTo>
                    <a:pt x="1478" y="724"/>
                  </a:lnTo>
                  <a:lnTo>
                    <a:pt x="1476" y="704"/>
                  </a:lnTo>
                  <a:lnTo>
                    <a:pt x="1472" y="686"/>
                  </a:lnTo>
                  <a:lnTo>
                    <a:pt x="1462" y="668"/>
                  </a:lnTo>
                  <a:lnTo>
                    <a:pt x="1452" y="652"/>
                  </a:lnTo>
                  <a:lnTo>
                    <a:pt x="1438" y="640"/>
                  </a:lnTo>
                  <a:lnTo>
                    <a:pt x="1420" y="628"/>
                  </a:lnTo>
                  <a:lnTo>
                    <a:pt x="1402" y="622"/>
                  </a:lnTo>
                  <a:lnTo>
                    <a:pt x="1402" y="622"/>
                  </a:lnTo>
                  <a:close/>
                  <a:moveTo>
                    <a:pt x="1039" y="82"/>
                  </a:moveTo>
                  <a:lnTo>
                    <a:pt x="1039" y="82"/>
                  </a:lnTo>
                  <a:lnTo>
                    <a:pt x="1037" y="84"/>
                  </a:lnTo>
                  <a:lnTo>
                    <a:pt x="1037" y="84"/>
                  </a:lnTo>
                  <a:lnTo>
                    <a:pt x="1039" y="82"/>
                  </a:lnTo>
                  <a:lnTo>
                    <a:pt x="1039" y="82"/>
                  </a:lnTo>
                  <a:close/>
                  <a:moveTo>
                    <a:pt x="1023" y="98"/>
                  </a:moveTo>
                  <a:lnTo>
                    <a:pt x="1023" y="98"/>
                  </a:lnTo>
                  <a:lnTo>
                    <a:pt x="1023" y="100"/>
                  </a:lnTo>
                  <a:lnTo>
                    <a:pt x="1023" y="98"/>
                  </a:lnTo>
                  <a:lnTo>
                    <a:pt x="1023" y="98"/>
                  </a:lnTo>
                  <a:close/>
                  <a:moveTo>
                    <a:pt x="1031" y="90"/>
                  </a:moveTo>
                  <a:lnTo>
                    <a:pt x="1031" y="90"/>
                  </a:lnTo>
                  <a:lnTo>
                    <a:pt x="1027" y="94"/>
                  </a:lnTo>
                  <a:lnTo>
                    <a:pt x="1027" y="94"/>
                  </a:lnTo>
                  <a:lnTo>
                    <a:pt x="1025" y="98"/>
                  </a:lnTo>
                  <a:lnTo>
                    <a:pt x="1025" y="98"/>
                  </a:lnTo>
                  <a:lnTo>
                    <a:pt x="1027" y="94"/>
                  </a:lnTo>
                  <a:lnTo>
                    <a:pt x="1027" y="94"/>
                  </a:lnTo>
                  <a:lnTo>
                    <a:pt x="1031" y="90"/>
                  </a:lnTo>
                  <a:lnTo>
                    <a:pt x="1031" y="90"/>
                  </a:lnTo>
                  <a:lnTo>
                    <a:pt x="1037" y="86"/>
                  </a:lnTo>
                  <a:lnTo>
                    <a:pt x="1037" y="86"/>
                  </a:lnTo>
                  <a:lnTo>
                    <a:pt x="1031" y="90"/>
                  </a:lnTo>
                  <a:lnTo>
                    <a:pt x="1031" y="90"/>
                  </a:lnTo>
                  <a:lnTo>
                    <a:pt x="1043" y="80"/>
                  </a:lnTo>
                  <a:lnTo>
                    <a:pt x="1057" y="74"/>
                  </a:lnTo>
                  <a:lnTo>
                    <a:pt x="1069" y="70"/>
                  </a:lnTo>
                  <a:lnTo>
                    <a:pt x="1085" y="68"/>
                  </a:lnTo>
                  <a:lnTo>
                    <a:pt x="1099" y="70"/>
                  </a:lnTo>
                  <a:lnTo>
                    <a:pt x="1114" y="74"/>
                  </a:lnTo>
                  <a:lnTo>
                    <a:pt x="1126" y="80"/>
                  </a:lnTo>
                  <a:lnTo>
                    <a:pt x="1138" y="90"/>
                  </a:lnTo>
                  <a:lnTo>
                    <a:pt x="1138" y="90"/>
                  </a:lnTo>
                  <a:lnTo>
                    <a:pt x="1148" y="104"/>
                  </a:lnTo>
                  <a:lnTo>
                    <a:pt x="1154" y="116"/>
                  </a:lnTo>
                  <a:lnTo>
                    <a:pt x="1158" y="132"/>
                  </a:lnTo>
                  <a:lnTo>
                    <a:pt x="1160" y="146"/>
                  </a:lnTo>
                  <a:lnTo>
                    <a:pt x="1158" y="163"/>
                  </a:lnTo>
                  <a:lnTo>
                    <a:pt x="1154" y="177"/>
                  </a:lnTo>
                  <a:lnTo>
                    <a:pt x="1148" y="191"/>
                  </a:lnTo>
                  <a:lnTo>
                    <a:pt x="1138" y="203"/>
                  </a:lnTo>
                  <a:lnTo>
                    <a:pt x="1138" y="203"/>
                  </a:lnTo>
                  <a:lnTo>
                    <a:pt x="1126" y="213"/>
                  </a:lnTo>
                  <a:lnTo>
                    <a:pt x="1114" y="219"/>
                  </a:lnTo>
                  <a:lnTo>
                    <a:pt x="1099" y="223"/>
                  </a:lnTo>
                  <a:lnTo>
                    <a:pt x="1085" y="225"/>
                  </a:lnTo>
                  <a:lnTo>
                    <a:pt x="1069" y="223"/>
                  </a:lnTo>
                  <a:lnTo>
                    <a:pt x="1057" y="219"/>
                  </a:lnTo>
                  <a:lnTo>
                    <a:pt x="1043" y="213"/>
                  </a:lnTo>
                  <a:lnTo>
                    <a:pt x="1031" y="203"/>
                  </a:lnTo>
                  <a:lnTo>
                    <a:pt x="1031" y="203"/>
                  </a:lnTo>
                  <a:lnTo>
                    <a:pt x="1023" y="191"/>
                  </a:lnTo>
                  <a:lnTo>
                    <a:pt x="1015" y="177"/>
                  </a:lnTo>
                  <a:lnTo>
                    <a:pt x="1011" y="163"/>
                  </a:lnTo>
                  <a:lnTo>
                    <a:pt x="1009" y="146"/>
                  </a:lnTo>
                  <a:lnTo>
                    <a:pt x="1011" y="132"/>
                  </a:lnTo>
                  <a:lnTo>
                    <a:pt x="1015" y="116"/>
                  </a:lnTo>
                  <a:lnTo>
                    <a:pt x="1023" y="104"/>
                  </a:lnTo>
                  <a:lnTo>
                    <a:pt x="1031" y="90"/>
                  </a:lnTo>
                  <a:lnTo>
                    <a:pt x="1031" y="90"/>
                  </a:lnTo>
                  <a:close/>
                  <a:moveTo>
                    <a:pt x="537" y="128"/>
                  </a:moveTo>
                  <a:lnTo>
                    <a:pt x="537" y="128"/>
                  </a:lnTo>
                  <a:lnTo>
                    <a:pt x="537" y="128"/>
                  </a:lnTo>
                  <a:lnTo>
                    <a:pt x="537" y="128"/>
                  </a:lnTo>
                  <a:close/>
                  <a:moveTo>
                    <a:pt x="535" y="116"/>
                  </a:moveTo>
                  <a:lnTo>
                    <a:pt x="535" y="116"/>
                  </a:lnTo>
                  <a:lnTo>
                    <a:pt x="533" y="100"/>
                  </a:lnTo>
                  <a:lnTo>
                    <a:pt x="535" y="86"/>
                  </a:lnTo>
                  <a:lnTo>
                    <a:pt x="539" y="70"/>
                  </a:lnTo>
                  <a:lnTo>
                    <a:pt x="547" y="58"/>
                  </a:lnTo>
                  <a:lnTo>
                    <a:pt x="555" y="46"/>
                  </a:lnTo>
                  <a:lnTo>
                    <a:pt x="567" y="36"/>
                  </a:lnTo>
                  <a:lnTo>
                    <a:pt x="579" y="30"/>
                  </a:lnTo>
                  <a:lnTo>
                    <a:pt x="593" y="24"/>
                  </a:lnTo>
                  <a:lnTo>
                    <a:pt x="593" y="24"/>
                  </a:lnTo>
                  <a:lnTo>
                    <a:pt x="609" y="24"/>
                  </a:lnTo>
                  <a:lnTo>
                    <a:pt x="623" y="24"/>
                  </a:lnTo>
                  <a:lnTo>
                    <a:pt x="637" y="30"/>
                  </a:lnTo>
                  <a:lnTo>
                    <a:pt x="649" y="36"/>
                  </a:lnTo>
                  <a:lnTo>
                    <a:pt x="661" y="46"/>
                  </a:lnTo>
                  <a:lnTo>
                    <a:pt x="669" y="58"/>
                  </a:lnTo>
                  <a:lnTo>
                    <a:pt x="677" y="72"/>
                  </a:lnTo>
                  <a:lnTo>
                    <a:pt x="681" y="86"/>
                  </a:lnTo>
                  <a:lnTo>
                    <a:pt x="681" y="86"/>
                  </a:lnTo>
                  <a:lnTo>
                    <a:pt x="683" y="102"/>
                  </a:lnTo>
                  <a:lnTo>
                    <a:pt x="681" y="118"/>
                  </a:lnTo>
                  <a:lnTo>
                    <a:pt x="677" y="132"/>
                  </a:lnTo>
                  <a:lnTo>
                    <a:pt x="669" y="146"/>
                  </a:lnTo>
                  <a:lnTo>
                    <a:pt x="661" y="157"/>
                  </a:lnTo>
                  <a:lnTo>
                    <a:pt x="649" y="167"/>
                  </a:lnTo>
                  <a:lnTo>
                    <a:pt x="637" y="175"/>
                  </a:lnTo>
                  <a:lnTo>
                    <a:pt x="623" y="179"/>
                  </a:lnTo>
                  <a:lnTo>
                    <a:pt x="623" y="179"/>
                  </a:lnTo>
                  <a:lnTo>
                    <a:pt x="607" y="181"/>
                  </a:lnTo>
                  <a:lnTo>
                    <a:pt x="593" y="179"/>
                  </a:lnTo>
                  <a:lnTo>
                    <a:pt x="579" y="175"/>
                  </a:lnTo>
                  <a:lnTo>
                    <a:pt x="567" y="167"/>
                  </a:lnTo>
                  <a:lnTo>
                    <a:pt x="555" y="157"/>
                  </a:lnTo>
                  <a:lnTo>
                    <a:pt x="547" y="146"/>
                  </a:lnTo>
                  <a:lnTo>
                    <a:pt x="539" y="132"/>
                  </a:lnTo>
                  <a:lnTo>
                    <a:pt x="535" y="116"/>
                  </a:lnTo>
                  <a:lnTo>
                    <a:pt x="535" y="116"/>
                  </a:lnTo>
                  <a:close/>
                  <a:moveTo>
                    <a:pt x="56" y="405"/>
                  </a:moveTo>
                  <a:lnTo>
                    <a:pt x="56" y="405"/>
                  </a:lnTo>
                  <a:lnTo>
                    <a:pt x="54" y="403"/>
                  </a:lnTo>
                  <a:lnTo>
                    <a:pt x="56" y="405"/>
                  </a:lnTo>
                  <a:lnTo>
                    <a:pt x="56" y="405"/>
                  </a:lnTo>
                  <a:close/>
                  <a:moveTo>
                    <a:pt x="64" y="409"/>
                  </a:moveTo>
                  <a:lnTo>
                    <a:pt x="64" y="409"/>
                  </a:lnTo>
                  <a:lnTo>
                    <a:pt x="66" y="409"/>
                  </a:lnTo>
                  <a:lnTo>
                    <a:pt x="66" y="409"/>
                  </a:lnTo>
                  <a:lnTo>
                    <a:pt x="64" y="409"/>
                  </a:lnTo>
                  <a:lnTo>
                    <a:pt x="64" y="409"/>
                  </a:lnTo>
                  <a:lnTo>
                    <a:pt x="64" y="407"/>
                  </a:lnTo>
                  <a:lnTo>
                    <a:pt x="64" y="407"/>
                  </a:lnTo>
                  <a:lnTo>
                    <a:pt x="64" y="409"/>
                  </a:lnTo>
                  <a:lnTo>
                    <a:pt x="64" y="409"/>
                  </a:lnTo>
                  <a:lnTo>
                    <a:pt x="52" y="399"/>
                  </a:lnTo>
                  <a:lnTo>
                    <a:pt x="42" y="389"/>
                  </a:lnTo>
                  <a:lnTo>
                    <a:pt x="32" y="377"/>
                  </a:lnTo>
                  <a:lnTo>
                    <a:pt x="26" y="363"/>
                  </a:lnTo>
                  <a:lnTo>
                    <a:pt x="24" y="349"/>
                  </a:lnTo>
                  <a:lnTo>
                    <a:pt x="22" y="333"/>
                  </a:lnTo>
                  <a:lnTo>
                    <a:pt x="24" y="319"/>
                  </a:lnTo>
                  <a:lnTo>
                    <a:pt x="30" y="303"/>
                  </a:lnTo>
                  <a:lnTo>
                    <a:pt x="30" y="303"/>
                  </a:lnTo>
                  <a:lnTo>
                    <a:pt x="38" y="291"/>
                  </a:lnTo>
                  <a:lnTo>
                    <a:pt x="48" y="279"/>
                  </a:lnTo>
                  <a:lnTo>
                    <a:pt x="60" y="269"/>
                  </a:lnTo>
                  <a:lnTo>
                    <a:pt x="72" y="263"/>
                  </a:lnTo>
                  <a:lnTo>
                    <a:pt x="86" y="261"/>
                  </a:lnTo>
                  <a:lnTo>
                    <a:pt x="100" y="259"/>
                  </a:lnTo>
                  <a:lnTo>
                    <a:pt x="114" y="261"/>
                  </a:lnTo>
                  <a:lnTo>
                    <a:pt x="130" y="267"/>
                  </a:lnTo>
                  <a:lnTo>
                    <a:pt x="130" y="267"/>
                  </a:lnTo>
                  <a:lnTo>
                    <a:pt x="142" y="275"/>
                  </a:lnTo>
                  <a:lnTo>
                    <a:pt x="152" y="285"/>
                  </a:lnTo>
                  <a:lnTo>
                    <a:pt x="160" y="299"/>
                  </a:lnTo>
                  <a:lnTo>
                    <a:pt x="166" y="311"/>
                  </a:lnTo>
                  <a:lnTo>
                    <a:pt x="170" y="327"/>
                  </a:lnTo>
                  <a:lnTo>
                    <a:pt x="170" y="341"/>
                  </a:lnTo>
                  <a:lnTo>
                    <a:pt x="168" y="357"/>
                  </a:lnTo>
                  <a:lnTo>
                    <a:pt x="164" y="371"/>
                  </a:lnTo>
                  <a:lnTo>
                    <a:pt x="164" y="371"/>
                  </a:lnTo>
                  <a:lnTo>
                    <a:pt x="156" y="385"/>
                  </a:lnTo>
                  <a:lnTo>
                    <a:pt x="146" y="397"/>
                  </a:lnTo>
                  <a:lnTo>
                    <a:pt x="134" y="405"/>
                  </a:lnTo>
                  <a:lnTo>
                    <a:pt x="122" y="411"/>
                  </a:lnTo>
                  <a:lnTo>
                    <a:pt x="108" y="415"/>
                  </a:lnTo>
                  <a:lnTo>
                    <a:pt x="94" y="415"/>
                  </a:lnTo>
                  <a:lnTo>
                    <a:pt x="78" y="413"/>
                  </a:lnTo>
                  <a:lnTo>
                    <a:pt x="64" y="409"/>
                  </a:lnTo>
                  <a:lnTo>
                    <a:pt x="64" y="409"/>
                  </a:lnTo>
                  <a:close/>
                  <a:moveTo>
                    <a:pt x="74" y="413"/>
                  </a:moveTo>
                  <a:lnTo>
                    <a:pt x="74" y="413"/>
                  </a:lnTo>
                  <a:lnTo>
                    <a:pt x="74" y="413"/>
                  </a:lnTo>
                  <a:lnTo>
                    <a:pt x="74" y="413"/>
                  </a:lnTo>
                  <a:close/>
                  <a:moveTo>
                    <a:pt x="74" y="413"/>
                  </a:moveTo>
                  <a:lnTo>
                    <a:pt x="74" y="413"/>
                  </a:lnTo>
                  <a:lnTo>
                    <a:pt x="74" y="413"/>
                  </a:lnTo>
                  <a:lnTo>
                    <a:pt x="74" y="413"/>
                  </a:lnTo>
                  <a:lnTo>
                    <a:pt x="74" y="413"/>
                  </a:lnTo>
                  <a:lnTo>
                    <a:pt x="74" y="413"/>
                  </a:lnTo>
                  <a:close/>
                  <a:moveTo>
                    <a:pt x="72" y="411"/>
                  </a:moveTo>
                  <a:lnTo>
                    <a:pt x="72" y="411"/>
                  </a:lnTo>
                  <a:lnTo>
                    <a:pt x="68" y="409"/>
                  </a:lnTo>
                  <a:lnTo>
                    <a:pt x="68" y="409"/>
                  </a:lnTo>
                  <a:lnTo>
                    <a:pt x="72" y="411"/>
                  </a:lnTo>
                  <a:lnTo>
                    <a:pt x="72" y="411"/>
                  </a:lnTo>
                  <a:close/>
                  <a:moveTo>
                    <a:pt x="56" y="405"/>
                  </a:moveTo>
                  <a:lnTo>
                    <a:pt x="56" y="405"/>
                  </a:lnTo>
                  <a:lnTo>
                    <a:pt x="60" y="405"/>
                  </a:lnTo>
                  <a:lnTo>
                    <a:pt x="60" y="405"/>
                  </a:lnTo>
                  <a:lnTo>
                    <a:pt x="56" y="405"/>
                  </a:lnTo>
                  <a:lnTo>
                    <a:pt x="56" y="405"/>
                  </a:lnTo>
                  <a:close/>
                  <a:moveTo>
                    <a:pt x="260" y="1142"/>
                  </a:moveTo>
                  <a:lnTo>
                    <a:pt x="260" y="1142"/>
                  </a:lnTo>
                  <a:lnTo>
                    <a:pt x="260" y="1142"/>
                  </a:lnTo>
                  <a:lnTo>
                    <a:pt x="260" y="1142"/>
                  </a:lnTo>
                  <a:close/>
                  <a:moveTo>
                    <a:pt x="268" y="1134"/>
                  </a:moveTo>
                  <a:lnTo>
                    <a:pt x="268" y="1134"/>
                  </a:lnTo>
                  <a:lnTo>
                    <a:pt x="256" y="1144"/>
                  </a:lnTo>
                  <a:lnTo>
                    <a:pt x="242" y="1152"/>
                  </a:lnTo>
                  <a:lnTo>
                    <a:pt x="230" y="1156"/>
                  </a:lnTo>
                  <a:lnTo>
                    <a:pt x="214" y="1158"/>
                  </a:lnTo>
                  <a:lnTo>
                    <a:pt x="200" y="1156"/>
                  </a:lnTo>
                  <a:lnTo>
                    <a:pt x="186" y="1152"/>
                  </a:lnTo>
                  <a:lnTo>
                    <a:pt x="174" y="1144"/>
                  </a:lnTo>
                  <a:lnTo>
                    <a:pt x="162" y="1134"/>
                  </a:lnTo>
                  <a:lnTo>
                    <a:pt x="162" y="1134"/>
                  </a:lnTo>
                  <a:lnTo>
                    <a:pt x="152" y="1122"/>
                  </a:lnTo>
                  <a:lnTo>
                    <a:pt x="146" y="1108"/>
                  </a:lnTo>
                  <a:lnTo>
                    <a:pt x="142" y="1094"/>
                  </a:lnTo>
                  <a:lnTo>
                    <a:pt x="140" y="1078"/>
                  </a:lnTo>
                  <a:lnTo>
                    <a:pt x="142" y="1064"/>
                  </a:lnTo>
                  <a:lnTo>
                    <a:pt x="146" y="1049"/>
                  </a:lnTo>
                  <a:lnTo>
                    <a:pt x="152" y="1035"/>
                  </a:lnTo>
                  <a:lnTo>
                    <a:pt x="162" y="1023"/>
                  </a:lnTo>
                  <a:lnTo>
                    <a:pt x="162" y="1023"/>
                  </a:lnTo>
                  <a:lnTo>
                    <a:pt x="174" y="1013"/>
                  </a:lnTo>
                  <a:lnTo>
                    <a:pt x="186" y="1005"/>
                  </a:lnTo>
                  <a:lnTo>
                    <a:pt x="200" y="1001"/>
                  </a:lnTo>
                  <a:lnTo>
                    <a:pt x="214" y="999"/>
                  </a:lnTo>
                  <a:lnTo>
                    <a:pt x="230" y="1001"/>
                  </a:lnTo>
                  <a:lnTo>
                    <a:pt x="242" y="1005"/>
                  </a:lnTo>
                  <a:lnTo>
                    <a:pt x="256" y="1013"/>
                  </a:lnTo>
                  <a:lnTo>
                    <a:pt x="268" y="1023"/>
                  </a:lnTo>
                  <a:lnTo>
                    <a:pt x="268" y="1023"/>
                  </a:lnTo>
                  <a:lnTo>
                    <a:pt x="276" y="1035"/>
                  </a:lnTo>
                  <a:lnTo>
                    <a:pt x="284" y="1049"/>
                  </a:lnTo>
                  <a:lnTo>
                    <a:pt x="288" y="1064"/>
                  </a:lnTo>
                  <a:lnTo>
                    <a:pt x="290" y="1078"/>
                  </a:lnTo>
                  <a:lnTo>
                    <a:pt x="288" y="1094"/>
                  </a:lnTo>
                  <a:lnTo>
                    <a:pt x="284" y="1108"/>
                  </a:lnTo>
                  <a:lnTo>
                    <a:pt x="276" y="1122"/>
                  </a:lnTo>
                  <a:lnTo>
                    <a:pt x="268" y="1134"/>
                  </a:lnTo>
                  <a:lnTo>
                    <a:pt x="268" y="1134"/>
                  </a:lnTo>
                  <a:close/>
                  <a:moveTo>
                    <a:pt x="699" y="716"/>
                  </a:moveTo>
                  <a:lnTo>
                    <a:pt x="699" y="716"/>
                  </a:lnTo>
                  <a:lnTo>
                    <a:pt x="687" y="714"/>
                  </a:lnTo>
                  <a:lnTo>
                    <a:pt x="677" y="712"/>
                  </a:lnTo>
                  <a:lnTo>
                    <a:pt x="665" y="710"/>
                  </a:lnTo>
                  <a:lnTo>
                    <a:pt x="655" y="706"/>
                  </a:lnTo>
                  <a:lnTo>
                    <a:pt x="635" y="694"/>
                  </a:lnTo>
                  <a:lnTo>
                    <a:pt x="617" y="680"/>
                  </a:lnTo>
                  <a:lnTo>
                    <a:pt x="603" y="660"/>
                  </a:lnTo>
                  <a:lnTo>
                    <a:pt x="593" y="640"/>
                  </a:lnTo>
                  <a:lnTo>
                    <a:pt x="585" y="616"/>
                  </a:lnTo>
                  <a:lnTo>
                    <a:pt x="583" y="604"/>
                  </a:lnTo>
                  <a:lnTo>
                    <a:pt x="583" y="592"/>
                  </a:lnTo>
                  <a:lnTo>
                    <a:pt x="583" y="592"/>
                  </a:lnTo>
                  <a:lnTo>
                    <a:pt x="583" y="580"/>
                  </a:lnTo>
                  <a:lnTo>
                    <a:pt x="585" y="568"/>
                  </a:lnTo>
                  <a:lnTo>
                    <a:pt x="593" y="544"/>
                  </a:lnTo>
                  <a:lnTo>
                    <a:pt x="603" y="524"/>
                  </a:lnTo>
                  <a:lnTo>
                    <a:pt x="617" y="506"/>
                  </a:lnTo>
                  <a:lnTo>
                    <a:pt x="635" y="490"/>
                  </a:lnTo>
                  <a:lnTo>
                    <a:pt x="655" y="478"/>
                  </a:lnTo>
                  <a:lnTo>
                    <a:pt x="665" y="474"/>
                  </a:lnTo>
                  <a:lnTo>
                    <a:pt x="677" y="472"/>
                  </a:lnTo>
                  <a:lnTo>
                    <a:pt x="687" y="470"/>
                  </a:lnTo>
                  <a:lnTo>
                    <a:pt x="699" y="470"/>
                  </a:lnTo>
                  <a:lnTo>
                    <a:pt x="699" y="470"/>
                  </a:lnTo>
                  <a:lnTo>
                    <a:pt x="711" y="470"/>
                  </a:lnTo>
                  <a:lnTo>
                    <a:pt x="723" y="472"/>
                  </a:lnTo>
                  <a:lnTo>
                    <a:pt x="735" y="474"/>
                  </a:lnTo>
                  <a:lnTo>
                    <a:pt x="745" y="478"/>
                  </a:lnTo>
                  <a:lnTo>
                    <a:pt x="765" y="490"/>
                  </a:lnTo>
                  <a:lnTo>
                    <a:pt x="783" y="506"/>
                  </a:lnTo>
                  <a:lnTo>
                    <a:pt x="797" y="524"/>
                  </a:lnTo>
                  <a:lnTo>
                    <a:pt x="807" y="544"/>
                  </a:lnTo>
                  <a:lnTo>
                    <a:pt x="815" y="568"/>
                  </a:lnTo>
                  <a:lnTo>
                    <a:pt x="815" y="580"/>
                  </a:lnTo>
                  <a:lnTo>
                    <a:pt x="817" y="592"/>
                  </a:lnTo>
                  <a:lnTo>
                    <a:pt x="817" y="592"/>
                  </a:lnTo>
                  <a:lnTo>
                    <a:pt x="815" y="604"/>
                  </a:lnTo>
                  <a:lnTo>
                    <a:pt x="815" y="616"/>
                  </a:lnTo>
                  <a:lnTo>
                    <a:pt x="807" y="640"/>
                  </a:lnTo>
                  <a:lnTo>
                    <a:pt x="797" y="660"/>
                  </a:lnTo>
                  <a:lnTo>
                    <a:pt x="783" y="680"/>
                  </a:lnTo>
                  <a:lnTo>
                    <a:pt x="765" y="694"/>
                  </a:lnTo>
                  <a:lnTo>
                    <a:pt x="745" y="706"/>
                  </a:lnTo>
                  <a:lnTo>
                    <a:pt x="735" y="710"/>
                  </a:lnTo>
                  <a:lnTo>
                    <a:pt x="723" y="712"/>
                  </a:lnTo>
                  <a:lnTo>
                    <a:pt x="711" y="714"/>
                  </a:lnTo>
                  <a:lnTo>
                    <a:pt x="699" y="716"/>
                  </a:lnTo>
                  <a:lnTo>
                    <a:pt x="699" y="716"/>
                  </a:lnTo>
                  <a:close/>
                  <a:moveTo>
                    <a:pt x="1268" y="1056"/>
                  </a:moveTo>
                  <a:lnTo>
                    <a:pt x="1268" y="1056"/>
                  </a:lnTo>
                  <a:lnTo>
                    <a:pt x="1268" y="1056"/>
                  </a:lnTo>
                  <a:lnTo>
                    <a:pt x="1268" y="1056"/>
                  </a:lnTo>
                  <a:close/>
                  <a:moveTo>
                    <a:pt x="1260" y="1047"/>
                  </a:moveTo>
                  <a:lnTo>
                    <a:pt x="1260" y="1047"/>
                  </a:lnTo>
                  <a:lnTo>
                    <a:pt x="1270" y="1060"/>
                  </a:lnTo>
                  <a:lnTo>
                    <a:pt x="1276" y="1074"/>
                  </a:lnTo>
                  <a:lnTo>
                    <a:pt x="1280" y="1088"/>
                  </a:lnTo>
                  <a:lnTo>
                    <a:pt x="1282" y="1102"/>
                  </a:lnTo>
                  <a:lnTo>
                    <a:pt x="1280" y="1118"/>
                  </a:lnTo>
                  <a:lnTo>
                    <a:pt x="1276" y="1132"/>
                  </a:lnTo>
                  <a:lnTo>
                    <a:pt x="1270" y="1146"/>
                  </a:lnTo>
                  <a:lnTo>
                    <a:pt x="1260" y="1158"/>
                  </a:lnTo>
                  <a:lnTo>
                    <a:pt x="1260" y="1158"/>
                  </a:lnTo>
                  <a:lnTo>
                    <a:pt x="1248" y="1168"/>
                  </a:lnTo>
                  <a:lnTo>
                    <a:pt x="1236" y="1176"/>
                  </a:lnTo>
                  <a:lnTo>
                    <a:pt x="1222" y="1180"/>
                  </a:lnTo>
                  <a:lnTo>
                    <a:pt x="1208" y="1180"/>
                  </a:lnTo>
                  <a:lnTo>
                    <a:pt x="1194" y="1180"/>
                  </a:lnTo>
                  <a:lnTo>
                    <a:pt x="1180" y="1176"/>
                  </a:lnTo>
                  <a:lnTo>
                    <a:pt x="1166" y="1168"/>
                  </a:lnTo>
                  <a:lnTo>
                    <a:pt x="1154" y="1158"/>
                  </a:lnTo>
                  <a:lnTo>
                    <a:pt x="1154" y="1158"/>
                  </a:lnTo>
                  <a:lnTo>
                    <a:pt x="1146" y="1146"/>
                  </a:lnTo>
                  <a:lnTo>
                    <a:pt x="1138" y="1132"/>
                  </a:lnTo>
                  <a:lnTo>
                    <a:pt x="1134" y="1118"/>
                  </a:lnTo>
                  <a:lnTo>
                    <a:pt x="1134" y="1102"/>
                  </a:lnTo>
                  <a:lnTo>
                    <a:pt x="1134" y="1088"/>
                  </a:lnTo>
                  <a:lnTo>
                    <a:pt x="1138" y="1074"/>
                  </a:lnTo>
                  <a:lnTo>
                    <a:pt x="1146" y="1060"/>
                  </a:lnTo>
                  <a:lnTo>
                    <a:pt x="1154" y="1047"/>
                  </a:lnTo>
                  <a:lnTo>
                    <a:pt x="1154" y="1047"/>
                  </a:lnTo>
                  <a:lnTo>
                    <a:pt x="1166" y="1037"/>
                  </a:lnTo>
                  <a:lnTo>
                    <a:pt x="1180" y="1029"/>
                  </a:lnTo>
                  <a:lnTo>
                    <a:pt x="1194" y="1025"/>
                  </a:lnTo>
                  <a:lnTo>
                    <a:pt x="1208" y="1023"/>
                  </a:lnTo>
                  <a:lnTo>
                    <a:pt x="1222" y="1025"/>
                  </a:lnTo>
                  <a:lnTo>
                    <a:pt x="1236" y="1029"/>
                  </a:lnTo>
                  <a:lnTo>
                    <a:pt x="1248" y="1037"/>
                  </a:lnTo>
                  <a:lnTo>
                    <a:pt x="1260" y="1047"/>
                  </a:lnTo>
                  <a:lnTo>
                    <a:pt x="1260" y="1047"/>
                  </a:lnTo>
                  <a:close/>
                  <a:moveTo>
                    <a:pt x="1454" y="740"/>
                  </a:moveTo>
                  <a:lnTo>
                    <a:pt x="1454" y="740"/>
                  </a:lnTo>
                  <a:lnTo>
                    <a:pt x="1448" y="755"/>
                  </a:lnTo>
                  <a:lnTo>
                    <a:pt x="1440" y="769"/>
                  </a:lnTo>
                  <a:lnTo>
                    <a:pt x="1432" y="781"/>
                  </a:lnTo>
                  <a:lnTo>
                    <a:pt x="1420" y="789"/>
                  </a:lnTo>
                  <a:lnTo>
                    <a:pt x="1408" y="795"/>
                  </a:lnTo>
                  <a:lnTo>
                    <a:pt x="1394" y="801"/>
                  </a:lnTo>
                  <a:lnTo>
                    <a:pt x="1380" y="801"/>
                  </a:lnTo>
                  <a:lnTo>
                    <a:pt x="1364" y="799"/>
                  </a:lnTo>
                  <a:lnTo>
                    <a:pt x="1364" y="799"/>
                  </a:lnTo>
                  <a:lnTo>
                    <a:pt x="1350" y="795"/>
                  </a:lnTo>
                  <a:lnTo>
                    <a:pt x="1338" y="787"/>
                  </a:lnTo>
                  <a:lnTo>
                    <a:pt x="1326" y="777"/>
                  </a:lnTo>
                  <a:lnTo>
                    <a:pt x="1318" y="765"/>
                  </a:lnTo>
                  <a:lnTo>
                    <a:pt x="1312" y="750"/>
                  </a:lnTo>
                  <a:lnTo>
                    <a:pt x="1308" y="736"/>
                  </a:lnTo>
                  <a:lnTo>
                    <a:pt x="1306" y="720"/>
                  </a:lnTo>
                  <a:lnTo>
                    <a:pt x="1308" y="704"/>
                  </a:lnTo>
                  <a:lnTo>
                    <a:pt x="1308" y="704"/>
                  </a:lnTo>
                  <a:lnTo>
                    <a:pt x="1314" y="690"/>
                  </a:lnTo>
                  <a:lnTo>
                    <a:pt x="1320" y="676"/>
                  </a:lnTo>
                  <a:lnTo>
                    <a:pt x="1330" y="664"/>
                  </a:lnTo>
                  <a:lnTo>
                    <a:pt x="1342" y="656"/>
                  </a:lnTo>
                  <a:lnTo>
                    <a:pt x="1354" y="650"/>
                  </a:lnTo>
                  <a:lnTo>
                    <a:pt x="1368" y="644"/>
                  </a:lnTo>
                  <a:lnTo>
                    <a:pt x="1382" y="644"/>
                  </a:lnTo>
                  <a:lnTo>
                    <a:pt x="1398" y="646"/>
                  </a:lnTo>
                  <a:lnTo>
                    <a:pt x="1398" y="646"/>
                  </a:lnTo>
                  <a:lnTo>
                    <a:pt x="1386" y="644"/>
                  </a:lnTo>
                  <a:lnTo>
                    <a:pt x="1398" y="646"/>
                  </a:lnTo>
                  <a:lnTo>
                    <a:pt x="1398" y="646"/>
                  </a:lnTo>
                  <a:lnTo>
                    <a:pt x="1402" y="646"/>
                  </a:lnTo>
                  <a:lnTo>
                    <a:pt x="1402" y="646"/>
                  </a:lnTo>
                  <a:lnTo>
                    <a:pt x="1398" y="646"/>
                  </a:lnTo>
                  <a:lnTo>
                    <a:pt x="1398" y="646"/>
                  </a:lnTo>
                  <a:lnTo>
                    <a:pt x="1412" y="650"/>
                  </a:lnTo>
                  <a:lnTo>
                    <a:pt x="1424" y="658"/>
                  </a:lnTo>
                  <a:lnTo>
                    <a:pt x="1434" y="668"/>
                  </a:lnTo>
                  <a:lnTo>
                    <a:pt x="1444" y="680"/>
                  </a:lnTo>
                  <a:lnTo>
                    <a:pt x="1450" y="694"/>
                  </a:lnTo>
                  <a:lnTo>
                    <a:pt x="1454" y="708"/>
                  </a:lnTo>
                  <a:lnTo>
                    <a:pt x="1454" y="724"/>
                  </a:lnTo>
                  <a:lnTo>
                    <a:pt x="1454" y="740"/>
                  </a:lnTo>
                  <a:lnTo>
                    <a:pt x="1454" y="740"/>
                  </a:lnTo>
                  <a:close/>
                  <a:moveTo>
                    <a:pt x="1408" y="648"/>
                  </a:moveTo>
                  <a:lnTo>
                    <a:pt x="1408" y="648"/>
                  </a:lnTo>
                  <a:lnTo>
                    <a:pt x="1404" y="648"/>
                  </a:lnTo>
                  <a:lnTo>
                    <a:pt x="1404" y="648"/>
                  </a:lnTo>
                  <a:lnTo>
                    <a:pt x="1408" y="648"/>
                  </a:lnTo>
                  <a:lnTo>
                    <a:pt x="1408" y="64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T America" panose="00000500000000000000" pitchFamily="2" charset="0"/>
                <a:ea typeface="+mn-ea"/>
                <a:cs typeface="+mn-cs"/>
              </a:endParaRPr>
            </a:p>
          </p:txBody>
        </p:sp>
      </p:grpSp>
      <p:grpSp>
        <p:nvGrpSpPr>
          <p:cNvPr id="69" name="Group 48"/>
          <p:cNvGrpSpPr>
            <a:grpSpLocks noChangeAspect="1"/>
          </p:cNvGrpSpPr>
          <p:nvPr/>
        </p:nvGrpSpPr>
        <p:grpSpPr bwMode="auto">
          <a:xfrm>
            <a:off x="11357029" y="5237779"/>
            <a:ext cx="279989" cy="801688"/>
            <a:chOff x="3584" y="1427"/>
            <a:chExt cx="512" cy="1466"/>
          </a:xfrm>
          <a:solidFill>
            <a:schemeClr val="bg1"/>
          </a:solidFill>
        </p:grpSpPr>
        <p:sp>
          <p:nvSpPr>
            <p:cNvPr id="74" name="Freeform 49"/>
            <p:cNvSpPr>
              <a:spLocks noEditPoints="1"/>
            </p:cNvSpPr>
            <p:nvPr/>
          </p:nvSpPr>
          <p:spPr bwMode="auto">
            <a:xfrm>
              <a:off x="3584" y="1616"/>
              <a:ext cx="512" cy="1277"/>
            </a:xfrm>
            <a:custGeom>
              <a:avLst/>
              <a:gdLst>
                <a:gd name="T0" fmla="*/ 296 w 512"/>
                <a:gd name="T1" fmla="*/ 441 h 1277"/>
                <a:gd name="T2" fmla="*/ 296 w 512"/>
                <a:gd name="T3" fmla="*/ 393 h 1277"/>
                <a:gd name="T4" fmla="*/ 298 w 512"/>
                <a:gd name="T5" fmla="*/ 379 h 1277"/>
                <a:gd name="T6" fmla="*/ 314 w 512"/>
                <a:gd name="T7" fmla="*/ 379 h 1277"/>
                <a:gd name="T8" fmla="*/ 338 w 512"/>
                <a:gd name="T9" fmla="*/ 379 h 1277"/>
                <a:gd name="T10" fmla="*/ 382 w 512"/>
                <a:gd name="T11" fmla="*/ 377 h 1277"/>
                <a:gd name="T12" fmla="*/ 426 w 512"/>
                <a:gd name="T13" fmla="*/ 365 h 1277"/>
                <a:gd name="T14" fmla="*/ 452 w 512"/>
                <a:gd name="T15" fmla="*/ 348 h 1277"/>
                <a:gd name="T16" fmla="*/ 484 w 512"/>
                <a:gd name="T17" fmla="*/ 314 h 1277"/>
                <a:gd name="T18" fmla="*/ 504 w 512"/>
                <a:gd name="T19" fmla="*/ 272 h 1277"/>
                <a:gd name="T20" fmla="*/ 510 w 512"/>
                <a:gd name="T21" fmla="*/ 216 h 1277"/>
                <a:gd name="T22" fmla="*/ 510 w 512"/>
                <a:gd name="T23" fmla="*/ 62 h 1277"/>
                <a:gd name="T24" fmla="*/ 510 w 512"/>
                <a:gd name="T25" fmla="*/ 24 h 1277"/>
                <a:gd name="T26" fmla="*/ 510 w 512"/>
                <a:gd name="T27" fmla="*/ 2 h 1277"/>
                <a:gd name="T28" fmla="*/ 504 w 512"/>
                <a:gd name="T29" fmla="*/ 0 h 1277"/>
                <a:gd name="T30" fmla="*/ 438 w 512"/>
                <a:gd name="T31" fmla="*/ 2 h 1277"/>
                <a:gd name="T32" fmla="*/ 78 w 512"/>
                <a:gd name="T33" fmla="*/ 2 h 1277"/>
                <a:gd name="T34" fmla="*/ 10 w 512"/>
                <a:gd name="T35" fmla="*/ 0 h 1277"/>
                <a:gd name="T36" fmla="*/ 0 w 512"/>
                <a:gd name="T37" fmla="*/ 2 h 1277"/>
                <a:gd name="T38" fmla="*/ 0 w 512"/>
                <a:gd name="T39" fmla="*/ 18 h 1277"/>
                <a:gd name="T40" fmla="*/ 0 w 512"/>
                <a:gd name="T41" fmla="*/ 52 h 1277"/>
                <a:gd name="T42" fmla="*/ 0 w 512"/>
                <a:gd name="T43" fmla="*/ 206 h 1277"/>
                <a:gd name="T44" fmla="*/ 4 w 512"/>
                <a:gd name="T45" fmla="*/ 264 h 1277"/>
                <a:gd name="T46" fmla="*/ 20 w 512"/>
                <a:gd name="T47" fmla="*/ 308 h 1277"/>
                <a:gd name="T48" fmla="*/ 50 w 512"/>
                <a:gd name="T49" fmla="*/ 342 h 1277"/>
                <a:gd name="T50" fmla="*/ 76 w 512"/>
                <a:gd name="T51" fmla="*/ 360 h 1277"/>
                <a:gd name="T52" fmla="*/ 122 w 512"/>
                <a:gd name="T53" fmla="*/ 377 h 1277"/>
                <a:gd name="T54" fmla="*/ 156 w 512"/>
                <a:gd name="T55" fmla="*/ 377 h 1277"/>
                <a:gd name="T56" fmla="*/ 210 w 512"/>
                <a:gd name="T57" fmla="*/ 379 h 1277"/>
                <a:gd name="T58" fmla="*/ 214 w 512"/>
                <a:gd name="T59" fmla="*/ 381 h 1277"/>
                <a:gd name="T60" fmla="*/ 214 w 512"/>
                <a:gd name="T61" fmla="*/ 395 h 1277"/>
                <a:gd name="T62" fmla="*/ 214 w 512"/>
                <a:gd name="T63" fmla="*/ 457 h 1277"/>
                <a:gd name="T64" fmla="*/ 214 w 512"/>
                <a:gd name="T65" fmla="*/ 908 h 1277"/>
                <a:gd name="T66" fmla="*/ 214 w 512"/>
                <a:gd name="T67" fmla="*/ 1195 h 1277"/>
                <a:gd name="T68" fmla="*/ 214 w 512"/>
                <a:gd name="T69" fmla="*/ 1263 h 1277"/>
                <a:gd name="T70" fmla="*/ 214 w 512"/>
                <a:gd name="T71" fmla="*/ 1275 h 1277"/>
                <a:gd name="T72" fmla="*/ 234 w 512"/>
                <a:gd name="T73" fmla="*/ 1277 h 1277"/>
                <a:gd name="T74" fmla="*/ 278 w 512"/>
                <a:gd name="T75" fmla="*/ 1277 h 1277"/>
                <a:gd name="T76" fmla="*/ 296 w 512"/>
                <a:gd name="T77" fmla="*/ 1273 h 1277"/>
                <a:gd name="T78" fmla="*/ 296 w 512"/>
                <a:gd name="T79" fmla="*/ 1257 h 1277"/>
                <a:gd name="T80" fmla="*/ 296 w 512"/>
                <a:gd name="T81" fmla="*/ 1225 h 1277"/>
                <a:gd name="T82" fmla="*/ 296 w 512"/>
                <a:gd name="T83" fmla="*/ 1086 h 1277"/>
                <a:gd name="T84" fmla="*/ 296 w 512"/>
                <a:gd name="T85" fmla="*/ 800 h 1277"/>
                <a:gd name="T86" fmla="*/ 454 w 512"/>
                <a:gd name="T87" fmla="*/ 34 h 1277"/>
                <a:gd name="T88" fmla="*/ 460 w 512"/>
                <a:gd name="T89" fmla="*/ 32 h 1277"/>
                <a:gd name="T90" fmla="*/ 466 w 512"/>
                <a:gd name="T91" fmla="*/ 42 h 1277"/>
                <a:gd name="T92" fmla="*/ 466 w 512"/>
                <a:gd name="T93" fmla="*/ 110 h 1277"/>
                <a:gd name="T94" fmla="*/ 466 w 512"/>
                <a:gd name="T95" fmla="*/ 242 h 1277"/>
                <a:gd name="T96" fmla="*/ 462 w 512"/>
                <a:gd name="T97" fmla="*/ 266 h 1277"/>
                <a:gd name="T98" fmla="*/ 454 w 512"/>
                <a:gd name="T99" fmla="*/ 264 h 1277"/>
                <a:gd name="T100" fmla="*/ 450 w 512"/>
                <a:gd name="T101" fmla="*/ 236 h 1277"/>
                <a:gd name="T102" fmla="*/ 450 w 512"/>
                <a:gd name="T103" fmla="*/ 160 h 12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512" h="1277">
                  <a:moveTo>
                    <a:pt x="296" y="800"/>
                  </a:moveTo>
                  <a:lnTo>
                    <a:pt x="296" y="800"/>
                  </a:lnTo>
                  <a:lnTo>
                    <a:pt x="296" y="441"/>
                  </a:lnTo>
                  <a:lnTo>
                    <a:pt x="296" y="441"/>
                  </a:lnTo>
                  <a:lnTo>
                    <a:pt x="296" y="393"/>
                  </a:lnTo>
                  <a:lnTo>
                    <a:pt x="296" y="393"/>
                  </a:lnTo>
                  <a:lnTo>
                    <a:pt x="296" y="385"/>
                  </a:lnTo>
                  <a:lnTo>
                    <a:pt x="296" y="381"/>
                  </a:lnTo>
                  <a:lnTo>
                    <a:pt x="298" y="379"/>
                  </a:lnTo>
                  <a:lnTo>
                    <a:pt x="298" y="379"/>
                  </a:lnTo>
                  <a:lnTo>
                    <a:pt x="306" y="377"/>
                  </a:lnTo>
                  <a:lnTo>
                    <a:pt x="314" y="379"/>
                  </a:lnTo>
                  <a:lnTo>
                    <a:pt x="314" y="379"/>
                  </a:lnTo>
                  <a:lnTo>
                    <a:pt x="338" y="379"/>
                  </a:lnTo>
                  <a:lnTo>
                    <a:pt x="338" y="379"/>
                  </a:lnTo>
                  <a:lnTo>
                    <a:pt x="368" y="379"/>
                  </a:lnTo>
                  <a:lnTo>
                    <a:pt x="368" y="379"/>
                  </a:lnTo>
                  <a:lnTo>
                    <a:pt x="382" y="377"/>
                  </a:lnTo>
                  <a:lnTo>
                    <a:pt x="398" y="375"/>
                  </a:lnTo>
                  <a:lnTo>
                    <a:pt x="412" y="371"/>
                  </a:lnTo>
                  <a:lnTo>
                    <a:pt x="426" y="365"/>
                  </a:lnTo>
                  <a:lnTo>
                    <a:pt x="426" y="365"/>
                  </a:lnTo>
                  <a:lnTo>
                    <a:pt x="440" y="356"/>
                  </a:lnTo>
                  <a:lnTo>
                    <a:pt x="452" y="348"/>
                  </a:lnTo>
                  <a:lnTo>
                    <a:pt x="464" y="338"/>
                  </a:lnTo>
                  <a:lnTo>
                    <a:pt x="476" y="326"/>
                  </a:lnTo>
                  <a:lnTo>
                    <a:pt x="484" y="314"/>
                  </a:lnTo>
                  <a:lnTo>
                    <a:pt x="492" y="302"/>
                  </a:lnTo>
                  <a:lnTo>
                    <a:pt x="500" y="288"/>
                  </a:lnTo>
                  <a:lnTo>
                    <a:pt x="504" y="272"/>
                  </a:lnTo>
                  <a:lnTo>
                    <a:pt x="504" y="272"/>
                  </a:lnTo>
                  <a:lnTo>
                    <a:pt x="510" y="244"/>
                  </a:lnTo>
                  <a:lnTo>
                    <a:pt x="510" y="216"/>
                  </a:lnTo>
                  <a:lnTo>
                    <a:pt x="510" y="158"/>
                  </a:lnTo>
                  <a:lnTo>
                    <a:pt x="510" y="158"/>
                  </a:lnTo>
                  <a:lnTo>
                    <a:pt x="510" y="62"/>
                  </a:lnTo>
                  <a:lnTo>
                    <a:pt x="510" y="62"/>
                  </a:lnTo>
                  <a:lnTo>
                    <a:pt x="510" y="24"/>
                  </a:lnTo>
                  <a:lnTo>
                    <a:pt x="510" y="24"/>
                  </a:lnTo>
                  <a:lnTo>
                    <a:pt x="512" y="14"/>
                  </a:lnTo>
                  <a:lnTo>
                    <a:pt x="512" y="8"/>
                  </a:lnTo>
                  <a:lnTo>
                    <a:pt x="510" y="2"/>
                  </a:lnTo>
                  <a:lnTo>
                    <a:pt x="510" y="2"/>
                  </a:lnTo>
                  <a:lnTo>
                    <a:pt x="508" y="2"/>
                  </a:lnTo>
                  <a:lnTo>
                    <a:pt x="504" y="0"/>
                  </a:lnTo>
                  <a:lnTo>
                    <a:pt x="494" y="2"/>
                  </a:lnTo>
                  <a:lnTo>
                    <a:pt x="494" y="2"/>
                  </a:lnTo>
                  <a:lnTo>
                    <a:pt x="438" y="2"/>
                  </a:lnTo>
                  <a:lnTo>
                    <a:pt x="438" y="2"/>
                  </a:lnTo>
                  <a:lnTo>
                    <a:pt x="78" y="2"/>
                  </a:lnTo>
                  <a:lnTo>
                    <a:pt x="78" y="2"/>
                  </a:lnTo>
                  <a:lnTo>
                    <a:pt x="20" y="2"/>
                  </a:lnTo>
                  <a:lnTo>
                    <a:pt x="20" y="2"/>
                  </a:lnTo>
                  <a:lnTo>
                    <a:pt x="10" y="0"/>
                  </a:lnTo>
                  <a:lnTo>
                    <a:pt x="4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4"/>
                  </a:lnTo>
                  <a:lnTo>
                    <a:pt x="0" y="10"/>
                  </a:lnTo>
                  <a:lnTo>
                    <a:pt x="0" y="18"/>
                  </a:lnTo>
                  <a:lnTo>
                    <a:pt x="0" y="18"/>
                  </a:lnTo>
                  <a:lnTo>
                    <a:pt x="0" y="52"/>
                  </a:lnTo>
                  <a:lnTo>
                    <a:pt x="0" y="52"/>
                  </a:lnTo>
                  <a:lnTo>
                    <a:pt x="0" y="148"/>
                  </a:lnTo>
                  <a:lnTo>
                    <a:pt x="0" y="148"/>
                  </a:lnTo>
                  <a:lnTo>
                    <a:pt x="0" y="206"/>
                  </a:lnTo>
                  <a:lnTo>
                    <a:pt x="0" y="236"/>
                  </a:lnTo>
                  <a:lnTo>
                    <a:pt x="4" y="264"/>
                  </a:lnTo>
                  <a:lnTo>
                    <a:pt x="4" y="264"/>
                  </a:lnTo>
                  <a:lnTo>
                    <a:pt x="8" y="280"/>
                  </a:lnTo>
                  <a:lnTo>
                    <a:pt x="14" y="294"/>
                  </a:lnTo>
                  <a:lnTo>
                    <a:pt x="20" y="308"/>
                  </a:lnTo>
                  <a:lnTo>
                    <a:pt x="30" y="320"/>
                  </a:lnTo>
                  <a:lnTo>
                    <a:pt x="40" y="332"/>
                  </a:lnTo>
                  <a:lnTo>
                    <a:pt x="50" y="342"/>
                  </a:lnTo>
                  <a:lnTo>
                    <a:pt x="62" y="352"/>
                  </a:lnTo>
                  <a:lnTo>
                    <a:pt x="76" y="360"/>
                  </a:lnTo>
                  <a:lnTo>
                    <a:pt x="76" y="360"/>
                  </a:lnTo>
                  <a:lnTo>
                    <a:pt x="90" y="367"/>
                  </a:lnTo>
                  <a:lnTo>
                    <a:pt x="106" y="373"/>
                  </a:lnTo>
                  <a:lnTo>
                    <a:pt x="122" y="377"/>
                  </a:lnTo>
                  <a:lnTo>
                    <a:pt x="138" y="377"/>
                  </a:lnTo>
                  <a:lnTo>
                    <a:pt x="138" y="377"/>
                  </a:lnTo>
                  <a:lnTo>
                    <a:pt x="156" y="377"/>
                  </a:lnTo>
                  <a:lnTo>
                    <a:pt x="174" y="377"/>
                  </a:lnTo>
                  <a:lnTo>
                    <a:pt x="192" y="377"/>
                  </a:lnTo>
                  <a:lnTo>
                    <a:pt x="210" y="379"/>
                  </a:lnTo>
                  <a:lnTo>
                    <a:pt x="210" y="379"/>
                  </a:lnTo>
                  <a:lnTo>
                    <a:pt x="214" y="379"/>
                  </a:lnTo>
                  <a:lnTo>
                    <a:pt x="214" y="381"/>
                  </a:lnTo>
                  <a:lnTo>
                    <a:pt x="214" y="381"/>
                  </a:lnTo>
                  <a:lnTo>
                    <a:pt x="216" y="389"/>
                  </a:lnTo>
                  <a:lnTo>
                    <a:pt x="214" y="395"/>
                  </a:lnTo>
                  <a:lnTo>
                    <a:pt x="214" y="395"/>
                  </a:lnTo>
                  <a:lnTo>
                    <a:pt x="214" y="457"/>
                  </a:lnTo>
                  <a:lnTo>
                    <a:pt x="214" y="457"/>
                  </a:lnTo>
                  <a:lnTo>
                    <a:pt x="214" y="802"/>
                  </a:lnTo>
                  <a:lnTo>
                    <a:pt x="214" y="802"/>
                  </a:lnTo>
                  <a:lnTo>
                    <a:pt x="214" y="908"/>
                  </a:lnTo>
                  <a:lnTo>
                    <a:pt x="214" y="908"/>
                  </a:lnTo>
                  <a:lnTo>
                    <a:pt x="214" y="1195"/>
                  </a:lnTo>
                  <a:lnTo>
                    <a:pt x="214" y="1195"/>
                  </a:lnTo>
                  <a:lnTo>
                    <a:pt x="214" y="1249"/>
                  </a:lnTo>
                  <a:lnTo>
                    <a:pt x="214" y="1249"/>
                  </a:lnTo>
                  <a:lnTo>
                    <a:pt x="214" y="1263"/>
                  </a:lnTo>
                  <a:lnTo>
                    <a:pt x="214" y="1269"/>
                  </a:lnTo>
                  <a:lnTo>
                    <a:pt x="214" y="1275"/>
                  </a:lnTo>
                  <a:lnTo>
                    <a:pt x="214" y="1275"/>
                  </a:lnTo>
                  <a:lnTo>
                    <a:pt x="218" y="1277"/>
                  </a:lnTo>
                  <a:lnTo>
                    <a:pt x="222" y="1277"/>
                  </a:lnTo>
                  <a:lnTo>
                    <a:pt x="234" y="1277"/>
                  </a:lnTo>
                  <a:lnTo>
                    <a:pt x="256" y="1275"/>
                  </a:lnTo>
                  <a:lnTo>
                    <a:pt x="256" y="1275"/>
                  </a:lnTo>
                  <a:lnTo>
                    <a:pt x="278" y="1277"/>
                  </a:lnTo>
                  <a:lnTo>
                    <a:pt x="290" y="1277"/>
                  </a:lnTo>
                  <a:lnTo>
                    <a:pt x="294" y="1275"/>
                  </a:lnTo>
                  <a:lnTo>
                    <a:pt x="296" y="1273"/>
                  </a:lnTo>
                  <a:lnTo>
                    <a:pt x="296" y="1273"/>
                  </a:lnTo>
                  <a:lnTo>
                    <a:pt x="296" y="1265"/>
                  </a:lnTo>
                  <a:lnTo>
                    <a:pt x="296" y="1257"/>
                  </a:lnTo>
                  <a:lnTo>
                    <a:pt x="296" y="1257"/>
                  </a:lnTo>
                  <a:lnTo>
                    <a:pt x="296" y="1225"/>
                  </a:lnTo>
                  <a:lnTo>
                    <a:pt x="296" y="1225"/>
                  </a:lnTo>
                  <a:lnTo>
                    <a:pt x="296" y="1149"/>
                  </a:lnTo>
                  <a:lnTo>
                    <a:pt x="296" y="1149"/>
                  </a:lnTo>
                  <a:lnTo>
                    <a:pt x="296" y="1086"/>
                  </a:lnTo>
                  <a:lnTo>
                    <a:pt x="296" y="1086"/>
                  </a:lnTo>
                  <a:lnTo>
                    <a:pt x="296" y="800"/>
                  </a:lnTo>
                  <a:lnTo>
                    <a:pt x="296" y="800"/>
                  </a:lnTo>
                  <a:close/>
                  <a:moveTo>
                    <a:pt x="450" y="38"/>
                  </a:moveTo>
                  <a:lnTo>
                    <a:pt x="450" y="38"/>
                  </a:lnTo>
                  <a:lnTo>
                    <a:pt x="454" y="34"/>
                  </a:lnTo>
                  <a:lnTo>
                    <a:pt x="456" y="32"/>
                  </a:lnTo>
                  <a:lnTo>
                    <a:pt x="460" y="32"/>
                  </a:lnTo>
                  <a:lnTo>
                    <a:pt x="460" y="32"/>
                  </a:lnTo>
                  <a:lnTo>
                    <a:pt x="462" y="32"/>
                  </a:lnTo>
                  <a:lnTo>
                    <a:pt x="464" y="34"/>
                  </a:lnTo>
                  <a:lnTo>
                    <a:pt x="466" y="42"/>
                  </a:lnTo>
                  <a:lnTo>
                    <a:pt x="468" y="54"/>
                  </a:lnTo>
                  <a:lnTo>
                    <a:pt x="468" y="68"/>
                  </a:lnTo>
                  <a:lnTo>
                    <a:pt x="466" y="110"/>
                  </a:lnTo>
                  <a:lnTo>
                    <a:pt x="466" y="110"/>
                  </a:lnTo>
                  <a:lnTo>
                    <a:pt x="466" y="242"/>
                  </a:lnTo>
                  <a:lnTo>
                    <a:pt x="466" y="242"/>
                  </a:lnTo>
                  <a:lnTo>
                    <a:pt x="466" y="256"/>
                  </a:lnTo>
                  <a:lnTo>
                    <a:pt x="464" y="264"/>
                  </a:lnTo>
                  <a:lnTo>
                    <a:pt x="462" y="266"/>
                  </a:lnTo>
                  <a:lnTo>
                    <a:pt x="458" y="266"/>
                  </a:lnTo>
                  <a:lnTo>
                    <a:pt x="458" y="266"/>
                  </a:lnTo>
                  <a:lnTo>
                    <a:pt x="454" y="264"/>
                  </a:lnTo>
                  <a:lnTo>
                    <a:pt x="452" y="262"/>
                  </a:lnTo>
                  <a:lnTo>
                    <a:pt x="450" y="252"/>
                  </a:lnTo>
                  <a:lnTo>
                    <a:pt x="450" y="236"/>
                  </a:lnTo>
                  <a:lnTo>
                    <a:pt x="450" y="236"/>
                  </a:lnTo>
                  <a:lnTo>
                    <a:pt x="450" y="160"/>
                  </a:lnTo>
                  <a:lnTo>
                    <a:pt x="450" y="160"/>
                  </a:lnTo>
                  <a:lnTo>
                    <a:pt x="450" y="38"/>
                  </a:lnTo>
                  <a:lnTo>
                    <a:pt x="450" y="3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T America" panose="00000500000000000000" pitchFamily="2" charset="0"/>
                <a:ea typeface="+mn-ea"/>
                <a:cs typeface="+mn-cs"/>
              </a:endParaRPr>
            </a:p>
          </p:txBody>
        </p:sp>
        <p:sp>
          <p:nvSpPr>
            <p:cNvPr id="75" name="Freeform 50"/>
            <p:cNvSpPr>
              <a:spLocks/>
            </p:cNvSpPr>
            <p:nvPr/>
          </p:nvSpPr>
          <p:spPr bwMode="auto">
            <a:xfrm>
              <a:off x="3920" y="1427"/>
              <a:ext cx="70" cy="166"/>
            </a:xfrm>
            <a:custGeom>
              <a:avLst/>
              <a:gdLst>
                <a:gd name="T0" fmla="*/ 0 w 70"/>
                <a:gd name="T1" fmla="*/ 2 h 166"/>
                <a:gd name="T2" fmla="*/ 0 w 70"/>
                <a:gd name="T3" fmla="*/ 2 h 166"/>
                <a:gd name="T4" fmla="*/ 0 w 70"/>
                <a:gd name="T5" fmla="*/ 96 h 166"/>
                <a:gd name="T6" fmla="*/ 0 w 70"/>
                <a:gd name="T7" fmla="*/ 96 h 166"/>
                <a:gd name="T8" fmla="*/ 0 w 70"/>
                <a:gd name="T9" fmla="*/ 152 h 166"/>
                <a:gd name="T10" fmla="*/ 0 w 70"/>
                <a:gd name="T11" fmla="*/ 152 h 166"/>
                <a:gd name="T12" fmla="*/ 0 w 70"/>
                <a:gd name="T13" fmla="*/ 160 h 166"/>
                <a:gd name="T14" fmla="*/ 2 w 70"/>
                <a:gd name="T15" fmla="*/ 164 h 166"/>
                <a:gd name="T16" fmla="*/ 4 w 70"/>
                <a:gd name="T17" fmla="*/ 164 h 166"/>
                <a:gd name="T18" fmla="*/ 12 w 70"/>
                <a:gd name="T19" fmla="*/ 166 h 166"/>
                <a:gd name="T20" fmla="*/ 12 w 70"/>
                <a:gd name="T21" fmla="*/ 166 h 166"/>
                <a:gd name="T22" fmla="*/ 42 w 70"/>
                <a:gd name="T23" fmla="*/ 166 h 166"/>
                <a:gd name="T24" fmla="*/ 42 w 70"/>
                <a:gd name="T25" fmla="*/ 166 h 166"/>
                <a:gd name="T26" fmla="*/ 54 w 70"/>
                <a:gd name="T27" fmla="*/ 166 h 166"/>
                <a:gd name="T28" fmla="*/ 62 w 70"/>
                <a:gd name="T29" fmla="*/ 166 h 166"/>
                <a:gd name="T30" fmla="*/ 66 w 70"/>
                <a:gd name="T31" fmla="*/ 166 h 166"/>
                <a:gd name="T32" fmla="*/ 66 w 70"/>
                <a:gd name="T33" fmla="*/ 166 h 166"/>
                <a:gd name="T34" fmla="*/ 68 w 70"/>
                <a:gd name="T35" fmla="*/ 162 h 166"/>
                <a:gd name="T36" fmla="*/ 70 w 70"/>
                <a:gd name="T37" fmla="*/ 154 h 166"/>
                <a:gd name="T38" fmla="*/ 68 w 70"/>
                <a:gd name="T39" fmla="*/ 142 h 166"/>
                <a:gd name="T40" fmla="*/ 68 w 70"/>
                <a:gd name="T41" fmla="*/ 142 h 166"/>
                <a:gd name="T42" fmla="*/ 68 w 70"/>
                <a:gd name="T43" fmla="*/ 20 h 166"/>
                <a:gd name="T44" fmla="*/ 68 w 70"/>
                <a:gd name="T45" fmla="*/ 20 h 166"/>
                <a:gd name="T46" fmla="*/ 70 w 70"/>
                <a:gd name="T47" fmla="*/ 10 h 166"/>
                <a:gd name="T48" fmla="*/ 68 w 70"/>
                <a:gd name="T49" fmla="*/ 2 h 166"/>
                <a:gd name="T50" fmla="*/ 68 w 70"/>
                <a:gd name="T51" fmla="*/ 2 h 166"/>
                <a:gd name="T52" fmla="*/ 66 w 70"/>
                <a:gd name="T53" fmla="*/ 2 h 166"/>
                <a:gd name="T54" fmla="*/ 64 w 70"/>
                <a:gd name="T55" fmla="*/ 0 h 166"/>
                <a:gd name="T56" fmla="*/ 58 w 70"/>
                <a:gd name="T57" fmla="*/ 2 h 166"/>
                <a:gd name="T58" fmla="*/ 58 w 70"/>
                <a:gd name="T59" fmla="*/ 2 h 166"/>
                <a:gd name="T60" fmla="*/ 0 w 70"/>
                <a:gd name="T61" fmla="*/ 2 h 166"/>
                <a:gd name="T62" fmla="*/ 0 w 70"/>
                <a:gd name="T63" fmla="*/ 2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0" h="166">
                  <a:moveTo>
                    <a:pt x="0" y="2"/>
                  </a:moveTo>
                  <a:lnTo>
                    <a:pt x="0" y="2"/>
                  </a:lnTo>
                  <a:lnTo>
                    <a:pt x="0" y="96"/>
                  </a:lnTo>
                  <a:lnTo>
                    <a:pt x="0" y="96"/>
                  </a:lnTo>
                  <a:lnTo>
                    <a:pt x="0" y="152"/>
                  </a:lnTo>
                  <a:lnTo>
                    <a:pt x="0" y="152"/>
                  </a:lnTo>
                  <a:lnTo>
                    <a:pt x="0" y="160"/>
                  </a:lnTo>
                  <a:lnTo>
                    <a:pt x="2" y="164"/>
                  </a:lnTo>
                  <a:lnTo>
                    <a:pt x="4" y="164"/>
                  </a:lnTo>
                  <a:lnTo>
                    <a:pt x="12" y="166"/>
                  </a:lnTo>
                  <a:lnTo>
                    <a:pt x="12" y="166"/>
                  </a:lnTo>
                  <a:lnTo>
                    <a:pt x="42" y="166"/>
                  </a:lnTo>
                  <a:lnTo>
                    <a:pt x="42" y="166"/>
                  </a:lnTo>
                  <a:lnTo>
                    <a:pt x="54" y="166"/>
                  </a:lnTo>
                  <a:lnTo>
                    <a:pt x="62" y="166"/>
                  </a:lnTo>
                  <a:lnTo>
                    <a:pt x="66" y="166"/>
                  </a:lnTo>
                  <a:lnTo>
                    <a:pt x="66" y="166"/>
                  </a:lnTo>
                  <a:lnTo>
                    <a:pt x="68" y="162"/>
                  </a:lnTo>
                  <a:lnTo>
                    <a:pt x="70" y="154"/>
                  </a:lnTo>
                  <a:lnTo>
                    <a:pt x="68" y="142"/>
                  </a:lnTo>
                  <a:lnTo>
                    <a:pt x="68" y="142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70" y="10"/>
                  </a:lnTo>
                  <a:lnTo>
                    <a:pt x="68" y="2"/>
                  </a:lnTo>
                  <a:lnTo>
                    <a:pt x="68" y="2"/>
                  </a:lnTo>
                  <a:lnTo>
                    <a:pt x="66" y="2"/>
                  </a:lnTo>
                  <a:lnTo>
                    <a:pt x="64" y="0"/>
                  </a:lnTo>
                  <a:lnTo>
                    <a:pt x="58" y="2"/>
                  </a:lnTo>
                  <a:lnTo>
                    <a:pt x="58" y="2"/>
                  </a:lnTo>
                  <a:lnTo>
                    <a:pt x="0" y="2"/>
                  </a:lnTo>
                  <a:lnTo>
                    <a:pt x="0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T America" panose="00000500000000000000" pitchFamily="2" charset="0"/>
                <a:ea typeface="+mn-ea"/>
                <a:cs typeface="+mn-cs"/>
              </a:endParaRPr>
            </a:p>
          </p:txBody>
        </p:sp>
        <p:sp>
          <p:nvSpPr>
            <p:cNvPr id="76" name="Freeform 51"/>
            <p:cNvSpPr>
              <a:spLocks/>
            </p:cNvSpPr>
            <p:nvPr/>
          </p:nvSpPr>
          <p:spPr bwMode="auto">
            <a:xfrm>
              <a:off x="3686" y="1427"/>
              <a:ext cx="70" cy="166"/>
            </a:xfrm>
            <a:custGeom>
              <a:avLst/>
              <a:gdLst>
                <a:gd name="T0" fmla="*/ 0 w 70"/>
                <a:gd name="T1" fmla="*/ 2 h 166"/>
                <a:gd name="T2" fmla="*/ 0 w 70"/>
                <a:gd name="T3" fmla="*/ 2 h 166"/>
                <a:gd name="T4" fmla="*/ 0 w 70"/>
                <a:gd name="T5" fmla="*/ 96 h 166"/>
                <a:gd name="T6" fmla="*/ 0 w 70"/>
                <a:gd name="T7" fmla="*/ 96 h 166"/>
                <a:gd name="T8" fmla="*/ 0 w 70"/>
                <a:gd name="T9" fmla="*/ 152 h 166"/>
                <a:gd name="T10" fmla="*/ 0 w 70"/>
                <a:gd name="T11" fmla="*/ 152 h 166"/>
                <a:gd name="T12" fmla="*/ 0 w 70"/>
                <a:gd name="T13" fmla="*/ 160 h 166"/>
                <a:gd name="T14" fmla="*/ 0 w 70"/>
                <a:gd name="T15" fmla="*/ 164 h 166"/>
                <a:gd name="T16" fmla="*/ 4 w 70"/>
                <a:gd name="T17" fmla="*/ 164 h 166"/>
                <a:gd name="T18" fmla="*/ 12 w 70"/>
                <a:gd name="T19" fmla="*/ 166 h 166"/>
                <a:gd name="T20" fmla="*/ 12 w 70"/>
                <a:gd name="T21" fmla="*/ 166 h 166"/>
                <a:gd name="T22" fmla="*/ 42 w 70"/>
                <a:gd name="T23" fmla="*/ 166 h 166"/>
                <a:gd name="T24" fmla="*/ 42 w 70"/>
                <a:gd name="T25" fmla="*/ 166 h 166"/>
                <a:gd name="T26" fmla="*/ 54 w 70"/>
                <a:gd name="T27" fmla="*/ 166 h 166"/>
                <a:gd name="T28" fmla="*/ 62 w 70"/>
                <a:gd name="T29" fmla="*/ 166 h 166"/>
                <a:gd name="T30" fmla="*/ 68 w 70"/>
                <a:gd name="T31" fmla="*/ 166 h 166"/>
                <a:gd name="T32" fmla="*/ 68 w 70"/>
                <a:gd name="T33" fmla="*/ 166 h 166"/>
                <a:gd name="T34" fmla="*/ 70 w 70"/>
                <a:gd name="T35" fmla="*/ 162 h 166"/>
                <a:gd name="T36" fmla="*/ 70 w 70"/>
                <a:gd name="T37" fmla="*/ 154 h 166"/>
                <a:gd name="T38" fmla="*/ 68 w 70"/>
                <a:gd name="T39" fmla="*/ 142 h 166"/>
                <a:gd name="T40" fmla="*/ 68 w 70"/>
                <a:gd name="T41" fmla="*/ 142 h 166"/>
                <a:gd name="T42" fmla="*/ 68 w 70"/>
                <a:gd name="T43" fmla="*/ 20 h 166"/>
                <a:gd name="T44" fmla="*/ 68 w 70"/>
                <a:gd name="T45" fmla="*/ 20 h 166"/>
                <a:gd name="T46" fmla="*/ 70 w 70"/>
                <a:gd name="T47" fmla="*/ 10 h 166"/>
                <a:gd name="T48" fmla="*/ 68 w 70"/>
                <a:gd name="T49" fmla="*/ 2 h 166"/>
                <a:gd name="T50" fmla="*/ 68 w 70"/>
                <a:gd name="T51" fmla="*/ 2 h 166"/>
                <a:gd name="T52" fmla="*/ 66 w 70"/>
                <a:gd name="T53" fmla="*/ 2 h 166"/>
                <a:gd name="T54" fmla="*/ 64 w 70"/>
                <a:gd name="T55" fmla="*/ 0 h 166"/>
                <a:gd name="T56" fmla="*/ 58 w 70"/>
                <a:gd name="T57" fmla="*/ 2 h 166"/>
                <a:gd name="T58" fmla="*/ 58 w 70"/>
                <a:gd name="T59" fmla="*/ 2 h 166"/>
                <a:gd name="T60" fmla="*/ 0 w 70"/>
                <a:gd name="T61" fmla="*/ 2 h 166"/>
                <a:gd name="T62" fmla="*/ 0 w 70"/>
                <a:gd name="T63" fmla="*/ 2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0" h="166">
                  <a:moveTo>
                    <a:pt x="0" y="2"/>
                  </a:moveTo>
                  <a:lnTo>
                    <a:pt x="0" y="2"/>
                  </a:lnTo>
                  <a:lnTo>
                    <a:pt x="0" y="96"/>
                  </a:lnTo>
                  <a:lnTo>
                    <a:pt x="0" y="96"/>
                  </a:lnTo>
                  <a:lnTo>
                    <a:pt x="0" y="152"/>
                  </a:lnTo>
                  <a:lnTo>
                    <a:pt x="0" y="152"/>
                  </a:lnTo>
                  <a:lnTo>
                    <a:pt x="0" y="160"/>
                  </a:lnTo>
                  <a:lnTo>
                    <a:pt x="0" y="164"/>
                  </a:lnTo>
                  <a:lnTo>
                    <a:pt x="4" y="164"/>
                  </a:lnTo>
                  <a:lnTo>
                    <a:pt x="12" y="166"/>
                  </a:lnTo>
                  <a:lnTo>
                    <a:pt x="12" y="166"/>
                  </a:lnTo>
                  <a:lnTo>
                    <a:pt x="42" y="166"/>
                  </a:lnTo>
                  <a:lnTo>
                    <a:pt x="42" y="166"/>
                  </a:lnTo>
                  <a:lnTo>
                    <a:pt x="54" y="166"/>
                  </a:lnTo>
                  <a:lnTo>
                    <a:pt x="62" y="166"/>
                  </a:lnTo>
                  <a:lnTo>
                    <a:pt x="68" y="166"/>
                  </a:lnTo>
                  <a:lnTo>
                    <a:pt x="68" y="166"/>
                  </a:lnTo>
                  <a:lnTo>
                    <a:pt x="70" y="162"/>
                  </a:lnTo>
                  <a:lnTo>
                    <a:pt x="70" y="154"/>
                  </a:lnTo>
                  <a:lnTo>
                    <a:pt x="68" y="142"/>
                  </a:lnTo>
                  <a:lnTo>
                    <a:pt x="68" y="142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70" y="10"/>
                  </a:lnTo>
                  <a:lnTo>
                    <a:pt x="68" y="2"/>
                  </a:lnTo>
                  <a:lnTo>
                    <a:pt x="68" y="2"/>
                  </a:lnTo>
                  <a:lnTo>
                    <a:pt x="66" y="2"/>
                  </a:lnTo>
                  <a:lnTo>
                    <a:pt x="64" y="0"/>
                  </a:lnTo>
                  <a:lnTo>
                    <a:pt x="58" y="2"/>
                  </a:lnTo>
                  <a:lnTo>
                    <a:pt x="58" y="2"/>
                  </a:lnTo>
                  <a:lnTo>
                    <a:pt x="0" y="2"/>
                  </a:lnTo>
                  <a:lnTo>
                    <a:pt x="0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T America" panose="00000500000000000000" pitchFamily="2" charset="0"/>
                <a:ea typeface="+mn-ea"/>
                <a:cs typeface="+mn-cs"/>
              </a:endParaRPr>
            </a:p>
          </p:txBody>
        </p:sp>
      </p:grpSp>
      <p:grpSp>
        <p:nvGrpSpPr>
          <p:cNvPr id="189" name="Group 35"/>
          <p:cNvGrpSpPr>
            <a:grpSpLocks noChangeAspect="1"/>
          </p:cNvGrpSpPr>
          <p:nvPr/>
        </p:nvGrpSpPr>
        <p:grpSpPr bwMode="auto">
          <a:xfrm>
            <a:off x="9789500" y="5362034"/>
            <a:ext cx="399979" cy="535430"/>
            <a:chOff x="3338" y="1488"/>
            <a:chExt cx="1004" cy="1344"/>
          </a:xfrm>
          <a:solidFill>
            <a:schemeClr val="bg1"/>
          </a:solidFill>
        </p:grpSpPr>
        <p:sp>
          <p:nvSpPr>
            <p:cNvPr id="190" name="Freeform 36"/>
            <p:cNvSpPr>
              <a:spLocks noEditPoints="1"/>
            </p:cNvSpPr>
            <p:nvPr/>
          </p:nvSpPr>
          <p:spPr bwMode="auto">
            <a:xfrm>
              <a:off x="3518" y="1488"/>
              <a:ext cx="644" cy="1002"/>
            </a:xfrm>
            <a:custGeom>
              <a:avLst/>
              <a:gdLst>
                <a:gd name="T0" fmla="*/ 52 w 644"/>
                <a:gd name="T1" fmla="*/ 0 h 1002"/>
                <a:gd name="T2" fmla="*/ 22 w 644"/>
                <a:gd name="T3" fmla="*/ 10 h 1002"/>
                <a:gd name="T4" fmla="*/ 4 w 644"/>
                <a:gd name="T5" fmla="*/ 32 h 1002"/>
                <a:gd name="T6" fmla="*/ 0 w 644"/>
                <a:gd name="T7" fmla="*/ 950 h 1002"/>
                <a:gd name="T8" fmla="*/ 4 w 644"/>
                <a:gd name="T9" fmla="*/ 970 h 1002"/>
                <a:gd name="T10" fmla="*/ 22 w 644"/>
                <a:gd name="T11" fmla="*/ 994 h 1002"/>
                <a:gd name="T12" fmla="*/ 52 w 644"/>
                <a:gd name="T13" fmla="*/ 1002 h 1002"/>
                <a:gd name="T14" fmla="*/ 602 w 644"/>
                <a:gd name="T15" fmla="*/ 1002 h 1002"/>
                <a:gd name="T16" fmla="*/ 630 w 644"/>
                <a:gd name="T17" fmla="*/ 986 h 1002"/>
                <a:gd name="T18" fmla="*/ 644 w 644"/>
                <a:gd name="T19" fmla="*/ 960 h 1002"/>
                <a:gd name="T20" fmla="*/ 644 w 644"/>
                <a:gd name="T21" fmla="*/ 54 h 1002"/>
                <a:gd name="T22" fmla="*/ 636 w 644"/>
                <a:gd name="T23" fmla="*/ 24 h 1002"/>
                <a:gd name="T24" fmla="*/ 612 w 644"/>
                <a:gd name="T25" fmla="*/ 4 h 1002"/>
                <a:gd name="T26" fmla="*/ 592 w 644"/>
                <a:gd name="T27" fmla="*/ 0 h 1002"/>
                <a:gd name="T28" fmla="*/ 539 w 644"/>
                <a:gd name="T29" fmla="*/ 76 h 1002"/>
                <a:gd name="T30" fmla="*/ 549 w 644"/>
                <a:gd name="T31" fmla="*/ 84 h 1002"/>
                <a:gd name="T32" fmla="*/ 549 w 644"/>
                <a:gd name="T33" fmla="*/ 92 h 1002"/>
                <a:gd name="T34" fmla="*/ 539 w 644"/>
                <a:gd name="T35" fmla="*/ 100 h 1002"/>
                <a:gd name="T36" fmla="*/ 101 w 644"/>
                <a:gd name="T37" fmla="*/ 98 h 1002"/>
                <a:gd name="T38" fmla="*/ 93 w 644"/>
                <a:gd name="T39" fmla="*/ 88 h 1002"/>
                <a:gd name="T40" fmla="*/ 97 w 644"/>
                <a:gd name="T41" fmla="*/ 80 h 1002"/>
                <a:gd name="T42" fmla="*/ 105 w 644"/>
                <a:gd name="T43" fmla="*/ 76 h 1002"/>
                <a:gd name="T44" fmla="*/ 237 w 644"/>
                <a:gd name="T45" fmla="*/ 904 h 1002"/>
                <a:gd name="T46" fmla="*/ 225 w 644"/>
                <a:gd name="T47" fmla="*/ 912 h 1002"/>
                <a:gd name="T48" fmla="*/ 54 w 644"/>
                <a:gd name="T49" fmla="*/ 912 h 1002"/>
                <a:gd name="T50" fmla="*/ 46 w 644"/>
                <a:gd name="T51" fmla="*/ 898 h 1002"/>
                <a:gd name="T52" fmla="*/ 48 w 644"/>
                <a:gd name="T53" fmla="*/ 772 h 1002"/>
                <a:gd name="T54" fmla="*/ 60 w 644"/>
                <a:gd name="T55" fmla="*/ 762 h 1002"/>
                <a:gd name="T56" fmla="*/ 229 w 644"/>
                <a:gd name="T57" fmla="*/ 764 h 1002"/>
                <a:gd name="T58" fmla="*/ 239 w 644"/>
                <a:gd name="T59" fmla="*/ 778 h 1002"/>
                <a:gd name="T60" fmla="*/ 598 w 644"/>
                <a:gd name="T61" fmla="*/ 898 h 1002"/>
                <a:gd name="T62" fmla="*/ 588 w 644"/>
                <a:gd name="T63" fmla="*/ 912 h 1002"/>
                <a:gd name="T64" fmla="*/ 419 w 644"/>
                <a:gd name="T65" fmla="*/ 912 h 1002"/>
                <a:gd name="T66" fmla="*/ 407 w 644"/>
                <a:gd name="T67" fmla="*/ 904 h 1002"/>
                <a:gd name="T68" fmla="*/ 405 w 644"/>
                <a:gd name="T69" fmla="*/ 778 h 1002"/>
                <a:gd name="T70" fmla="*/ 415 w 644"/>
                <a:gd name="T71" fmla="*/ 764 h 1002"/>
                <a:gd name="T72" fmla="*/ 584 w 644"/>
                <a:gd name="T73" fmla="*/ 762 h 1002"/>
                <a:gd name="T74" fmla="*/ 596 w 644"/>
                <a:gd name="T75" fmla="*/ 772 h 1002"/>
                <a:gd name="T76" fmla="*/ 598 w 644"/>
                <a:gd name="T77" fmla="*/ 680 h 1002"/>
                <a:gd name="T78" fmla="*/ 594 w 644"/>
                <a:gd name="T79" fmla="*/ 688 h 1002"/>
                <a:gd name="T80" fmla="*/ 58 w 644"/>
                <a:gd name="T81" fmla="*/ 692 h 1002"/>
                <a:gd name="T82" fmla="*/ 50 w 644"/>
                <a:gd name="T83" fmla="*/ 688 h 1002"/>
                <a:gd name="T84" fmla="*/ 46 w 644"/>
                <a:gd name="T85" fmla="*/ 164 h 1002"/>
                <a:gd name="T86" fmla="*/ 50 w 644"/>
                <a:gd name="T87" fmla="*/ 154 h 1002"/>
                <a:gd name="T88" fmla="*/ 586 w 644"/>
                <a:gd name="T89" fmla="*/ 152 h 1002"/>
                <a:gd name="T90" fmla="*/ 594 w 644"/>
                <a:gd name="T91" fmla="*/ 154 h 1002"/>
                <a:gd name="T92" fmla="*/ 598 w 644"/>
                <a:gd name="T93" fmla="*/ 680 h 10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44" h="1002">
                  <a:moveTo>
                    <a:pt x="592" y="0"/>
                  </a:moveTo>
                  <a:lnTo>
                    <a:pt x="52" y="0"/>
                  </a:lnTo>
                  <a:lnTo>
                    <a:pt x="52" y="0"/>
                  </a:lnTo>
                  <a:lnTo>
                    <a:pt x="42" y="2"/>
                  </a:lnTo>
                  <a:lnTo>
                    <a:pt x="32" y="4"/>
                  </a:lnTo>
                  <a:lnTo>
                    <a:pt x="22" y="10"/>
                  </a:lnTo>
                  <a:lnTo>
                    <a:pt x="14" y="16"/>
                  </a:lnTo>
                  <a:lnTo>
                    <a:pt x="8" y="24"/>
                  </a:lnTo>
                  <a:lnTo>
                    <a:pt x="4" y="32"/>
                  </a:lnTo>
                  <a:lnTo>
                    <a:pt x="0" y="42"/>
                  </a:lnTo>
                  <a:lnTo>
                    <a:pt x="0" y="54"/>
                  </a:lnTo>
                  <a:lnTo>
                    <a:pt x="0" y="950"/>
                  </a:lnTo>
                  <a:lnTo>
                    <a:pt x="0" y="950"/>
                  </a:lnTo>
                  <a:lnTo>
                    <a:pt x="0" y="960"/>
                  </a:lnTo>
                  <a:lnTo>
                    <a:pt x="4" y="970"/>
                  </a:lnTo>
                  <a:lnTo>
                    <a:pt x="8" y="980"/>
                  </a:lnTo>
                  <a:lnTo>
                    <a:pt x="14" y="986"/>
                  </a:lnTo>
                  <a:lnTo>
                    <a:pt x="22" y="994"/>
                  </a:lnTo>
                  <a:lnTo>
                    <a:pt x="32" y="998"/>
                  </a:lnTo>
                  <a:lnTo>
                    <a:pt x="42" y="1002"/>
                  </a:lnTo>
                  <a:lnTo>
                    <a:pt x="52" y="1002"/>
                  </a:lnTo>
                  <a:lnTo>
                    <a:pt x="592" y="1002"/>
                  </a:lnTo>
                  <a:lnTo>
                    <a:pt x="592" y="1002"/>
                  </a:lnTo>
                  <a:lnTo>
                    <a:pt x="602" y="1002"/>
                  </a:lnTo>
                  <a:lnTo>
                    <a:pt x="612" y="998"/>
                  </a:lnTo>
                  <a:lnTo>
                    <a:pt x="622" y="994"/>
                  </a:lnTo>
                  <a:lnTo>
                    <a:pt x="630" y="986"/>
                  </a:lnTo>
                  <a:lnTo>
                    <a:pt x="636" y="980"/>
                  </a:lnTo>
                  <a:lnTo>
                    <a:pt x="640" y="970"/>
                  </a:lnTo>
                  <a:lnTo>
                    <a:pt x="644" y="960"/>
                  </a:lnTo>
                  <a:lnTo>
                    <a:pt x="644" y="950"/>
                  </a:lnTo>
                  <a:lnTo>
                    <a:pt x="644" y="54"/>
                  </a:lnTo>
                  <a:lnTo>
                    <a:pt x="644" y="54"/>
                  </a:lnTo>
                  <a:lnTo>
                    <a:pt x="644" y="42"/>
                  </a:lnTo>
                  <a:lnTo>
                    <a:pt x="640" y="32"/>
                  </a:lnTo>
                  <a:lnTo>
                    <a:pt x="636" y="24"/>
                  </a:lnTo>
                  <a:lnTo>
                    <a:pt x="630" y="16"/>
                  </a:lnTo>
                  <a:lnTo>
                    <a:pt x="622" y="10"/>
                  </a:lnTo>
                  <a:lnTo>
                    <a:pt x="612" y="4"/>
                  </a:lnTo>
                  <a:lnTo>
                    <a:pt x="602" y="2"/>
                  </a:lnTo>
                  <a:lnTo>
                    <a:pt x="592" y="0"/>
                  </a:lnTo>
                  <a:lnTo>
                    <a:pt x="592" y="0"/>
                  </a:lnTo>
                  <a:close/>
                  <a:moveTo>
                    <a:pt x="105" y="76"/>
                  </a:moveTo>
                  <a:lnTo>
                    <a:pt x="539" y="76"/>
                  </a:lnTo>
                  <a:lnTo>
                    <a:pt x="539" y="76"/>
                  </a:lnTo>
                  <a:lnTo>
                    <a:pt x="543" y="76"/>
                  </a:lnTo>
                  <a:lnTo>
                    <a:pt x="547" y="80"/>
                  </a:lnTo>
                  <a:lnTo>
                    <a:pt x="549" y="84"/>
                  </a:lnTo>
                  <a:lnTo>
                    <a:pt x="551" y="88"/>
                  </a:lnTo>
                  <a:lnTo>
                    <a:pt x="551" y="88"/>
                  </a:lnTo>
                  <a:lnTo>
                    <a:pt x="549" y="92"/>
                  </a:lnTo>
                  <a:lnTo>
                    <a:pt x="547" y="96"/>
                  </a:lnTo>
                  <a:lnTo>
                    <a:pt x="543" y="98"/>
                  </a:lnTo>
                  <a:lnTo>
                    <a:pt x="539" y="100"/>
                  </a:lnTo>
                  <a:lnTo>
                    <a:pt x="105" y="100"/>
                  </a:lnTo>
                  <a:lnTo>
                    <a:pt x="105" y="100"/>
                  </a:lnTo>
                  <a:lnTo>
                    <a:pt x="101" y="98"/>
                  </a:lnTo>
                  <a:lnTo>
                    <a:pt x="97" y="96"/>
                  </a:lnTo>
                  <a:lnTo>
                    <a:pt x="95" y="92"/>
                  </a:lnTo>
                  <a:lnTo>
                    <a:pt x="93" y="88"/>
                  </a:lnTo>
                  <a:lnTo>
                    <a:pt x="93" y="88"/>
                  </a:lnTo>
                  <a:lnTo>
                    <a:pt x="95" y="84"/>
                  </a:lnTo>
                  <a:lnTo>
                    <a:pt x="97" y="80"/>
                  </a:lnTo>
                  <a:lnTo>
                    <a:pt x="101" y="76"/>
                  </a:lnTo>
                  <a:lnTo>
                    <a:pt x="105" y="76"/>
                  </a:lnTo>
                  <a:lnTo>
                    <a:pt x="105" y="76"/>
                  </a:lnTo>
                  <a:close/>
                  <a:moveTo>
                    <a:pt x="239" y="898"/>
                  </a:moveTo>
                  <a:lnTo>
                    <a:pt x="239" y="898"/>
                  </a:lnTo>
                  <a:lnTo>
                    <a:pt x="237" y="904"/>
                  </a:lnTo>
                  <a:lnTo>
                    <a:pt x="235" y="908"/>
                  </a:lnTo>
                  <a:lnTo>
                    <a:pt x="229" y="912"/>
                  </a:lnTo>
                  <a:lnTo>
                    <a:pt x="225" y="912"/>
                  </a:lnTo>
                  <a:lnTo>
                    <a:pt x="60" y="912"/>
                  </a:lnTo>
                  <a:lnTo>
                    <a:pt x="60" y="912"/>
                  </a:lnTo>
                  <a:lnTo>
                    <a:pt x="54" y="912"/>
                  </a:lnTo>
                  <a:lnTo>
                    <a:pt x="50" y="908"/>
                  </a:lnTo>
                  <a:lnTo>
                    <a:pt x="48" y="904"/>
                  </a:lnTo>
                  <a:lnTo>
                    <a:pt x="46" y="898"/>
                  </a:lnTo>
                  <a:lnTo>
                    <a:pt x="46" y="778"/>
                  </a:lnTo>
                  <a:lnTo>
                    <a:pt x="46" y="778"/>
                  </a:lnTo>
                  <a:lnTo>
                    <a:pt x="48" y="772"/>
                  </a:lnTo>
                  <a:lnTo>
                    <a:pt x="50" y="768"/>
                  </a:lnTo>
                  <a:lnTo>
                    <a:pt x="54" y="764"/>
                  </a:lnTo>
                  <a:lnTo>
                    <a:pt x="60" y="762"/>
                  </a:lnTo>
                  <a:lnTo>
                    <a:pt x="225" y="762"/>
                  </a:lnTo>
                  <a:lnTo>
                    <a:pt x="225" y="762"/>
                  </a:lnTo>
                  <a:lnTo>
                    <a:pt x="229" y="764"/>
                  </a:lnTo>
                  <a:lnTo>
                    <a:pt x="235" y="768"/>
                  </a:lnTo>
                  <a:lnTo>
                    <a:pt x="237" y="772"/>
                  </a:lnTo>
                  <a:lnTo>
                    <a:pt x="239" y="778"/>
                  </a:lnTo>
                  <a:lnTo>
                    <a:pt x="239" y="898"/>
                  </a:lnTo>
                  <a:close/>
                  <a:moveTo>
                    <a:pt x="598" y="898"/>
                  </a:moveTo>
                  <a:lnTo>
                    <a:pt x="598" y="898"/>
                  </a:lnTo>
                  <a:lnTo>
                    <a:pt x="596" y="904"/>
                  </a:lnTo>
                  <a:lnTo>
                    <a:pt x="594" y="908"/>
                  </a:lnTo>
                  <a:lnTo>
                    <a:pt x="588" y="912"/>
                  </a:lnTo>
                  <a:lnTo>
                    <a:pt x="584" y="912"/>
                  </a:lnTo>
                  <a:lnTo>
                    <a:pt x="419" y="912"/>
                  </a:lnTo>
                  <a:lnTo>
                    <a:pt x="419" y="912"/>
                  </a:lnTo>
                  <a:lnTo>
                    <a:pt x="415" y="912"/>
                  </a:lnTo>
                  <a:lnTo>
                    <a:pt x="409" y="908"/>
                  </a:lnTo>
                  <a:lnTo>
                    <a:pt x="407" y="904"/>
                  </a:lnTo>
                  <a:lnTo>
                    <a:pt x="405" y="898"/>
                  </a:lnTo>
                  <a:lnTo>
                    <a:pt x="405" y="778"/>
                  </a:lnTo>
                  <a:lnTo>
                    <a:pt x="405" y="778"/>
                  </a:lnTo>
                  <a:lnTo>
                    <a:pt x="407" y="772"/>
                  </a:lnTo>
                  <a:lnTo>
                    <a:pt x="409" y="768"/>
                  </a:lnTo>
                  <a:lnTo>
                    <a:pt x="415" y="764"/>
                  </a:lnTo>
                  <a:lnTo>
                    <a:pt x="419" y="762"/>
                  </a:lnTo>
                  <a:lnTo>
                    <a:pt x="584" y="762"/>
                  </a:lnTo>
                  <a:lnTo>
                    <a:pt x="584" y="762"/>
                  </a:lnTo>
                  <a:lnTo>
                    <a:pt x="588" y="764"/>
                  </a:lnTo>
                  <a:lnTo>
                    <a:pt x="594" y="768"/>
                  </a:lnTo>
                  <a:lnTo>
                    <a:pt x="596" y="772"/>
                  </a:lnTo>
                  <a:lnTo>
                    <a:pt x="598" y="778"/>
                  </a:lnTo>
                  <a:lnTo>
                    <a:pt x="598" y="898"/>
                  </a:lnTo>
                  <a:close/>
                  <a:moveTo>
                    <a:pt x="598" y="680"/>
                  </a:moveTo>
                  <a:lnTo>
                    <a:pt x="598" y="680"/>
                  </a:lnTo>
                  <a:lnTo>
                    <a:pt x="596" y="684"/>
                  </a:lnTo>
                  <a:lnTo>
                    <a:pt x="594" y="688"/>
                  </a:lnTo>
                  <a:lnTo>
                    <a:pt x="590" y="690"/>
                  </a:lnTo>
                  <a:lnTo>
                    <a:pt x="586" y="692"/>
                  </a:lnTo>
                  <a:lnTo>
                    <a:pt x="58" y="692"/>
                  </a:lnTo>
                  <a:lnTo>
                    <a:pt x="58" y="692"/>
                  </a:lnTo>
                  <a:lnTo>
                    <a:pt x="54" y="690"/>
                  </a:lnTo>
                  <a:lnTo>
                    <a:pt x="50" y="688"/>
                  </a:lnTo>
                  <a:lnTo>
                    <a:pt x="48" y="684"/>
                  </a:lnTo>
                  <a:lnTo>
                    <a:pt x="46" y="680"/>
                  </a:lnTo>
                  <a:lnTo>
                    <a:pt x="46" y="164"/>
                  </a:lnTo>
                  <a:lnTo>
                    <a:pt x="46" y="164"/>
                  </a:lnTo>
                  <a:lnTo>
                    <a:pt x="48" y="158"/>
                  </a:lnTo>
                  <a:lnTo>
                    <a:pt x="50" y="154"/>
                  </a:lnTo>
                  <a:lnTo>
                    <a:pt x="54" y="152"/>
                  </a:lnTo>
                  <a:lnTo>
                    <a:pt x="58" y="152"/>
                  </a:lnTo>
                  <a:lnTo>
                    <a:pt x="586" y="152"/>
                  </a:lnTo>
                  <a:lnTo>
                    <a:pt x="586" y="152"/>
                  </a:lnTo>
                  <a:lnTo>
                    <a:pt x="590" y="152"/>
                  </a:lnTo>
                  <a:lnTo>
                    <a:pt x="594" y="154"/>
                  </a:lnTo>
                  <a:lnTo>
                    <a:pt x="596" y="158"/>
                  </a:lnTo>
                  <a:lnTo>
                    <a:pt x="598" y="164"/>
                  </a:lnTo>
                  <a:lnTo>
                    <a:pt x="598" y="68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T America" panose="00000500000000000000" pitchFamily="2" charset="0"/>
                <a:ea typeface="+mn-ea"/>
                <a:cs typeface="+mn-cs"/>
              </a:endParaRPr>
            </a:p>
          </p:txBody>
        </p:sp>
        <p:sp>
          <p:nvSpPr>
            <p:cNvPr id="192" name="Freeform 37"/>
            <p:cNvSpPr>
              <a:spLocks noEditPoints="1"/>
            </p:cNvSpPr>
            <p:nvPr/>
          </p:nvSpPr>
          <p:spPr bwMode="auto">
            <a:xfrm>
              <a:off x="3338" y="2506"/>
              <a:ext cx="1004" cy="326"/>
            </a:xfrm>
            <a:custGeom>
              <a:avLst/>
              <a:gdLst>
                <a:gd name="T0" fmla="*/ 998 w 1004"/>
                <a:gd name="T1" fmla="*/ 290 h 326"/>
                <a:gd name="T2" fmla="*/ 675 w 1004"/>
                <a:gd name="T3" fmla="*/ 0 h 326"/>
                <a:gd name="T4" fmla="*/ 615 w 1004"/>
                <a:gd name="T5" fmla="*/ 0 h 326"/>
                <a:gd name="T6" fmla="*/ 689 w 1004"/>
                <a:gd name="T7" fmla="*/ 66 h 326"/>
                <a:gd name="T8" fmla="*/ 315 w 1004"/>
                <a:gd name="T9" fmla="*/ 66 h 326"/>
                <a:gd name="T10" fmla="*/ 389 w 1004"/>
                <a:gd name="T11" fmla="*/ 0 h 326"/>
                <a:gd name="T12" fmla="*/ 329 w 1004"/>
                <a:gd name="T13" fmla="*/ 0 h 326"/>
                <a:gd name="T14" fmla="*/ 6 w 1004"/>
                <a:gd name="T15" fmla="*/ 290 h 326"/>
                <a:gd name="T16" fmla="*/ 6 w 1004"/>
                <a:gd name="T17" fmla="*/ 290 h 326"/>
                <a:gd name="T18" fmla="*/ 2 w 1004"/>
                <a:gd name="T19" fmla="*/ 296 h 326"/>
                <a:gd name="T20" fmla="*/ 0 w 1004"/>
                <a:gd name="T21" fmla="*/ 304 h 326"/>
                <a:gd name="T22" fmla="*/ 0 w 1004"/>
                <a:gd name="T23" fmla="*/ 312 h 326"/>
                <a:gd name="T24" fmla="*/ 4 w 1004"/>
                <a:gd name="T25" fmla="*/ 318 h 326"/>
                <a:gd name="T26" fmla="*/ 4 w 1004"/>
                <a:gd name="T27" fmla="*/ 318 h 326"/>
                <a:gd name="T28" fmla="*/ 10 w 1004"/>
                <a:gd name="T29" fmla="*/ 324 h 326"/>
                <a:gd name="T30" fmla="*/ 18 w 1004"/>
                <a:gd name="T31" fmla="*/ 326 h 326"/>
                <a:gd name="T32" fmla="*/ 26 w 1004"/>
                <a:gd name="T33" fmla="*/ 324 h 326"/>
                <a:gd name="T34" fmla="*/ 32 w 1004"/>
                <a:gd name="T35" fmla="*/ 320 h 326"/>
                <a:gd name="T36" fmla="*/ 98 w 1004"/>
                <a:gd name="T37" fmla="*/ 262 h 326"/>
                <a:gd name="T38" fmla="*/ 904 w 1004"/>
                <a:gd name="T39" fmla="*/ 262 h 326"/>
                <a:gd name="T40" fmla="*/ 904 w 1004"/>
                <a:gd name="T41" fmla="*/ 262 h 326"/>
                <a:gd name="T42" fmla="*/ 906 w 1004"/>
                <a:gd name="T43" fmla="*/ 262 h 326"/>
                <a:gd name="T44" fmla="*/ 972 w 1004"/>
                <a:gd name="T45" fmla="*/ 320 h 326"/>
                <a:gd name="T46" fmla="*/ 972 w 1004"/>
                <a:gd name="T47" fmla="*/ 320 h 326"/>
                <a:gd name="T48" fmla="*/ 978 w 1004"/>
                <a:gd name="T49" fmla="*/ 324 h 326"/>
                <a:gd name="T50" fmla="*/ 984 w 1004"/>
                <a:gd name="T51" fmla="*/ 326 h 326"/>
                <a:gd name="T52" fmla="*/ 984 w 1004"/>
                <a:gd name="T53" fmla="*/ 326 h 326"/>
                <a:gd name="T54" fmla="*/ 992 w 1004"/>
                <a:gd name="T55" fmla="*/ 324 h 326"/>
                <a:gd name="T56" fmla="*/ 1000 w 1004"/>
                <a:gd name="T57" fmla="*/ 318 h 326"/>
                <a:gd name="T58" fmla="*/ 1000 w 1004"/>
                <a:gd name="T59" fmla="*/ 318 h 326"/>
                <a:gd name="T60" fmla="*/ 1004 w 1004"/>
                <a:gd name="T61" fmla="*/ 312 h 326"/>
                <a:gd name="T62" fmla="*/ 1004 w 1004"/>
                <a:gd name="T63" fmla="*/ 304 h 326"/>
                <a:gd name="T64" fmla="*/ 1002 w 1004"/>
                <a:gd name="T65" fmla="*/ 296 h 326"/>
                <a:gd name="T66" fmla="*/ 998 w 1004"/>
                <a:gd name="T67" fmla="*/ 290 h 326"/>
                <a:gd name="T68" fmla="*/ 998 w 1004"/>
                <a:gd name="T69" fmla="*/ 290 h 326"/>
                <a:gd name="T70" fmla="*/ 142 w 1004"/>
                <a:gd name="T71" fmla="*/ 222 h 326"/>
                <a:gd name="T72" fmla="*/ 271 w 1004"/>
                <a:gd name="T73" fmla="*/ 106 h 326"/>
                <a:gd name="T74" fmla="*/ 733 w 1004"/>
                <a:gd name="T75" fmla="*/ 106 h 326"/>
                <a:gd name="T76" fmla="*/ 862 w 1004"/>
                <a:gd name="T77" fmla="*/ 222 h 326"/>
                <a:gd name="T78" fmla="*/ 142 w 1004"/>
                <a:gd name="T79" fmla="*/ 222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004" h="326">
                  <a:moveTo>
                    <a:pt x="998" y="290"/>
                  </a:moveTo>
                  <a:lnTo>
                    <a:pt x="675" y="0"/>
                  </a:lnTo>
                  <a:lnTo>
                    <a:pt x="615" y="0"/>
                  </a:lnTo>
                  <a:lnTo>
                    <a:pt x="689" y="66"/>
                  </a:lnTo>
                  <a:lnTo>
                    <a:pt x="315" y="66"/>
                  </a:lnTo>
                  <a:lnTo>
                    <a:pt x="389" y="0"/>
                  </a:lnTo>
                  <a:lnTo>
                    <a:pt x="329" y="0"/>
                  </a:lnTo>
                  <a:lnTo>
                    <a:pt x="6" y="290"/>
                  </a:lnTo>
                  <a:lnTo>
                    <a:pt x="6" y="290"/>
                  </a:lnTo>
                  <a:lnTo>
                    <a:pt x="2" y="296"/>
                  </a:lnTo>
                  <a:lnTo>
                    <a:pt x="0" y="304"/>
                  </a:lnTo>
                  <a:lnTo>
                    <a:pt x="0" y="312"/>
                  </a:lnTo>
                  <a:lnTo>
                    <a:pt x="4" y="318"/>
                  </a:lnTo>
                  <a:lnTo>
                    <a:pt x="4" y="318"/>
                  </a:lnTo>
                  <a:lnTo>
                    <a:pt x="10" y="324"/>
                  </a:lnTo>
                  <a:lnTo>
                    <a:pt x="18" y="326"/>
                  </a:lnTo>
                  <a:lnTo>
                    <a:pt x="26" y="324"/>
                  </a:lnTo>
                  <a:lnTo>
                    <a:pt x="32" y="320"/>
                  </a:lnTo>
                  <a:lnTo>
                    <a:pt x="98" y="262"/>
                  </a:lnTo>
                  <a:lnTo>
                    <a:pt x="904" y="262"/>
                  </a:lnTo>
                  <a:lnTo>
                    <a:pt x="904" y="262"/>
                  </a:lnTo>
                  <a:lnTo>
                    <a:pt x="906" y="262"/>
                  </a:lnTo>
                  <a:lnTo>
                    <a:pt x="972" y="320"/>
                  </a:lnTo>
                  <a:lnTo>
                    <a:pt x="972" y="320"/>
                  </a:lnTo>
                  <a:lnTo>
                    <a:pt x="978" y="324"/>
                  </a:lnTo>
                  <a:lnTo>
                    <a:pt x="984" y="326"/>
                  </a:lnTo>
                  <a:lnTo>
                    <a:pt x="984" y="326"/>
                  </a:lnTo>
                  <a:lnTo>
                    <a:pt x="992" y="324"/>
                  </a:lnTo>
                  <a:lnTo>
                    <a:pt x="1000" y="318"/>
                  </a:lnTo>
                  <a:lnTo>
                    <a:pt x="1000" y="318"/>
                  </a:lnTo>
                  <a:lnTo>
                    <a:pt x="1004" y="312"/>
                  </a:lnTo>
                  <a:lnTo>
                    <a:pt x="1004" y="304"/>
                  </a:lnTo>
                  <a:lnTo>
                    <a:pt x="1002" y="296"/>
                  </a:lnTo>
                  <a:lnTo>
                    <a:pt x="998" y="290"/>
                  </a:lnTo>
                  <a:lnTo>
                    <a:pt x="998" y="290"/>
                  </a:lnTo>
                  <a:close/>
                  <a:moveTo>
                    <a:pt x="142" y="222"/>
                  </a:moveTo>
                  <a:lnTo>
                    <a:pt x="271" y="106"/>
                  </a:lnTo>
                  <a:lnTo>
                    <a:pt x="733" y="106"/>
                  </a:lnTo>
                  <a:lnTo>
                    <a:pt x="862" y="222"/>
                  </a:lnTo>
                  <a:lnTo>
                    <a:pt x="142" y="2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T America" panose="00000500000000000000" pitchFamily="2" charset="0"/>
                <a:ea typeface="+mn-ea"/>
                <a:cs typeface="+mn-cs"/>
              </a:endParaRPr>
            </a:p>
          </p:txBody>
        </p:sp>
      </p:grpSp>
      <p:pic>
        <p:nvPicPr>
          <p:cNvPr id="14" name="Grafik 13" descr="Ein Bild, das Schwarz, Dunkelheit enthält.">
            <a:extLst>
              <a:ext uri="{FF2B5EF4-FFF2-40B4-BE49-F238E27FC236}">
                <a16:creationId xmlns:a16="http://schemas.microsoft.com/office/drawing/2014/main" id="{BE3C67B0-BE70-24F5-67BD-54F5C311F49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272464" y="239962"/>
            <a:ext cx="1618841" cy="4166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624119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0220" r="10220"/>
          <a:stretch/>
        </p:blipFill>
        <p:spPr>
          <a:xfrm>
            <a:off x="-6150" y="917009"/>
            <a:ext cx="3794235" cy="5960958"/>
          </a:xfrm>
          <a:prstGeom prst="rect">
            <a:avLst/>
          </a:prstGeom>
        </p:spPr>
      </p:pic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3AA53CB2-6956-D742-9473-C925072CD0F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defTabSz="720725"/>
            <a:r>
              <a:rPr lang="de-DE" dirty="0">
                <a:solidFill>
                  <a:schemeClr val="accent3"/>
                </a:solidFill>
                <a:latin typeface="GT America" panose="00000500000000000000" pitchFamily="2" charset="0"/>
              </a:rPr>
              <a:t>Kurzprofil</a:t>
            </a:r>
            <a:endParaRPr lang="de-DE" dirty="0">
              <a:solidFill>
                <a:schemeClr val="accent3"/>
              </a:solidFill>
              <a:latin typeface="GT America" panose="00000500000000000000" pitchFamily="2" charset="0"/>
              <a:sym typeface="Arial" panose="020B0604020202020204" pitchFamily="34" charset="0"/>
            </a:endParaRPr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FEB0D3-1EB3-4F08-8062-95FFB9749870}" type="slidenum">
              <a:rPr kumimoji="0" lang="de-DE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Textplatzhalter 2">
            <a:extLst>
              <a:ext uri="{FF2B5EF4-FFF2-40B4-BE49-F238E27FC236}">
                <a16:creationId xmlns:a16="http://schemas.microsoft.com/office/drawing/2014/main" id="{A6F31752-3BE2-EF40-BE88-485808322F7E}"/>
              </a:ext>
            </a:extLst>
          </p:cNvPr>
          <p:cNvSpPr txBox="1">
            <a:spLocks/>
          </p:cNvSpPr>
          <p:nvPr/>
        </p:nvSpPr>
        <p:spPr>
          <a:xfrm>
            <a:off x="3780090" y="917009"/>
            <a:ext cx="7399539" cy="5123543"/>
          </a:xfrm>
          <a:prstGeom prst="rect">
            <a:avLst/>
          </a:prstGeom>
        </p:spPr>
        <p:txBody>
          <a:bodyPr lIns="0" tIns="108000" rIns="0" bIns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Arial"/>
                <a:ea typeface="+mn-ea"/>
                <a:cs typeface="Arial"/>
                <a:sym typeface="Arial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Tx/>
              <a:buChar char="–"/>
              <a:defRPr sz="1800" kern="1200">
                <a:solidFill>
                  <a:schemeClr val="tx1"/>
                </a:solidFill>
                <a:latin typeface="Arial"/>
                <a:ea typeface="+mn-ea"/>
                <a:cs typeface="Arial"/>
                <a:sym typeface="Arial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Tx/>
              <a:buChar char="–"/>
              <a:defRPr sz="1800" kern="1200">
                <a:solidFill>
                  <a:schemeClr val="tx1"/>
                </a:solidFill>
                <a:latin typeface="Arial"/>
                <a:ea typeface="+mn-ea"/>
                <a:cs typeface="Arial"/>
                <a:sym typeface="Arial"/>
              </a:defRPr>
            </a:lvl3pPr>
            <a:lvl4pPr marL="648000" indent="-216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Tx/>
              <a:buChar char="–"/>
              <a:defRPr sz="1800" kern="1200">
                <a:solidFill>
                  <a:schemeClr val="tx1"/>
                </a:solidFill>
                <a:latin typeface="Arial"/>
                <a:ea typeface="+mn-ea"/>
                <a:cs typeface="Arial"/>
                <a:sym typeface="Arial"/>
              </a:defRPr>
            </a:lvl4pPr>
            <a:lvl5pPr marL="864000" indent="-216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Tx/>
              <a:buChar char="–"/>
              <a:defRPr sz="1800" kern="1200">
                <a:solidFill>
                  <a:schemeClr val="tx1"/>
                </a:solidFill>
                <a:latin typeface="Arial"/>
                <a:ea typeface="+mn-ea"/>
                <a:cs typeface="Arial"/>
                <a:sym typeface="Arial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32000" marR="0" lvl="3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GT America" panose="00000500000000000000" pitchFamily="2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JÖRG NIEMANN</a:t>
            </a:r>
          </a:p>
          <a:p>
            <a:pPr marL="432000" marR="0" lvl="3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T America" panose="00000500000000000000" pitchFamily="2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Partner</a:t>
            </a:r>
            <a:b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T America" panose="00000500000000000000" pitchFamily="2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</a:b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T America" panose="00000500000000000000" pitchFamily="2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Leiter des Kompetenz-Center Mobilität von Rödl &amp; Partner</a:t>
            </a:r>
          </a:p>
          <a:p>
            <a:pPr marL="2743200" marR="0" lvl="6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T America" panose="00000500000000000000" pitchFamily="2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  <a:p>
            <a:pPr marL="432000" marR="0" lvl="3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GT America" panose="00000500000000000000" pitchFamily="2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KERNTÄTIGKEITEN: </a:t>
            </a:r>
          </a:p>
          <a:p>
            <a:pPr marL="432000" marR="0" lvl="3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T America" panose="00000500000000000000" pitchFamily="2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„Seit dem Jahr 2000 bin ich im Bereich des öffentlichen Verkehrs in verschiedenen Funktionen tätig. Bei Rödl &amp; Partner bin ich seit 2007 und leite seitdem das interdisziplinäre Kompetenz-Center Mobilität. Meine Schwerpunkte sind dabei die Strategieberatung und die Entwicklung von Finanzierungskonzepten für Kommunen.“  </a:t>
            </a:r>
          </a:p>
          <a:p>
            <a:pPr marL="432000" marR="0" lvl="3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T America" panose="00000500000000000000" pitchFamily="2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  <a:p>
            <a:pPr marL="432000" marR="0" lvl="3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GT America" panose="00000500000000000000" pitchFamily="2" charset="0"/>
                <a:ea typeface="+mn-ea"/>
                <a:cs typeface="Arial"/>
                <a:sym typeface="Arial"/>
              </a:rPr>
              <a:t>T	+49 40 229 297 733</a:t>
            </a:r>
          </a:p>
          <a:p>
            <a:pPr marL="432000" marR="0" lvl="3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GT America" panose="00000500000000000000" pitchFamily="2" charset="0"/>
                <a:ea typeface="+mn-ea"/>
                <a:cs typeface="Arial"/>
                <a:sym typeface="Arial"/>
              </a:rPr>
              <a:t>E	joerg.niemann@roedl.com</a:t>
            </a:r>
          </a:p>
          <a:p>
            <a:pPr marL="432000" marR="0" lvl="3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T America" panose="00000500000000000000" pitchFamily="2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5" name="Grafik 4" descr="Ein Bild, das Schwarz, Dunkelheit enthält.">
            <a:extLst>
              <a:ext uri="{FF2B5EF4-FFF2-40B4-BE49-F238E27FC236}">
                <a16:creationId xmlns:a16="http://schemas.microsoft.com/office/drawing/2014/main" id="{49EE1487-7A5B-A0CB-1171-E8BDE8D2916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272464" y="239962"/>
            <a:ext cx="1618841" cy="4166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158449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3AA53CB2-6956-D742-9473-C925072CD0F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lIns="0" tIns="0" rIns="0" bIns="0" rtlCol="0" anchor="ctr">
            <a:noAutofit/>
          </a:bodyPr>
          <a:lstStyle/>
          <a:p>
            <a:pPr defTabSz="720725"/>
            <a:r>
              <a:rPr lang="de-DE" dirty="0">
                <a:solidFill>
                  <a:schemeClr val="accent3"/>
                </a:solidFill>
                <a:latin typeface="GT America" panose="00000500000000000000" pitchFamily="2" charset="0"/>
              </a:rPr>
              <a:t>Kurzprofil</a:t>
            </a:r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FEB0D3-1EB3-4F08-8062-95FFB9749870}" type="slidenum">
              <a:rPr kumimoji="0" lang="de-DE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Textplatzhalter 2">
            <a:extLst>
              <a:ext uri="{FF2B5EF4-FFF2-40B4-BE49-F238E27FC236}">
                <a16:creationId xmlns:a16="http://schemas.microsoft.com/office/drawing/2014/main" id="{A6F31752-3BE2-EF40-BE88-485808322F7E}"/>
              </a:ext>
            </a:extLst>
          </p:cNvPr>
          <p:cNvSpPr txBox="1">
            <a:spLocks/>
          </p:cNvSpPr>
          <p:nvPr/>
        </p:nvSpPr>
        <p:spPr>
          <a:xfrm>
            <a:off x="3717798" y="932036"/>
            <a:ext cx="7669386" cy="5377283"/>
          </a:xfrm>
          <a:prstGeom prst="rect">
            <a:avLst/>
          </a:prstGeom>
        </p:spPr>
        <p:txBody>
          <a:bodyPr lIns="0" tIns="108000" rIns="0" bIns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Arial"/>
                <a:ea typeface="+mn-ea"/>
                <a:cs typeface="Arial"/>
                <a:sym typeface="Arial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Tx/>
              <a:buChar char="–"/>
              <a:defRPr sz="1800" kern="1200">
                <a:solidFill>
                  <a:schemeClr val="tx1"/>
                </a:solidFill>
                <a:latin typeface="Arial"/>
                <a:ea typeface="+mn-ea"/>
                <a:cs typeface="Arial"/>
                <a:sym typeface="Arial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Tx/>
              <a:buChar char="–"/>
              <a:defRPr sz="1800" kern="1200">
                <a:solidFill>
                  <a:schemeClr val="tx1"/>
                </a:solidFill>
                <a:latin typeface="Arial"/>
                <a:ea typeface="+mn-ea"/>
                <a:cs typeface="Arial"/>
                <a:sym typeface="Arial"/>
              </a:defRPr>
            </a:lvl3pPr>
            <a:lvl4pPr marL="648000" indent="-216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Tx/>
              <a:buChar char="–"/>
              <a:defRPr sz="1800" kern="1200">
                <a:solidFill>
                  <a:schemeClr val="tx1"/>
                </a:solidFill>
                <a:latin typeface="Arial"/>
                <a:ea typeface="+mn-ea"/>
                <a:cs typeface="Arial"/>
                <a:sym typeface="Arial"/>
              </a:defRPr>
            </a:lvl4pPr>
            <a:lvl5pPr marL="864000" indent="-216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Tx/>
              <a:buChar char="–"/>
              <a:defRPr sz="1800" kern="1200">
                <a:solidFill>
                  <a:schemeClr val="tx1"/>
                </a:solidFill>
                <a:latin typeface="Arial"/>
                <a:ea typeface="+mn-ea"/>
                <a:cs typeface="Arial"/>
                <a:sym typeface="Arial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32000" marR="0" lvl="3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GT America" panose="00000500000000000000" pitchFamily="2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RICARDA BANS</a:t>
            </a:r>
          </a:p>
          <a:p>
            <a:pPr marL="432000" marR="0" lvl="3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T America" panose="00000500000000000000" pitchFamily="2" charset="0"/>
                <a:ea typeface="+mn-ea"/>
                <a:cs typeface="Arial"/>
                <a:sym typeface="Arial"/>
              </a:rPr>
              <a:t>Rechtsanwältin</a:t>
            </a: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T America" panose="00000500000000000000" pitchFamily="2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  <a:p>
            <a:pPr marL="432000" marR="0" lvl="3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T America" panose="00000500000000000000" pitchFamily="2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  <a:p>
            <a:pPr marL="432000" marR="0" lvl="3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GT America" panose="00000500000000000000" pitchFamily="2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KERNTÄTIGKEITEN: </a:t>
            </a:r>
          </a:p>
          <a:p>
            <a:pPr marL="432000" marR="0" lvl="3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T America" panose="00000500000000000000" pitchFamily="2" charset="0"/>
                <a:ea typeface="+mn-ea"/>
                <a:cs typeface="Arial"/>
                <a:sym typeface="Arial"/>
              </a:rPr>
              <a:t>„Schwerpunkt meiner Beratungstätigkeit sind Fragestellungen zur Drittnutzerfinanzierung sowie Mobilitätsdaten, insbesondere der Zugang verschiedener Akteure sowie die datenschutzkonforme Verarbeitung. </a:t>
            </a:r>
          </a:p>
          <a:p>
            <a:pPr marL="432000" marR="0" lvl="3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T America" panose="00000500000000000000" pitchFamily="2" charset="0"/>
              <a:ea typeface="+mn-ea"/>
              <a:cs typeface="Arial"/>
              <a:sym typeface="Arial"/>
            </a:endParaRPr>
          </a:p>
          <a:p>
            <a:pPr marL="432000" marR="0" lvl="3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T America" panose="00000500000000000000" pitchFamily="2" charset="0"/>
                <a:ea typeface="+mn-ea"/>
                <a:cs typeface="Arial"/>
                <a:sym typeface="Arial"/>
              </a:rPr>
              <a:t>Mobilitätsdaten fallen in unterschiedlichen Bereichen, wie dem autonomen Fahren aber auch im Rahmen des ÖPNV an. Die Vernetzung ist erforderlich für intermodale Angebote, die zur Verkehrswende beitragen.“</a:t>
            </a:r>
          </a:p>
          <a:p>
            <a:pPr marL="432000" marR="0" lvl="3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T America" panose="00000500000000000000" pitchFamily="2" charset="0"/>
              <a:ea typeface="+mn-ea"/>
              <a:cs typeface="Arial"/>
              <a:sym typeface="Arial"/>
            </a:endParaRPr>
          </a:p>
          <a:p>
            <a:pPr marL="432000" marR="0" lvl="3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GT America" panose="00000500000000000000" pitchFamily="2" charset="0"/>
                <a:ea typeface="+mn-ea"/>
                <a:cs typeface="Arial"/>
                <a:sym typeface="Arial"/>
              </a:rPr>
              <a:t>T	+49 30 81 079 569</a:t>
            </a:r>
          </a:p>
          <a:p>
            <a:pPr marL="432000" marR="0" lvl="3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GT America" panose="00000500000000000000" pitchFamily="2" charset="0"/>
                <a:ea typeface="+mn-ea"/>
                <a:cs typeface="Arial"/>
                <a:sym typeface="Arial"/>
              </a:rPr>
              <a:t>E	ricarda.bans@roedl.com</a:t>
            </a:r>
          </a:p>
          <a:p>
            <a:pPr marL="432000" marR="0" lvl="3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T America" panose="00000500000000000000" pitchFamily="2" charset="0"/>
              <a:ea typeface="+mn-ea"/>
              <a:cs typeface="Arial"/>
              <a:sym typeface="Arial"/>
            </a:endParaRPr>
          </a:p>
          <a:p>
            <a:pPr marL="432000" marR="0" lvl="3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T America" panose="00000500000000000000" pitchFamily="2" charset="0"/>
              <a:ea typeface="+mn-ea"/>
              <a:cs typeface="Arial"/>
              <a:sym typeface="Arial"/>
            </a:endParaRPr>
          </a:p>
          <a:p>
            <a:pPr marL="432000" marR="0" lvl="3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T America" panose="00000500000000000000" pitchFamily="2" charset="0"/>
              <a:ea typeface="+mn-ea"/>
              <a:cs typeface="Arial"/>
              <a:sym typeface="Arial"/>
            </a:endParaRP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3B677C60-29A9-700C-F10C-392DB8B5671C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7954" t="-676" r="13802" b="676"/>
          <a:stretch/>
        </p:blipFill>
        <p:spPr>
          <a:xfrm>
            <a:off x="3175" y="881083"/>
            <a:ext cx="3744735" cy="5983038"/>
          </a:xfrm>
          <a:prstGeom prst="rect">
            <a:avLst/>
          </a:prstGeom>
        </p:spPr>
      </p:pic>
      <p:pic>
        <p:nvPicPr>
          <p:cNvPr id="5" name="Grafik 4" descr="Ein Bild, das Schwarz, Dunkelheit enthält.">
            <a:extLst>
              <a:ext uri="{FF2B5EF4-FFF2-40B4-BE49-F238E27FC236}">
                <a16:creationId xmlns:a16="http://schemas.microsoft.com/office/drawing/2014/main" id="{E35B4113-FD22-DFC8-F92A-BD3EBF283B7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309807" y="239962"/>
            <a:ext cx="1618841" cy="4166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175421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eck 12">
            <a:extLst>
              <a:ext uri="{FF2B5EF4-FFF2-40B4-BE49-F238E27FC236}">
                <a16:creationId xmlns:a16="http://schemas.microsoft.com/office/drawing/2014/main" id="{0E746F9E-CF5E-D720-B84E-C93B550CB368}"/>
              </a:ext>
            </a:extLst>
          </p:cNvPr>
          <p:cNvSpPr/>
          <p:nvPr/>
        </p:nvSpPr>
        <p:spPr>
          <a:xfrm>
            <a:off x="104443" y="1441507"/>
            <a:ext cx="5897208" cy="524010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buFontTx/>
              <a:buChar char="–"/>
            </a:pPr>
            <a:endParaRPr lang="de-DE" sz="1600" dirty="0" err="1">
              <a:solidFill>
                <a:schemeClr val="tx1"/>
              </a:solidFill>
            </a:endParaRPr>
          </a:p>
        </p:txBody>
      </p:sp>
      <p:graphicFrame>
        <p:nvGraphicFramePr>
          <p:cNvPr id="22" name="Tabelle 22">
            <a:extLst>
              <a:ext uri="{FF2B5EF4-FFF2-40B4-BE49-F238E27FC236}">
                <a16:creationId xmlns:a16="http://schemas.microsoft.com/office/drawing/2014/main" id="{8CB682F4-6098-7C64-769B-1D252E66499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27860162"/>
              </p:ext>
            </p:extLst>
          </p:nvPr>
        </p:nvGraphicFramePr>
        <p:xfrm>
          <a:off x="119336" y="3317344"/>
          <a:ext cx="5897208" cy="1767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40010">
                  <a:extLst>
                    <a:ext uri="{9D8B030D-6E8A-4147-A177-3AD203B41FA5}">
                      <a16:colId xmlns:a16="http://schemas.microsoft.com/office/drawing/2014/main" val="506545618"/>
                    </a:ext>
                  </a:extLst>
                </a:gridCol>
                <a:gridCol w="5157198">
                  <a:extLst>
                    <a:ext uri="{9D8B030D-6E8A-4147-A177-3AD203B41FA5}">
                      <a16:colId xmlns:a16="http://schemas.microsoft.com/office/drawing/2014/main" val="3664888571"/>
                    </a:ext>
                  </a:extLst>
                </a:gridCol>
              </a:tblGrid>
              <a:tr h="271447">
                <a:tc gridSpan="2">
                  <a:txBody>
                    <a:bodyPr/>
                    <a:lstStyle/>
                    <a:p>
                      <a:r>
                        <a:rPr lang="de-DE" sz="1400" dirty="0">
                          <a:solidFill>
                            <a:schemeClr val="tx1"/>
                          </a:solidFill>
                        </a:rPr>
                        <a:t>Politische Ziele für den ÖPNV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r>
                        <a:rPr lang="de-DE" dirty="0">
                          <a:solidFill>
                            <a:schemeClr val="tx1"/>
                          </a:solidFill>
                        </a:rPr>
                        <a:t>Politische Ziele für den ÖPNV</a:t>
                      </a: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15885052"/>
                  </a:ext>
                </a:extLst>
              </a:tr>
              <a:tr h="365143">
                <a:tc>
                  <a:txBody>
                    <a:bodyPr/>
                    <a:lstStyle/>
                    <a:p>
                      <a:endParaRPr lang="de-DE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sz="1400" dirty="0">
                          <a:solidFill>
                            <a:schemeClr val="tx1"/>
                          </a:solidFill>
                        </a:rPr>
                        <a:t>Erhöhung der Fahrgastzahlen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4471889"/>
                  </a:ext>
                </a:extLst>
              </a:tr>
              <a:tr h="365143">
                <a:tc>
                  <a:txBody>
                    <a:bodyPr/>
                    <a:lstStyle/>
                    <a:p>
                      <a:endParaRPr lang="de-DE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sz="1400" dirty="0">
                          <a:solidFill>
                            <a:schemeClr val="tx1"/>
                          </a:solidFill>
                        </a:rPr>
                        <a:t>Angebotsausweitung / Erhöhung Nutzung ÖPNV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54858508"/>
                  </a:ext>
                </a:extLst>
              </a:tr>
              <a:tr h="365143">
                <a:tc>
                  <a:txBody>
                    <a:bodyPr/>
                    <a:lstStyle/>
                    <a:p>
                      <a:endParaRPr lang="de-DE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sz="1400" dirty="0">
                          <a:solidFill>
                            <a:schemeClr val="tx1"/>
                          </a:solidFill>
                        </a:rPr>
                        <a:t>Erhöhung der Regionalisierungsmittel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43085233"/>
                  </a:ext>
                </a:extLst>
              </a:tr>
              <a:tr h="365143">
                <a:tc>
                  <a:txBody>
                    <a:bodyPr/>
                    <a:lstStyle/>
                    <a:p>
                      <a:endParaRPr lang="de-DE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sz="1400" dirty="0">
                          <a:solidFill>
                            <a:schemeClr val="tx1"/>
                          </a:solidFill>
                        </a:rPr>
                        <a:t>Verständigung Bund/ Länder/ Kommunen über Finanzierung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55535501"/>
                  </a:ext>
                </a:extLst>
              </a:tr>
            </a:tbl>
          </a:graphicData>
        </a:graphic>
      </p:graphicFrame>
      <p:sp>
        <p:nvSpPr>
          <p:cNvPr id="45" name="Rechteck 44">
            <a:extLst>
              <a:ext uri="{FF2B5EF4-FFF2-40B4-BE49-F238E27FC236}">
                <a16:creationId xmlns:a16="http://schemas.microsoft.com/office/drawing/2014/main" id="{1FDF0EB1-24FE-0490-7ECF-77B06F5D33A4}"/>
              </a:ext>
            </a:extLst>
          </p:cNvPr>
          <p:cNvSpPr/>
          <p:nvPr/>
        </p:nvSpPr>
        <p:spPr>
          <a:xfrm>
            <a:off x="6177331" y="1441509"/>
            <a:ext cx="5679309" cy="524010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buFontTx/>
              <a:buChar char="–"/>
            </a:pPr>
            <a:endParaRPr lang="de-DE" sz="1600" dirty="0" err="1">
              <a:solidFill>
                <a:schemeClr val="tx1"/>
              </a:solidFill>
            </a:endParaRPr>
          </a:p>
        </p:txBody>
      </p:sp>
      <p:pic>
        <p:nvPicPr>
          <p:cNvPr id="29" name="Grafik 28">
            <a:extLst>
              <a:ext uri="{FF2B5EF4-FFF2-40B4-BE49-F238E27FC236}">
                <a16:creationId xmlns:a16="http://schemas.microsoft.com/office/drawing/2014/main" id="{6200EFB8-E5E7-373C-CE74-5AE7AA9AD41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rot="1224164">
            <a:off x="2738011" y="1631414"/>
            <a:ext cx="1292274" cy="1623248"/>
          </a:xfrm>
          <a:prstGeom prst="rect">
            <a:avLst/>
          </a:prstGeom>
          <a:ln>
            <a:noFill/>
          </a:ln>
        </p:spPr>
      </p:pic>
      <p:pic>
        <p:nvPicPr>
          <p:cNvPr id="27" name="Grafik 26">
            <a:extLst>
              <a:ext uri="{FF2B5EF4-FFF2-40B4-BE49-F238E27FC236}">
                <a16:creationId xmlns:a16="http://schemas.microsoft.com/office/drawing/2014/main" id="{B02FFBDD-FA09-DE6B-8D1E-CF261FE7704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 rot="20950662">
            <a:off x="1574779" y="1546630"/>
            <a:ext cx="1273477" cy="1623249"/>
          </a:xfrm>
          <a:prstGeom prst="rect">
            <a:avLst/>
          </a:prstGeom>
          <a:ln>
            <a:noFill/>
          </a:ln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7D4E0494-EC94-EF6C-C9AB-22908BDB893A}"/>
              </a:ext>
            </a:extLst>
          </p:cNvPr>
          <p:cNvSpPr>
            <a:spLocks noGrp="1"/>
          </p:cNvSpPr>
          <p:nvPr>
            <p:ph type="title"/>
          </p:nvPr>
        </p:nvSpPr>
        <p:spPr>
          <a:noFill/>
        </p:spPr>
        <p:txBody>
          <a:bodyPr/>
          <a:lstStyle/>
          <a:p>
            <a:r>
              <a:rPr lang="de-DE" dirty="0">
                <a:solidFill>
                  <a:schemeClr val="accent3"/>
                </a:solidFill>
              </a:rPr>
              <a:t>Finanzierungslücke Im ÖPNV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DF606926-216F-B452-2250-67173767B266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4CFEB0D3-1EB3-4F08-8062-95FFB9749870}" type="slidenum">
              <a:rPr lang="de-DE" smtClean="0"/>
              <a:pPr/>
              <a:t>5</a:t>
            </a:fld>
            <a:endParaRPr lang="de-DE"/>
          </a:p>
        </p:txBody>
      </p:sp>
      <p:pic>
        <p:nvPicPr>
          <p:cNvPr id="26" name="Grafik 25" descr="Balkendiagramm mit Aufwärtstrend Silhouette">
            <a:extLst>
              <a:ext uri="{FF2B5EF4-FFF2-40B4-BE49-F238E27FC236}">
                <a16:creationId xmlns:a16="http://schemas.microsoft.com/office/drawing/2014/main" id="{BDAFC63B-3E84-6EC8-A39D-634BE22DE16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07368" y="3654096"/>
            <a:ext cx="313184" cy="313184"/>
          </a:xfrm>
          <a:prstGeom prst="rect">
            <a:avLst/>
          </a:prstGeom>
        </p:spPr>
      </p:pic>
      <p:pic>
        <p:nvPicPr>
          <p:cNvPr id="28" name="Grafik 27" descr="Balkendiagramm mit Aufwärtstrend Silhouette">
            <a:extLst>
              <a:ext uri="{FF2B5EF4-FFF2-40B4-BE49-F238E27FC236}">
                <a16:creationId xmlns:a16="http://schemas.microsoft.com/office/drawing/2014/main" id="{F259219C-72F9-2694-0B39-2D376F9C749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07368" y="4013997"/>
            <a:ext cx="313184" cy="313184"/>
          </a:xfrm>
          <a:prstGeom prst="rect">
            <a:avLst/>
          </a:prstGeom>
        </p:spPr>
      </p:pic>
      <p:pic>
        <p:nvPicPr>
          <p:cNvPr id="30" name="Grafik 29" descr="Balkendiagramm mit Aufwärtstrend Silhouette">
            <a:extLst>
              <a:ext uri="{FF2B5EF4-FFF2-40B4-BE49-F238E27FC236}">
                <a16:creationId xmlns:a16="http://schemas.microsoft.com/office/drawing/2014/main" id="{43CA1725-C382-35DA-1CA4-98A7ED34611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07368" y="4351728"/>
            <a:ext cx="313184" cy="313184"/>
          </a:xfrm>
          <a:prstGeom prst="rect">
            <a:avLst/>
          </a:prstGeom>
        </p:spPr>
      </p:pic>
      <p:pic>
        <p:nvPicPr>
          <p:cNvPr id="40" name="Grafik 39" descr="Vertrag Silhouette">
            <a:extLst>
              <a:ext uri="{FF2B5EF4-FFF2-40B4-BE49-F238E27FC236}">
                <a16:creationId xmlns:a16="http://schemas.microsoft.com/office/drawing/2014/main" id="{5D5E057F-BCE1-C15F-C8EB-CAD742C9E3F1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12924" y="4723926"/>
            <a:ext cx="319431" cy="319431"/>
          </a:xfrm>
          <a:prstGeom prst="rect">
            <a:avLst/>
          </a:prstGeom>
        </p:spPr>
      </p:pic>
      <p:graphicFrame>
        <p:nvGraphicFramePr>
          <p:cNvPr id="51" name="Diagramm 50">
            <a:extLst>
              <a:ext uri="{FF2B5EF4-FFF2-40B4-BE49-F238E27FC236}">
                <a16:creationId xmlns:a16="http://schemas.microsoft.com/office/drawing/2014/main" id="{484EF98A-4BBB-CC59-FD06-072B5CBC570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46607913"/>
              </p:ext>
            </p:extLst>
          </p:nvPr>
        </p:nvGraphicFramePr>
        <p:xfrm>
          <a:off x="479376" y="5347590"/>
          <a:ext cx="5184576" cy="12497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53" name="Pfeil: Fünfeck 52">
            <a:extLst>
              <a:ext uri="{FF2B5EF4-FFF2-40B4-BE49-F238E27FC236}">
                <a16:creationId xmlns:a16="http://schemas.microsoft.com/office/drawing/2014/main" id="{A7DD9489-4D09-C7A9-2E8F-61C3157B3396}"/>
              </a:ext>
            </a:extLst>
          </p:cNvPr>
          <p:cNvSpPr/>
          <p:nvPr/>
        </p:nvSpPr>
        <p:spPr>
          <a:xfrm>
            <a:off x="104443" y="1061528"/>
            <a:ext cx="1872208" cy="273817"/>
          </a:xfrm>
          <a:prstGeom prst="homePlat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000" b="1" dirty="0">
                <a:solidFill>
                  <a:schemeClr val="tx1"/>
                </a:solidFill>
              </a:rPr>
              <a:t>Finanzierungslücke</a:t>
            </a:r>
          </a:p>
        </p:txBody>
      </p:sp>
      <p:sp>
        <p:nvSpPr>
          <p:cNvPr id="54" name="Pfeil: Chevron 53">
            <a:extLst>
              <a:ext uri="{FF2B5EF4-FFF2-40B4-BE49-F238E27FC236}">
                <a16:creationId xmlns:a16="http://schemas.microsoft.com/office/drawing/2014/main" id="{DC8B55CE-5256-6652-717D-B64B3D938A8F}"/>
              </a:ext>
            </a:extLst>
          </p:cNvPr>
          <p:cNvSpPr/>
          <p:nvPr/>
        </p:nvSpPr>
        <p:spPr>
          <a:xfrm>
            <a:off x="4090882" y="1061528"/>
            <a:ext cx="1872208" cy="273817"/>
          </a:xfrm>
          <a:prstGeom prst="chevron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000" b="1" dirty="0">
                <a:solidFill>
                  <a:schemeClr val="tx1"/>
                </a:solidFill>
              </a:rPr>
              <a:t>Ausblick</a:t>
            </a:r>
          </a:p>
        </p:txBody>
      </p:sp>
      <p:sp>
        <p:nvSpPr>
          <p:cNvPr id="55" name="Pfeil: Chevron 54">
            <a:extLst>
              <a:ext uri="{FF2B5EF4-FFF2-40B4-BE49-F238E27FC236}">
                <a16:creationId xmlns:a16="http://schemas.microsoft.com/office/drawing/2014/main" id="{20803254-1615-A1B3-D834-7AA6A07868A8}"/>
              </a:ext>
            </a:extLst>
          </p:cNvPr>
          <p:cNvSpPr/>
          <p:nvPr/>
        </p:nvSpPr>
        <p:spPr>
          <a:xfrm>
            <a:off x="2097663" y="1061528"/>
            <a:ext cx="1872208" cy="273817"/>
          </a:xfrm>
          <a:prstGeom prst="chevron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000" b="1" dirty="0">
                <a:solidFill>
                  <a:schemeClr val="tx1"/>
                </a:solidFill>
              </a:rPr>
              <a:t>Lösungsansätze</a:t>
            </a:r>
          </a:p>
        </p:txBody>
      </p:sp>
      <p:sp>
        <p:nvSpPr>
          <p:cNvPr id="56" name="Textfeld 55">
            <a:extLst>
              <a:ext uri="{FF2B5EF4-FFF2-40B4-BE49-F238E27FC236}">
                <a16:creationId xmlns:a16="http://schemas.microsoft.com/office/drawing/2014/main" id="{6B1B2EBA-7E78-6EF2-DDC1-2DB997F7262D}"/>
              </a:ext>
            </a:extLst>
          </p:cNvPr>
          <p:cNvSpPr txBox="1"/>
          <p:nvPr/>
        </p:nvSpPr>
        <p:spPr>
          <a:xfrm>
            <a:off x="7464152" y="1636719"/>
            <a:ext cx="4335373" cy="119006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defTabSz="914400" rtl="0" eaLnBrk="1" latinLnBrk="0" hangingPunct="1">
              <a:spcBef>
                <a:spcPts val="500"/>
              </a:spcBef>
            </a:pPr>
            <a:r>
              <a:rPr lang="de-DE" sz="1150" b="1" dirty="0"/>
              <a:t>Die Bestrebungen der Angebotsausweitung und Erhöhung der Fahrgastzahlen zeigt die Grenzen des derzeitigen Finanzierungssystems</a:t>
            </a:r>
          </a:p>
          <a:p>
            <a:pPr marL="171450" indent="-171450" algn="l" defTabSz="914400" rtl="0" eaLnBrk="1" latinLnBrk="0" hangingPunct="1">
              <a:spcBef>
                <a:spcPts val="500"/>
              </a:spcBef>
              <a:buFont typeface="Arial" panose="020B0604020202020204" pitchFamily="34" charset="0"/>
              <a:buChar char="•"/>
            </a:pPr>
            <a:r>
              <a:rPr lang="de-DE" sz="1150" dirty="0"/>
              <a:t>aktuelle Bestrebungen der Tarifvereinfachung (DE-Ticket) deckeln Fahrtentgelte</a:t>
            </a:r>
          </a:p>
          <a:p>
            <a:pPr marL="171450" indent="-171450" algn="l" defTabSz="914400" rtl="0" eaLnBrk="1" latinLnBrk="0" hangingPunct="1">
              <a:spcBef>
                <a:spcPts val="500"/>
              </a:spcBef>
              <a:buFont typeface="Arial" panose="020B0604020202020204" pitchFamily="34" charset="0"/>
              <a:buChar char="•"/>
            </a:pPr>
            <a:r>
              <a:rPr lang="de-DE" sz="1150" kern="1200" dirty="0">
                <a:latin typeface="+mn-lt"/>
                <a:ea typeface="+mn-ea"/>
                <a:cs typeface="+mn-cs"/>
              </a:rPr>
              <a:t>Öffentliche Finanzierung </a:t>
            </a:r>
            <a:r>
              <a:rPr lang="de-DE" sz="1150" dirty="0"/>
              <a:t>aufgrund Haushaltslage gedeckelt</a:t>
            </a:r>
            <a:endParaRPr lang="de-DE" sz="1150" kern="1200" dirty="0">
              <a:latin typeface="+mn-lt"/>
              <a:ea typeface="+mn-ea"/>
              <a:cs typeface="+mn-cs"/>
            </a:endParaRPr>
          </a:p>
        </p:txBody>
      </p:sp>
      <p:pic>
        <p:nvPicPr>
          <p:cNvPr id="57" name="Grafik 56" descr="Balkendiagramm mit Aufwärtstrend Silhouette">
            <a:extLst>
              <a:ext uri="{FF2B5EF4-FFF2-40B4-BE49-F238E27FC236}">
                <a16:creationId xmlns:a16="http://schemas.microsoft.com/office/drawing/2014/main" id="{3BB2BC6C-CC51-8023-CFD3-A7139A48E9C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150212" y="1628800"/>
            <a:ext cx="1205906" cy="1205906"/>
          </a:xfrm>
          <a:prstGeom prst="rect">
            <a:avLst/>
          </a:prstGeom>
        </p:spPr>
      </p:pic>
      <p:pic>
        <p:nvPicPr>
          <p:cNvPr id="58" name="Grafik 57">
            <a:extLst>
              <a:ext uri="{FF2B5EF4-FFF2-40B4-BE49-F238E27FC236}">
                <a16:creationId xmlns:a16="http://schemas.microsoft.com/office/drawing/2014/main" id="{25BFB885-FB3E-62B8-F9D5-3AF934C10EA6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373735" y="3317344"/>
            <a:ext cx="5382329" cy="3036849"/>
          </a:xfrm>
          <a:prstGeom prst="rect">
            <a:avLst/>
          </a:prstGeom>
        </p:spPr>
      </p:pic>
      <p:sp>
        <p:nvSpPr>
          <p:cNvPr id="59" name="Textfeld 58">
            <a:extLst>
              <a:ext uri="{FF2B5EF4-FFF2-40B4-BE49-F238E27FC236}">
                <a16:creationId xmlns:a16="http://schemas.microsoft.com/office/drawing/2014/main" id="{3F22EDBE-8E76-3F3C-0490-DE0552D3408E}"/>
              </a:ext>
            </a:extLst>
          </p:cNvPr>
          <p:cNvSpPr txBox="1"/>
          <p:nvPr/>
        </p:nvSpPr>
        <p:spPr>
          <a:xfrm>
            <a:off x="6595208" y="6474241"/>
            <a:ext cx="4544011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defTabSz="914400" rtl="0" eaLnBrk="1" latinLnBrk="0" hangingPunct="1">
              <a:spcBef>
                <a:spcPts val="500"/>
              </a:spcBef>
            </a:pPr>
            <a:r>
              <a:rPr lang="de-DE" sz="800" dirty="0"/>
              <a:t>Quelle: </a:t>
            </a:r>
            <a:r>
              <a:rPr lang="de-DE" sz="800" kern="1200" dirty="0">
                <a:latin typeface="+mn-lt"/>
                <a:ea typeface="+mn-ea"/>
                <a:cs typeface="+mn-cs"/>
              </a:rPr>
              <a:t>Leistungskostengutachten des VDV (Roland &amp; Berger, 2019) </a:t>
            </a:r>
          </a:p>
        </p:txBody>
      </p:sp>
      <p:pic>
        <p:nvPicPr>
          <p:cNvPr id="4" name="Grafik 3" descr="Ein Bild, das Schwarz, Dunkelheit enthält.">
            <a:extLst>
              <a:ext uri="{FF2B5EF4-FFF2-40B4-BE49-F238E27FC236}">
                <a16:creationId xmlns:a16="http://schemas.microsoft.com/office/drawing/2014/main" id="{0EA5F18E-3A4A-25ED-94AD-CFF61EBB7D73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0309807" y="239962"/>
            <a:ext cx="1618841" cy="4166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629085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eck 12">
            <a:extLst>
              <a:ext uri="{FF2B5EF4-FFF2-40B4-BE49-F238E27FC236}">
                <a16:creationId xmlns:a16="http://schemas.microsoft.com/office/drawing/2014/main" id="{0E746F9E-CF5E-D720-B84E-C93B550CB368}"/>
              </a:ext>
            </a:extLst>
          </p:cNvPr>
          <p:cNvSpPr/>
          <p:nvPr/>
        </p:nvSpPr>
        <p:spPr>
          <a:xfrm>
            <a:off x="192401" y="1406801"/>
            <a:ext cx="7415767" cy="533456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600" b="1" dirty="0">
                <a:solidFill>
                  <a:schemeClr val="tx1"/>
                </a:solidFill>
              </a:rPr>
              <a:t>Strategisches Vorgehen zur Ermittlung von Lösungsansätze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D4E0494-EC94-EF6C-C9AB-22908BDB893A}"/>
              </a:ext>
            </a:extLst>
          </p:cNvPr>
          <p:cNvSpPr>
            <a:spLocks noGrp="1"/>
          </p:cNvSpPr>
          <p:nvPr>
            <p:ph type="title"/>
          </p:nvPr>
        </p:nvSpPr>
        <p:spPr>
          <a:noFill/>
        </p:spPr>
        <p:txBody>
          <a:bodyPr/>
          <a:lstStyle/>
          <a:p>
            <a:r>
              <a:rPr lang="de-DE" dirty="0">
                <a:solidFill>
                  <a:schemeClr val="accent3"/>
                </a:solidFill>
              </a:rPr>
              <a:t>Strategisches Vorgehen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DF606926-216F-B452-2250-67173767B266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4CFEB0D3-1EB3-4F08-8062-95FFB9749870}" type="slidenum">
              <a:rPr lang="de-DE" smtClean="0"/>
              <a:pPr/>
              <a:t>6</a:t>
            </a:fld>
            <a:endParaRPr lang="de-DE"/>
          </a:p>
        </p:txBody>
      </p:sp>
      <p:sp>
        <p:nvSpPr>
          <p:cNvPr id="53" name="Pfeil: Fünfeck 52">
            <a:extLst>
              <a:ext uri="{FF2B5EF4-FFF2-40B4-BE49-F238E27FC236}">
                <a16:creationId xmlns:a16="http://schemas.microsoft.com/office/drawing/2014/main" id="{A7DD9489-4D09-C7A9-2E8F-61C3157B3396}"/>
              </a:ext>
            </a:extLst>
          </p:cNvPr>
          <p:cNvSpPr/>
          <p:nvPr/>
        </p:nvSpPr>
        <p:spPr>
          <a:xfrm>
            <a:off x="191344" y="986356"/>
            <a:ext cx="1872208" cy="273817"/>
          </a:xfrm>
          <a:prstGeom prst="homePlat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000" b="1" dirty="0">
                <a:solidFill>
                  <a:schemeClr val="tx1"/>
                </a:solidFill>
              </a:rPr>
              <a:t>Finanzierungslücke</a:t>
            </a:r>
          </a:p>
        </p:txBody>
      </p:sp>
      <p:sp>
        <p:nvSpPr>
          <p:cNvPr id="54" name="Pfeil: Chevron 53">
            <a:extLst>
              <a:ext uri="{FF2B5EF4-FFF2-40B4-BE49-F238E27FC236}">
                <a16:creationId xmlns:a16="http://schemas.microsoft.com/office/drawing/2014/main" id="{DC8B55CE-5256-6652-717D-B64B3D938A8F}"/>
              </a:ext>
            </a:extLst>
          </p:cNvPr>
          <p:cNvSpPr/>
          <p:nvPr/>
        </p:nvSpPr>
        <p:spPr>
          <a:xfrm>
            <a:off x="4177783" y="986356"/>
            <a:ext cx="1872208" cy="273817"/>
          </a:xfrm>
          <a:prstGeom prst="chevron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000" b="1" dirty="0">
                <a:solidFill>
                  <a:schemeClr val="tx1"/>
                </a:solidFill>
              </a:rPr>
              <a:t>Ausblick</a:t>
            </a:r>
          </a:p>
        </p:txBody>
      </p:sp>
      <p:sp>
        <p:nvSpPr>
          <p:cNvPr id="55" name="Pfeil: Chevron 54">
            <a:extLst>
              <a:ext uri="{FF2B5EF4-FFF2-40B4-BE49-F238E27FC236}">
                <a16:creationId xmlns:a16="http://schemas.microsoft.com/office/drawing/2014/main" id="{20803254-1615-A1B3-D834-7AA6A07868A8}"/>
              </a:ext>
            </a:extLst>
          </p:cNvPr>
          <p:cNvSpPr/>
          <p:nvPr/>
        </p:nvSpPr>
        <p:spPr>
          <a:xfrm>
            <a:off x="2184563" y="986356"/>
            <a:ext cx="1872208" cy="273817"/>
          </a:xfrm>
          <a:prstGeom prst="chevron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000" b="1" dirty="0">
                <a:solidFill>
                  <a:schemeClr val="tx1"/>
                </a:solidFill>
              </a:rPr>
              <a:t>Lösungsansätze</a:t>
            </a: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5E510D32-4622-5ACE-9B9E-C8FEE127D592}"/>
              </a:ext>
            </a:extLst>
          </p:cNvPr>
          <p:cNvSpPr txBox="1"/>
          <p:nvPr/>
        </p:nvSpPr>
        <p:spPr>
          <a:xfrm>
            <a:off x="3561552" y="2165645"/>
            <a:ext cx="2565393" cy="117211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1450" indent="-171450" algn="just" defTabSz="914400" rtl="0" eaLnBrk="1" latinLnBrk="0" hangingPunct="1">
              <a:spcBef>
                <a:spcPts val="500"/>
              </a:spcBef>
              <a:buFont typeface="Arial" panose="020B0604020202020204" pitchFamily="34" charset="0"/>
              <a:buChar char="•"/>
            </a:pPr>
            <a:r>
              <a:rPr lang="de-DE" sz="1200" kern="1200" dirty="0">
                <a:latin typeface="+mn-lt"/>
                <a:ea typeface="+mn-ea"/>
                <a:cs typeface="+mn-cs"/>
              </a:rPr>
              <a:t>Koalitionsvertrag strebt Angebotsausbau des ÖPNV um 60% an</a:t>
            </a:r>
          </a:p>
          <a:p>
            <a:pPr marL="171450" indent="-171450" algn="just" defTabSz="914400" rtl="0" eaLnBrk="1" latinLnBrk="0" hangingPunct="1">
              <a:spcBef>
                <a:spcPts val="500"/>
              </a:spcBef>
              <a:buFont typeface="Arial" panose="020B0604020202020204" pitchFamily="34" charset="0"/>
              <a:buChar char="•"/>
            </a:pPr>
            <a:r>
              <a:rPr lang="de-DE" sz="1200" dirty="0"/>
              <a:t>Folge: Steigerung des jährlichen Finanzierungsbedarfs um 300 – 500 Mio. Euro</a:t>
            </a:r>
            <a:endParaRPr lang="de-DE" sz="1200" kern="1200" dirty="0">
              <a:latin typeface="+mn-lt"/>
              <a:ea typeface="+mn-ea"/>
              <a:cs typeface="+mn-cs"/>
            </a:endParaRPr>
          </a:p>
        </p:txBody>
      </p:sp>
      <p:pic>
        <p:nvPicPr>
          <p:cNvPr id="15" name="Grafik 14">
            <a:extLst>
              <a:ext uri="{FF2B5EF4-FFF2-40B4-BE49-F238E27FC236}">
                <a16:creationId xmlns:a16="http://schemas.microsoft.com/office/drawing/2014/main" id="{0A3CFFC5-65C7-1586-1278-800FB8BD4D5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836455" y="2276872"/>
            <a:ext cx="3772782" cy="1251577"/>
          </a:xfrm>
          <a:prstGeom prst="rect">
            <a:avLst/>
          </a:prstGeom>
        </p:spPr>
      </p:pic>
      <p:sp>
        <p:nvSpPr>
          <p:cNvPr id="16" name="Rechteck 15">
            <a:extLst>
              <a:ext uri="{FF2B5EF4-FFF2-40B4-BE49-F238E27FC236}">
                <a16:creationId xmlns:a16="http://schemas.microsoft.com/office/drawing/2014/main" id="{1458F5E4-C178-3DD8-A5D2-05ED741DCF44}"/>
              </a:ext>
            </a:extLst>
          </p:cNvPr>
          <p:cNvSpPr/>
          <p:nvPr/>
        </p:nvSpPr>
        <p:spPr>
          <a:xfrm>
            <a:off x="8760296" y="3567828"/>
            <a:ext cx="1944216" cy="187220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600" dirty="0">
                <a:solidFill>
                  <a:schemeClr val="tx1"/>
                </a:solidFill>
              </a:rPr>
              <a:t>QR-CODE</a:t>
            </a:r>
          </a:p>
          <a:p>
            <a:pPr algn="ctr"/>
            <a:r>
              <a:rPr lang="de-DE" sz="1600" dirty="0">
                <a:solidFill>
                  <a:schemeClr val="tx1"/>
                </a:solidFill>
              </a:rPr>
              <a:t>einfügen</a:t>
            </a:r>
          </a:p>
        </p:txBody>
      </p:sp>
      <p:graphicFrame>
        <p:nvGraphicFramePr>
          <p:cNvPr id="9" name="Diagramm 8">
            <a:extLst>
              <a:ext uri="{FF2B5EF4-FFF2-40B4-BE49-F238E27FC236}">
                <a16:creationId xmlns:a16="http://schemas.microsoft.com/office/drawing/2014/main" id="{BBF4A1F0-B7EB-7236-DF28-4766A0EF544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95235408"/>
              </p:ext>
            </p:extLst>
          </p:nvPr>
        </p:nvGraphicFramePr>
        <p:xfrm>
          <a:off x="-1608856" y="1844824"/>
          <a:ext cx="6946646" cy="475609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6" name="Textfeld 5">
            <a:extLst>
              <a:ext uri="{FF2B5EF4-FFF2-40B4-BE49-F238E27FC236}">
                <a16:creationId xmlns:a16="http://schemas.microsoft.com/office/drawing/2014/main" id="{31C5DD64-6FED-C98C-4B77-DFAD2B26964C}"/>
              </a:ext>
            </a:extLst>
          </p:cNvPr>
          <p:cNvSpPr txBox="1"/>
          <p:nvPr/>
        </p:nvSpPr>
        <p:spPr>
          <a:xfrm>
            <a:off x="3561552" y="3875727"/>
            <a:ext cx="2565393" cy="923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1450" indent="-171450" algn="just" defTabSz="914400" rtl="0" eaLnBrk="1" latinLnBrk="0" hangingPunct="1">
              <a:spcBef>
                <a:spcPts val="500"/>
              </a:spcBef>
              <a:buFont typeface="Arial" panose="020B0604020202020204" pitchFamily="34" charset="0"/>
              <a:buChar char="•"/>
            </a:pPr>
            <a:r>
              <a:rPr lang="de-DE" sz="1200" kern="1200" dirty="0">
                <a:latin typeface="+mn-lt"/>
                <a:ea typeface="+mn-ea"/>
                <a:cs typeface="+mn-cs"/>
              </a:rPr>
              <a:t>Der jeweilige Finanzierungsbedarf entscheidet über die in Betracht kommenden Finanzierungsmittel, um ein passendes Finanzierungs-konzept zu entwickeln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462CEBEE-5CFD-6808-AF11-02579DADCA1A}"/>
              </a:ext>
            </a:extLst>
          </p:cNvPr>
          <p:cNvSpPr txBox="1"/>
          <p:nvPr/>
        </p:nvSpPr>
        <p:spPr>
          <a:xfrm>
            <a:off x="3541713" y="5337023"/>
            <a:ext cx="2565393" cy="923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1450" indent="-171450" algn="just" defTabSz="914400" rtl="0" eaLnBrk="1" latinLnBrk="0" hangingPunct="1">
              <a:spcBef>
                <a:spcPts val="500"/>
              </a:spcBef>
              <a:buFont typeface="Arial" panose="020B0604020202020204" pitchFamily="34" charset="0"/>
              <a:buChar char="•"/>
            </a:pPr>
            <a:r>
              <a:rPr lang="de-DE" sz="1200" dirty="0"/>
              <a:t>Die Auswahl der Finanzierungs-mittel muss hinsichtlich der rechtlichen Umsetzbarkeit und Kombinierbarkeit untersucht werden.</a:t>
            </a:r>
            <a:endParaRPr lang="de-DE" sz="1200" kern="1200" dirty="0">
              <a:latin typeface="+mn-lt"/>
              <a:ea typeface="+mn-ea"/>
              <a:cs typeface="+mn-cs"/>
            </a:endParaRPr>
          </a:p>
        </p:txBody>
      </p:sp>
      <p:pic>
        <p:nvPicPr>
          <p:cNvPr id="12" name="Grafik 11" descr="Puzzleteile Silhouette">
            <a:extLst>
              <a:ext uri="{FF2B5EF4-FFF2-40B4-BE49-F238E27FC236}">
                <a16:creationId xmlns:a16="http://schemas.microsoft.com/office/drawing/2014/main" id="{0DC0DB11-6638-43EA-6672-264D02DE8C37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6355232" y="5261643"/>
            <a:ext cx="914400" cy="914400"/>
          </a:xfrm>
          <a:prstGeom prst="rect">
            <a:avLst/>
          </a:prstGeom>
        </p:spPr>
      </p:pic>
      <p:pic>
        <p:nvPicPr>
          <p:cNvPr id="17" name="Grafik 16" descr="Blaupause Silhouette">
            <a:extLst>
              <a:ext uri="{FF2B5EF4-FFF2-40B4-BE49-F238E27FC236}">
                <a16:creationId xmlns:a16="http://schemas.microsoft.com/office/drawing/2014/main" id="{DBEE5688-0910-B75B-D6BB-B3755EE311C3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6355232" y="3783945"/>
            <a:ext cx="914400" cy="914400"/>
          </a:xfrm>
          <a:prstGeom prst="rect">
            <a:avLst/>
          </a:prstGeom>
        </p:spPr>
      </p:pic>
      <p:pic>
        <p:nvPicPr>
          <p:cNvPr id="19" name="Grafik 18" descr="Vertrag Silhouette">
            <a:extLst>
              <a:ext uri="{FF2B5EF4-FFF2-40B4-BE49-F238E27FC236}">
                <a16:creationId xmlns:a16="http://schemas.microsoft.com/office/drawing/2014/main" id="{7D6F73BC-F397-ABE8-2720-62FE3034FB52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6355232" y="2201172"/>
            <a:ext cx="914400" cy="914400"/>
          </a:xfrm>
          <a:prstGeom prst="rect">
            <a:avLst/>
          </a:prstGeom>
        </p:spPr>
      </p:pic>
      <p:pic>
        <p:nvPicPr>
          <p:cNvPr id="20" name="Grafik 19" descr="Ein Bild, das Schwarz, Dunkelheit enthält.">
            <a:extLst>
              <a:ext uri="{FF2B5EF4-FFF2-40B4-BE49-F238E27FC236}">
                <a16:creationId xmlns:a16="http://schemas.microsoft.com/office/drawing/2014/main" id="{4C12B948-E0CA-D4C1-F9B1-62D74B7D777C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10309807" y="239962"/>
            <a:ext cx="1618841" cy="416686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BEABEBB7-A485-6E8C-EF19-A41BF4E6B3ED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8882554" y="3646586"/>
            <a:ext cx="1699700" cy="16896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224528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D4E0494-EC94-EF6C-C9AB-22908BDB893A}"/>
              </a:ext>
            </a:extLst>
          </p:cNvPr>
          <p:cNvSpPr>
            <a:spLocks noGrp="1"/>
          </p:cNvSpPr>
          <p:nvPr>
            <p:ph type="title"/>
          </p:nvPr>
        </p:nvSpPr>
        <p:spPr>
          <a:noFill/>
        </p:spPr>
        <p:txBody>
          <a:bodyPr/>
          <a:lstStyle/>
          <a:p>
            <a:r>
              <a:rPr lang="de-DE" dirty="0">
                <a:solidFill>
                  <a:schemeClr val="accent3"/>
                </a:solidFill>
              </a:rPr>
              <a:t>Finanzierungsbedarf</a:t>
            </a:r>
          </a:p>
        </p:txBody>
      </p:sp>
      <p:sp>
        <p:nvSpPr>
          <p:cNvPr id="53" name="Pfeil: Fünfeck 52">
            <a:extLst>
              <a:ext uri="{FF2B5EF4-FFF2-40B4-BE49-F238E27FC236}">
                <a16:creationId xmlns:a16="http://schemas.microsoft.com/office/drawing/2014/main" id="{A7DD9489-4D09-C7A9-2E8F-61C3157B3396}"/>
              </a:ext>
            </a:extLst>
          </p:cNvPr>
          <p:cNvSpPr/>
          <p:nvPr/>
        </p:nvSpPr>
        <p:spPr>
          <a:xfrm>
            <a:off x="191344" y="986356"/>
            <a:ext cx="1872208" cy="273817"/>
          </a:xfrm>
          <a:prstGeom prst="homePlat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000" b="1" dirty="0">
                <a:solidFill>
                  <a:schemeClr val="tx1"/>
                </a:solidFill>
              </a:rPr>
              <a:t>Finanzierungslücke</a:t>
            </a:r>
          </a:p>
        </p:txBody>
      </p:sp>
      <p:sp>
        <p:nvSpPr>
          <p:cNvPr id="54" name="Pfeil: Chevron 53">
            <a:extLst>
              <a:ext uri="{FF2B5EF4-FFF2-40B4-BE49-F238E27FC236}">
                <a16:creationId xmlns:a16="http://schemas.microsoft.com/office/drawing/2014/main" id="{DC8B55CE-5256-6652-717D-B64B3D938A8F}"/>
              </a:ext>
            </a:extLst>
          </p:cNvPr>
          <p:cNvSpPr/>
          <p:nvPr/>
        </p:nvSpPr>
        <p:spPr>
          <a:xfrm>
            <a:off x="4177783" y="986356"/>
            <a:ext cx="1872208" cy="273817"/>
          </a:xfrm>
          <a:prstGeom prst="chevron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000" b="1" dirty="0">
                <a:solidFill>
                  <a:schemeClr val="tx1"/>
                </a:solidFill>
              </a:rPr>
              <a:t>Ausblick</a:t>
            </a:r>
          </a:p>
        </p:txBody>
      </p:sp>
      <p:sp>
        <p:nvSpPr>
          <p:cNvPr id="55" name="Pfeil: Chevron 54">
            <a:extLst>
              <a:ext uri="{FF2B5EF4-FFF2-40B4-BE49-F238E27FC236}">
                <a16:creationId xmlns:a16="http://schemas.microsoft.com/office/drawing/2014/main" id="{20803254-1615-A1B3-D834-7AA6A07868A8}"/>
              </a:ext>
            </a:extLst>
          </p:cNvPr>
          <p:cNvSpPr/>
          <p:nvPr/>
        </p:nvSpPr>
        <p:spPr>
          <a:xfrm>
            <a:off x="2184563" y="986356"/>
            <a:ext cx="1872208" cy="273817"/>
          </a:xfrm>
          <a:prstGeom prst="chevron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000" b="1" dirty="0">
                <a:solidFill>
                  <a:schemeClr val="tx1"/>
                </a:solidFill>
              </a:rPr>
              <a:t>Lösungsansätze</a:t>
            </a:r>
          </a:p>
        </p:txBody>
      </p:sp>
      <p:pic>
        <p:nvPicPr>
          <p:cNvPr id="20" name="Grafik 19" descr="Ein Bild, das Schwarz, Dunkelheit enthält.">
            <a:extLst>
              <a:ext uri="{FF2B5EF4-FFF2-40B4-BE49-F238E27FC236}">
                <a16:creationId xmlns:a16="http://schemas.microsoft.com/office/drawing/2014/main" id="{4C12B948-E0CA-D4C1-F9B1-62D74B7D777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309807" y="239962"/>
            <a:ext cx="1618841" cy="416686"/>
          </a:xfrm>
          <a:prstGeom prst="rect">
            <a:avLst/>
          </a:prstGeom>
        </p:spPr>
      </p:pic>
      <p:graphicFrame>
        <p:nvGraphicFramePr>
          <p:cNvPr id="3" name="Tabelle 3">
            <a:extLst>
              <a:ext uri="{FF2B5EF4-FFF2-40B4-BE49-F238E27FC236}">
                <a16:creationId xmlns:a16="http://schemas.microsoft.com/office/drawing/2014/main" id="{B798EE1F-968E-8C93-A304-F53556050A9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47504923"/>
              </p:ext>
            </p:extLst>
          </p:nvPr>
        </p:nvGraphicFramePr>
        <p:xfrm>
          <a:off x="885987" y="1490255"/>
          <a:ext cx="10297144" cy="474158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574286">
                  <a:extLst>
                    <a:ext uri="{9D8B030D-6E8A-4147-A177-3AD203B41FA5}">
                      <a16:colId xmlns:a16="http://schemas.microsoft.com/office/drawing/2014/main" val="854240122"/>
                    </a:ext>
                  </a:extLst>
                </a:gridCol>
                <a:gridCol w="2574286">
                  <a:extLst>
                    <a:ext uri="{9D8B030D-6E8A-4147-A177-3AD203B41FA5}">
                      <a16:colId xmlns:a16="http://schemas.microsoft.com/office/drawing/2014/main" val="2431231144"/>
                    </a:ext>
                  </a:extLst>
                </a:gridCol>
                <a:gridCol w="2574286">
                  <a:extLst>
                    <a:ext uri="{9D8B030D-6E8A-4147-A177-3AD203B41FA5}">
                      <a16:colId xmlns:a16="http://schemas.microsoft.com/office/drawing/2014/main" val="3249177354"/>
                    </a:ext>
                  </a:extLst>
                </a:gridCol>
                <a:gridCol w="2574286">
                  <a:extLst>
                    <a:ext uri="{9D8B030D-6E8A-4147-A177-3AD203B41FA5}">
                      <a16:colId xmlns:a16="http://schemas.microsoft.com/office/drawing/2014/main" val="944143080"/>
                    </a:ext>
                  </a:extLst>
                </a:gridCol>
              </a:tblGrid>
              <a:tr h="416155">
                <a:tc>
                  <a:txBody>
                    <a:bodyPr/>
                    <a:lstStyle/>
                    <a:p>
                      <a:pPr algn="ctr"/>
                      <a:r>
                        <a:rPr lang="de-DE" sz="1400" dirty="0"/>
                        <a:t>Kriterie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/>
                        <a:t>Status quo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/>
                        <a:t>Szenario 1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/>
                        <a:t>Minimalszenario „Gleichziehen mit Branchenspitze“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/>
                        <a:t>Szenario 2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/>
                        <a:t>Koalitionsvertrag „60%-Ziel und Nachfragesteigerung“ 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295822713"/>
                  </a:ext>
                </a:extLst>
              </a:tr>
              <a:tr h="718296">
                <a:tc>
                  <a:txBody>
                    <a:bodyPr/>
                    <a:lstStyle/>
                    <a:p>
                      <a:pPr algn="ctr"/>
                      <a:r>
                        <a:rPr lang="de-DE" sz="1400" dirty="0"/>
                        <a:t>Angebot</a:t>
                      </a:r>
                    </a:p>
                    <a:p>
                      <a:pPr algn="ctr"/>
                      <a:r>
                        <a:rPr lang="de-DE" sz="1400" dirty="0"/>
                        <a:t>(Platz-km)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/>
                        <a:t>22.700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/>
                        <a:t>29.835</a:t>
                      </a:r>
                    </a:p>
                    <a:p>
                      <a:pPr algn="ctr"/>
                      <a:r>
                        <a:rPr lang="de-DE" sz="1400" dirty="0"/>
                        <a:t>(+ 31 %)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/>
                        <a:t>36.300</a:t>
                      </a:r>
                    </a:p>
                    <a:p>
                      <a:pPr algn="ctr"/>
                      <a:r>
                        <a:rPr lang="de-DE" sz="1400" dirty="0"/>
                        <a:t>(+ 60 %)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40627088"/>
                  </a:ext>
                </a:extLst>
              </a:tr>
              <a:tr h="718296">
                <a:tc>
                  <a:txBody>
                    <a:bodyPr/>
                    <a:lstStyle/>
                    <a:p>
                      <a:pPr algn="ctr"/>
                      <a:r>
                        <a:rPr lang="de-DE" sz="1400" dirty="0"/>
                        <a:t>Nachfrage </a:t>
                      </a:r>
                    </a:p>
                    <a:p>
                      <a:pPr algn="ctr"/>
                      <a:r>
                        <a:rPr lang="de-DE" sz="1400" dirty="0"/>
                        <a:t>(Personen-km)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/>
                        <a:t>5.560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/>
                        <a:t>7.470</a:t>
                      </a:r>
                    </a:p>
                    <a:p>
                      <a:pPr algn="ctr"/>
                      <a:r>
                        <a:rPr lang="de-DE" sz="1400" dirty="0"/>
                        <a:t>(+ 34 %)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/>
                        <a:t>9.600</a:t>
                      </a:r>
                    </a:p>
                    <a:p>
                      <a:pPr algn="ctr"/>
                      <a:r>
                        <a:rPr lang="de-DE" sz="1400" dirty="0"/>
                        <a:t>(+ 72 %)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99411011"/>
                  </a:ext>
                </a:extLst>
              </a:tr>
              <a:tr h="718296">
                <a:tc>
                  <a:txBody>
                    <a:bodyPr/>
                    <a:lstStyle/>
                    <a:p>
                      <a:pPr algn="ctr"/>
                      <a:r>
                        <a:rPr lang="de-DE" sz="1400" dirty="0"/>
                        <a:t>Finanzierungsbedarf p.a. (Mio. EUR)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/>
                        <a:t>565 - 635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/>
                        <a:t>725 – 810 </a:t>
                      </a:r>
                    </a:p>
                    <a:p>
                      <a:pPr algn="ctr"/>
                      <a:r>
                        <a:rPr lang="de-DE" sz="1400" dirty="0"/>
                        <a:t>(+ 28 %)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/>
                        <a:t>870 – 895 </a:t>
                      </a:r>
                    </a:p>
                    <a:p>
                      <a:pPr algn="ctr"/>
                      <a:r>
                        <a:rPr lang="de-DE" sz="1400" dirty="0"/>
                        <a:t>(+ 56 %)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86630852"/>
                  </a:ext>
                </a:extLst>
              </a:tr>
              <a:tr h="1641818">
                <a:tc>
                  <a:txBody>
                    <a:bodyPr/>
                    <a:lstStyle/>
                    <a:p>
                      <a:pPr algn="ctr"/>
                      <a:r>
                        <a:rPr lang="de-DE" sz="1400" dirty="0"/>
                        <a:t>Finanzierungsbedarf p.a. inkl. Kostensteigerung (Mio. EUR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/>
                        <a:t>800 - 895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/>
                        <a:t>1.020 – 1.140</a:t>
                      </a:r>
                    </a:p>
                    <a:p>
                      <a:pPr algn="ctr"/>
                      <a:r>
                        <a:rPr lang="de-DE" sz="1400" dirty="0"/>
                        <a:t>(+ 28 %)</a:t>
                      </a:r>
                    </a:p>
                    <a:p>
                      <a:pPr algn="ctr"/>
                      <a:endParaRPr lang="de-DE" sz="1400" dirty="0"/>
                    </a:p>
                    <a:p>
                      <a:pPr algn="ctr"/>
                      <a:r>
                        <a:rPr lang="de-DE" sz="1400" b="1" dirty="0"/>
                        <a:t>+ 220 – 245 Mio. EUR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/>
                        <a:t>1.220 – 1.400</a:t>
                      </a:r>
                    </a:p>
                    <a:p>
                      <a:pPr algn="ctr"/>
                      <a:r>
                        <a:rPr lang="de-DE" sz="1400" dirty="0"/>
                        <a:t>(+ 56 %)</a:t>
                      </a:r>
                    </a:p>
                    <a:p>
                      <a:pPr algn="ctr"/>
                      <a:endParaRPr lang="de-DE" sz="1400" dirty="0"/>
                    </a:p>
                    <a:p>
                      <a:pPr algn="ctr"/>
                      <a:r>
                        <a:rPr lang="de-DE" sz="1400" b="1" dirty="0"/>
                        <a:t>+ 425 – 510 Mio. EUR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139086668"/>
                  </a:ext>
                </a:extLst>
              </a:tr>
            </a:tbl>
          </a:graphicData>
        </a:graphic>
      </p:graphicFrame>
      <p:sp>
        <p:nvSpPr>
          <p:cNvPr id="4" name="Rechteck 3">
            <a:extLst>
              <a:ext uri="{FF2B5EF4-FFF2-40B4-BE49-F238E27FC236}">
                <a16:creationId xmlns:a16="http://schemas.microsoft.com/office/drawing/2014/main" id="{77053ACE-AF45-5475-A20E-00964EF48C1D}"/>
              </a:ext>
            </a:extLst>
          </p:cNvPr>
          <p:cNvSpPr/>
          <p:nvPr/>
        </p:nvSpPr>
        <p:spPr>
          <a:xfrm>
            <a:off x="8544272" y="1340768"/>
            <a:ext cx="2736304" cy="5040560"/>
          </a:xfrm>
          <a:prstGeom prst="rect">
            <a:avLst/>
          </a:prstGeom>
          <a:noFill/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buFontTx/>
              <a:buChar char="–"/>
            </a:pPr>
            <a:endParaRPr lang="de-DE" sz="1600" dirty="0" err="1">
              <a:solidFill>
                <a:schemeClr val="tx1"/>
              </a:solidFill>
            </a:endParaRP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8B5B2DB5-57B8-3D48-6E22-E0A005980C67}"/>
              </a:ext>
            </a:extLst>
          </p:cNvPr>
          <p:cNvSpPr txBox="1"/>
          <p:nvPr/>
        </p:nvSpPr>
        <p:spPr>
          <a:xfrm>
            <a:off x="983432" y="6381328"/>
            <a:ext cx="748883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defTabSz="914400" rtl="0" eaLnBrk="1" latinLnBrk="0" hangingPunct="1">
              <a:spcBef>
                <a:spcPts val="500"/>
              </a:spcBef>
            </a:pPr>
            <a:r>
              <a:rPr lang="de-DE" sz="800" kern="1200" dirty="0">
                <a:latin typeface="+mn-lt"/>
                <a:ea typeface="+mn-ea"/>
                <a:cs typeface="+mn-cs"/>
              </a:rPr>
              <a:t>Quelle: VRS/</a:t>
            </a:r>
            <a:r>
              <a:rPr lang="de-DE" sz="800" kern="1200" dirty="0" err="1">
                <a:latin typeface="+mn-lt"/>
                <a:ea typeface="+mn-ea"/>
                <a:cs typeface="+mn-cs"/>
              </a:rPr>
              <a:t>mobilité</a:t>
            </a:r>
            <a:r>
              <a:rPr lang="de-DE" sz="800" dirty="0"/>
              <a:t>/</a:t>
            </a:r>
            <a:r>
              <a:rPr lang="de-DE" sz="800" kern="1200" dirty="0">
                <a:latin typeface="+mn-lt"/>
                <a:ea typeface="+mn-ea"/>
                <a:cs typeface="+mn-cs"/>
              </a:rPr>
              <a:t>BSL </a:t>
            </a:r>
            <a:r>
              <a:rPr lang="de-DE" sz="800" dirty="0"/>
              <a:t>Transportation Consultants/</a:t>
            </a:r>
            <a:r>
              <a:rPr lang="de-DE" sz="800" kern="1200" dirty="0">
                <a:latin typeface="+mn-lt"/>
                <a:ea typeface="+mn-ea"/>
                <a:cs typeface="+mn-cs"/>
              </a:rPr>
              <a:t>Rödl &amp; Partner Gutachten zur Finanzierung des ÖPNV im VRS-Raum, 2022.</a:t>
            </a:r>
          </a:p>
        </p:txBody>
      </p:sp>
    </p:spTree>
    <p:extLst>
      <p:ext uri="{BB962C8B-B14F-4D97-AF65-F5344CB8AC3E}">
        <p14:creationId xmlns:p14="http://schemas.microsoft.com/office/powerpoint/2010/main" val="124100802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Diagramm 15">
            <a:extLst>
              <a:ext uri="{FF2B5EF4-FFF2-40B4-BE49-F238E27FC236}">
                <a16:creationId xmlns:a16="http://schemas.microsoft.com/office/drawing/2014/main" id="{ADDB208F-FDF2-2C2C-B70C-7D7C4B64F00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9842539"/>
              </p:ext>
            </p:extLst>
          </p:nvPr>
        </p:nvGraphicFramePr>
        <p:xfrm>
          <a:off x="1703512" y="1491159"/>
          <a:ext cx="7752910" cy="520918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7D4E0494-EC94-EF6C-C9AB-22908BDB893A}"/>
              </a:ext>
            </a:extLst>
          </p:cNvPr>
          <p:cNvSpPr>
            <a:spLocks noGrp="1"/>
          </p:cNvSpPr>
          <p:nvPr>
            <p:ph type="title"/>
          </p:nvPr>
        </p:nvSpPr>
        <p:spPr>
          <a:noFill/>
        </p:spPr>
        <p:txBody>
          <a:bodyPr/>
          <a:lstStyle/>
          <a:p>
            <a:r>
              <a:rPr lang="de-DE" dirty="0">
                <a:solidFill>
                  <a:schemeClr val="accent3"/>
                </a:solidFill>
              </a:rPr>
              <a:t>Finanzierungsinstrumente</a:t>
            </a:r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DF606926-216F-B452-2250-67173767B266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4CFEB0D3-1EB3-4F08-8062-95FFB9749870}" type="slidenum">
              <a:rPr lang="de-DE" smtClean="0"/>
              <a:pPr/>
              <a:t>8</a:t>
            </a:fld>
            <a:endParaRPr lang="de-DE"/>
          </a:p>
        </p:txBody>
      </p:sp>
      <p:sp>
        <p:nvSpPr>
          <p:cNvPr id="53" name="Pfeil: Fünfeck 52">
            <a:extLst>
              <a:ext uri="{FF2B5EF4-FFF2-40B4-BE49-F238E27FC236}">
                <a16:creationId xmlns:a16="http://schemas.microsoft.com/office/drawing/2014/main" id="{A7DD9489-4D09-C7A9-2E8F-61C3157B3396}"/>
              </a:ext>
            </a:extLst>
          </p:cNvPr>
          <p:cNvSpPr/>
          <p:nvPr/>
        </p:nvSpPr>
        <p:spPr>
          <a:xfrm>
            <a:off x="62412" y="1010917"/>
            <a:ext cx="1872208" cy="273817"/>
          </a:xfrm>
          <a:prstGeom prst="homePlat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000" b="1" dirty="0">
                <a:solidFill>
                  <a:schemeClr val="tx1"/>
                </a:solidFill>
              </a:rPr>
              <a:t>Finanzierungslücke</a:t>
            </a:r>
          </a:p>
        </p:txBody>
      </p:sp>
      <p:sp>
        <p:nvSpPr>
          <p:cNvPr id="54" name="Pfeil: Chevron 53">
            <a:extLst>
              <a:ext uri="{FF2B5EF4-FFF2-40B4-BE49-F238E27FC236}">
                <a16:creationId xmlns:a16="http://schemas.microsoft.com/office/drawing/2014/main" id="{DC8B55CE-5256-6652-717D-B64B3D938A8F}"/>
              </a:ext>
            </a:extLst>
          </p:cNvPr>
          <p:cNvSpPr/>
          <p:nvPr/>
        </p:nvSpPr>
        <p:spPr>
          <a:xfrm>
            <a:off x="4048851" y="1010917"/>
            <a:ext cx="1872208" cy="273817"/>
          </a:xfrm>
          <a:prstGeom prst="chevron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000" b="1" dirty="0">
                <a:solidFill>
                  <a:schemeClr val="tx1"/>
                </a:solidFill>
              </a:rPr>
              <a:t>Ausblick</a:t>
            </a:r>
          </a:p>
        </p:txBody>
      </p:sp>
      <p:sp>
        <p:nvSpPr>
          <p:cNvPr id="55" name="Pfeil: Chevron 54">
            <a:extLst>
              <a:ext uri="{FF2B5EF4-FFF2-40B4-BE49-F238E27FC236}">
                <a16:creationId xmlns:a16="http://schemas.microsoft.com/office/drawing/2014/main" id="{20803254-1615-A1B3-D834-7AA6A07868A8}"/>
              </a:ext>
            </a:extLst>
          </p:cNvPr>
          <p:cNvSpPr/>
          <p:nvPr/>
        </p:nvSpPr>
        <p:spPr>
          <a:xfrm>
            <a:off x="2074912" y="1010917"/>
            <a:ext cx="1872208" cy="273817"/>
          </a:xfrm>
          <a:prstGeom prst="chevron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000" b="1" dirty="0">
                <a:solidFill>
                  <a:schemeClr val="tx1"/>
                </a:solidFill>
              </a:rPr>
              <a:t>Lösungsansätze</a:t>
            </a:r>
          </a:p>
        </p:txBody>
      </p:sp>
      <p:pic>
        <p:nvPicPr>
          <p:cNvPr id="4" name="Grafik 3" descr="Ein Bild, das Schwarz, Dunkelheit enthält.">
            <a:extLst>
              <a:ext uri="{FF2B5EF4-FFF2-40B4-BE49-F238E27FC236}">
                <a16:creationId xmlns:a16="http://schemas.microsoft.com/office/drawing/2014/main" id="{23C96C37-6E66-51CF-134E-1871495B1B7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309807" y="239962"/>
            <a:ext cx="1618841" cy="416686"/>
          </a:xfrm>
          <a:prstGeom prst="rect">
            <a:avLst/>
          </a:prstGeom>
        </p:spPr>
      </p:pic>
      <p:graphicFrame>
        <p:nvGraphicFramePr>
          <p:cNvPr id="15" name="Diagramm 14">
            <a:extLst>
              <a:ext uri="{FF2B5EF4-FFF2-40B4-BE49-F238E27FC236}">
                <a16:creationId xmlns:a16="http://schemas.microsoft.com/office/drawing/2014/main" id="{4032C62C-7E2D-E939-FFF1-6C3B86913F9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527308583"/>
              </p:ext>
            </p:extLst>
          </p:nvPr>
        </p:nvGraphicFramePr>
        <p:xfrm>
          <a:off x="-1932965" y="1495557"/>
          <a:ext cx="7752910" cy="520918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graphicFrame>
        <p:nvGraphicFramePr>
          <p:cNvPr id="17" name="Diagramm 16">
            <a:extLst>
              <a:ext uri="{FF2B5EF4-FFF2-40B4-BE49-F238E27FC236}">
                <a16:creationId xmlns:a16="http://schemas.microsoft.com/office/drawing/2014/main" id="{89311F6F-04FB-DE71-E7EE-BC8A110C3F6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287188974"/>
              </p:ext>
            </p:extLst>
          </p:nvPr>
        </p:nvGraphicFramePr>
        <p:xfrm>
          <a:off x="5339989" y="1491159"/>
          <a:ext cx="7752910" cy="520918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3" r:lo="rId14" r:qs="rId15" r:cs="rId16"/>
          </a:graphicData>
        </a:graphic>
      </p:graphicFrame>
    </p:spTree>
    <p:extLst>
      <p:ext uri="{BB962C8B-B14F-4D97-AF65-F5344CB8AC3E}">
        <p14:creationId xmlns:p14="http://schemas.microsoft.com/office/powerpoint/2010/main" val="53579865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Rechteck 43">
            <a:extLst>
              <a:ext uri="{FF2B5EF4-FFF2-40B4-BE49-F238E27FC236}">
                <a16:creationId xmlns:a16="http://schemas.microsoft.com/office/drawing/2014/main" id="{24EDE977-C4BD-2590-3A4C-10E85D510737}"/>
              </a:ext>
            </a:extLst>
          </p:cNvPr>
          <p:cNvSpPr/>
          <p:nvPr/>
        </p:nvSpPr>
        <p:spPr>
          <a:xfrm>
            <a:off x="128145" y="2454171"/>
            <a:ext cx="11728495" cy="4287197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buFontTx/>
              <a:buChar char="–"/>
            </a:pPr>
            <a:endParaRPr lang="de-DE" sz="1600" dirty="0" err="1">
              <a:solidFill>
                <a:schemeClr val="tx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D4E0494-EC94-EF6C-C9AB-22908BDB893A}"/>
              </a:ext>
            </a:extLst>
          </p:cNvPr>
          <p:cNvSpPr>
            <a:spLocks noGrp="1"/>
          </p:cNvSpPr>
          <p:nvPr>
            <p:ph type="title"/>
          </p:nvPr>
        </p:nvSpPr>
        <p:spPr>
          <a:noFill/>
        </p:spPr>
        <p:txBody>
          <a:bodyPr/>
          <a:lstStyle/>
          <a:p>
            <a:r>
              <a:rPr lang="de-DE" dirty="0">
                <a:solidFill>
                  <a:schemeClr val="accent3"/>
                </a:solidFill>
              </a:rPr>
              <a:t>Eignung</a:t>
            </a:r>
          </a:p>
        </p:txBody>
      </p:sp>
      <p:sp>
        <p:nvSpPr>
          <p:cNvPr id="53" name="Pfeil: Fünfeck 52">
            <a:extLst>
              <a:ext uri="{FF2B5EF4-FFF2-40B4-BE49-F238E27FC236}">
                <a16:creationId xmlns:a16="http://schemas.microsoft.com/office/drawing/2014/main" id="{A7DD9489-4D09-C7A9-2E8F-61C3157B3396}"/>
              </a:ext>
            </a:extLst>
          </p:cNvPr>
          <p:cNvSpPr/>
          <p:nvPr/>
        </p:nvSpPr>
        <p:spPr>
          <a:xfrm>
            <a:off x="191344" y="986356"/>
            <a:ext cx="1872208" cy="273817"/>
          </a:xfrm>
          <a:prstGeom prst="homePlat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000" b="1" dirty="0">
                <a:solidFill>
                  <a:schemeClr val="tx1"/>
                </a:solidFill>
              </a:rPr>
              <a:t>Finanzierungslücke</a:t>
            </a:r>
          </a:p>
        </p:txBody>
      </p:sp>
      <p:sp>
        <p:nvSpPr>
          <p:cNvPr id="54" name="Pfeil: Chevron 53">
            <a:extLst>
              <a:ext uri="{FF2B5EF4-FFF2-40B4-BE49-F238E27FC236}">
                <a16:creationId xmlns:a16="http://schemas.microsoft.com/office/drawing/2014/main" id="{DC8B55CE-5256-6652-717D-B64B3D938A8F}"/>
              </a:ext>
            </a:extLst>
          </p:cNvPr>
          <p:cNvSpPr/>
          <p:nvPr/>
        </p:nvSpPr>
        <p:spPr>
          <a:xfrm>
            <a:off x="4177783" y="986356"/>
            <a:ext cx="1872208" cy="273817"/>
          </a:xfrm>
          <a:prstGeom prst="chevron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000" b="1" dirty="0">
                <a:solidFill>
                  <a:schemeClr val="tx1"/>
                </a:solidFill>
              </a:rPr>
              <a:t>Ausblick</a:t>
            </a:r>
          </a:p>
        </p:txBody>
      </p:sp>
      <p:sp>
        <p:nvSpPr>
          <p:cNvPr id="55" name="Pfeil: Chevron 54">
            <a:extLst>
              <a:ext uri="{FF2B5EF4-FFF2-40B4-BE49-F238E27FC236}">
                <a16:creationId xmlns:a16="http://schemas.microsoft.com/office/drawing/2014/main" id="{20803254-1615-A1B3-D834-7AA6A07868A8}"/>
              </a:ext>
            </a:extLst>
          </p:cNvPr>
          <p:cNvSpPr/>
          <p:nvPr/>
        </p:nvSpPr>
        <p:spPr>
          <a:xfrm>
            <a:off x="2184563" y="986356"/>
            <a:ext cx="1872208" cy="273817"/>
          </a:xfrm>
          <a:prstGeom prst="chevron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000" b="1" dirty="0">
                <a:solidFill>
                  <a:schemeClr val="tx1"/>
                </a:solidFill>
              </a:rPr>
              <a:t>Lösungsansätze</a:t>
            </a:r>
          </a:p>
        </p:txBody>
      </p:sp>
      <p:pic>
        <p:nvPicPr>
          <p:cNvPr id="20" name="Grafik 19" descr="Ein Bild, das Schwarz, Dunkelheit enthält.">
            <a:extLst>
              <a:ext uri="{FF2B5EF4-FFF2-40B4-BE49-F238E27FC236}">
                <a16:creationId xmlns:a16="http://schemas.microsoft.com/office/drawing/2014/main" id="{4C12B948-E0CA-D4C1-F9B1-62D74B7D777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309807" y="239962"/>
            <a:ext cx="1618841" cy="416686"/>
          </a:xfrm>
          <a:prstGeom prst="rect">
            <a:avLst/>
          </a:prstGeom>
        </p:spPr>
      </p:pic>
      <p:sp>
        <p:nvSpPr>
          <p:cNvPr id="19" name="Rechteck 18">
            <a:extLst>
              <a:ext uri="{FF2B5EF4-FFF2-40B4-BE49-F238E27FC236}">
                <a16:creationId xmlns:a16="http://schemas.microsoft.com/office/drawing/2014/main" id="{9CEDFF6D-4021-7AFB-E870-A7F0E48C347A}"/>
              </a:ext>
            </a:extLst>
          </p:cNvPr>
          <p:cNvSpPr/>
          <p:nvPr/>
        </p:nvSpPr>
        <p:spPr>
          <a:xfrm>
            <a:off x="3484967" y="2454171"/>
            <a:ext cx="5112568" cy="1435086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buFontTx/>
              <a:buChar char="–"/>
            </a:pPr>
            <a:endParaRPr lang="de-DE" sz="1600" dirty="0" err="1">
              <a:solidFill>
                <a:schemeClr val="tx1"/>
              </a:solidFill>
            </a:endParaRPr>
          </a:p>
        </p:txBody>
      </p:sp>
      <p:graphicFrame>
        <p:nvGraphicFramePr>
          <p:cNvPr id="3" name="Diagramm 2">
            <a:extLst>
              <a:ext uri="{FF2B5EF4-FFF2-40B4-BE49-F238E27FC236}">
                <a16:creationId xmlns:a16="http://schemas.microsoft.com/office/drawing/2014/main" id="{F40CE341-7BD7-E468-B7AE-799CAB0CF73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601205128"/>
              </p:ext>
            </p:extLst>
          </p:nvPr>
        </p:nvGraphicFramePr>
        <p:xfrm>
          <a:off x="3827809" y="2693390"/>
          <a:ext cx="4320480" cy="318388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5" name="Rechteck 4">
            <a:extLst>
              <a:ext uri="{FF2B5EF4-FFF2-40B4-BE49-F238E27FC236}">
                <a16:creationId xmlns:a16="http://schemas.microsoft.com/office/drawing/2014/main" id="{1606AA10-60F5-2F5F-CE1F-8FB565F78E66}"/>
              </a:ext>
            </a:extLst>
          </p:cNvPr>
          <p:cNvSpPr/>
          <p:nvPr/>
        </p:nvSpPr>
        <p:spPr>
          <a:xfrm>
            <a:off x="128145" y="1556794"/>
            <a:ext cx="2640135" cy="63485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600" b="1" dirty="0">
                <a:solidFill>
                  <a:schemeClr val="bg1"/>
                </a:solidFill>
              </a:rPr>
              <a:t>Steuer</a:t>
            </a:r>
          </a:p>
          <a:p>
            <a:pPr algn="ctr"/>
            <a:r>
              <a:rPr lang="de-DE" sz="1200" dirty="0">
                <a:solidFill>
                  <a:schemeClr val="bg1"/>
                </a:solidFill>
              </a:rPr>
              <a:t>Geldleistung als Einnahme des </a:t>
            </a:r>
            <a:r>
              <a:rPr lang="de-DE" sz="1200" dirty="0" err="1">
                <a:solidFill>
                  <a:schemeClr val="bg1"/>
                </a:solidFill>
              </a:rPr>
              <a:t>öffentl</a:t>
            </a:r>
            <a:r>
              <a:rPr lang="de-DE" sz="1200" dirty="0">
                <a:solidFill>
                  <a:schemeClr val="bg1"/>
                </a:solidFill>
              </a:rPr>
              <a:t>. Gemeinwesens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56B316C6-C6F3-AD8D-1D7E-AB363F405CA1}"/>
              </a:ext>
            </a:extLst>
          </p:cNvPr>
          <p:cNvSpPr/>
          <p:nvPr/>
        </p:nvSpPr>
        <p:spPr>
          <a:xfrm>
            <a:off x="3157598" y="1556794"/>
            <a:ext cx="2640135" cy="63485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600" b="1" dirty="0">
                <a:solidFill>
                  <a:schemeClr val="bg1"/>
                </a:solidFill>
              </a:rPr>
              <a:t>Beitrag</a:t>
            </a:r>
          </a:p>
          <a:p>
            <a:pPr algn="ctr"/>
            <a:r>
              <a:rPr lang="de-DE" sz="1200" dirty="0">
                <a:solidFill>
                  <a:schemeClr val="bg1"/>
                </a:solidFill>
              </a:rPr>
              <a:t>Geldleistung abstrakte Nutzungsmöglichkeit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B3472A12-B87D-B0AF-EE77-9C4B931D89D8}"/>
              </a:ext>
            </a:extLst>
          </p:cNvPr>
          <p:cNvSpPr/>
          <p:nvPr/>
        </p:nvSpPr>
        <p:spPr>
          <a:xfrm>
            <a:off x="6187051" y="1556794"/>
            <a:ext cx="2640135" cy="63485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600" b="1" dirty="0">
                <a:solidFill>
                  <a:schemeClr val="bg1"/>
                </a:solidFill>
              </a:rPr>
              <a:t>Gebühr</a:t>
            </a:r>
          </a:p>
          <a:p>
            <a:pPr algn="ctr"/>
            <a:r>
              <a:rPr lang="de-DE" sz="1200" dirty="0">
                <a:solidFill>
                  <a:schemeClr val="bg1"/>
                </a:solidFill>
              </a:rPr>
              <a:t>Geldleistung für konkrete Nutzung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DA503A4B-BBA9-D34C-6D2D-7A8DB7BEE923}"/>
              </a:ext>
            </a:extLst>
          </p:cNvPr>
          <p:cNvSpPr/>
          <p:nvPr/>
        </p:nvSpPr>
        <p:spPr>
          <a:xfrm>
            <a:off x="9216505" y="1556792"/>
            <a:ext cx="2640135" cy="63485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600" b="1" dirty="0">
                <a:solidFill>
                  <a:schemeClr val="bg1"/>
                </a:solidFill>
              </a:rPr>
              <a:t>Sonderabgabe</a:t>
            </a:r>
          </a:p>
          <a:p>
            <a:pPr algn="ctr"/>
            <a:r>
              <a:rPr lang="de-DE" sz="1200" dirty="0">
                <a:solidFill>
                  <a:schemeClr val="bg1"/>
                </a:solidFill>
              </a:rPr>
              <a:t>Geldleistung zu Lasten bestimmter Gruppe</a:t>
            </a:r>
          </a:p>
        </p:txBody>
      </p:sp>
      <p:sp>
        <p:nvSpPr>
          <p:cNvPr id="10" name="Rechteck: abgerundete Ecken 9">
            <a:extLst>
              <a:ext uri="{FF2B5EF4-FFF2-40B4-BE49-F238E27FC236}">
                <a16:creationId xmlns:a16="http://schemas.microsoft.com/office/drawing/2014/main" id="{0502B43C-4451-CB3B-796C-F7D357108451}"/>
              </a:ext>
            </a:extLst>
          </p:cNvPr>
          <p:cNvSpPr/>
          <p:nvPr/>
        </p:nvSpPr>
        <p:spPr>
          <a:xfrm>
            <a:off x="1803430" y="2845792"/>
            <a:ext cx="2640135" cy="36004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600" dirty="0">
                <a:solidFill>
                  <a:schemeClr val="tx1"/>
                </a:solidFill>
              </a:rPr>
              <a:t>Ergiebigkeit</a:t>
            </a:r>
            <a:endParaRPr lang="de-DE" sz="1200" dirty="0">
              <a:solidFill>
                <a:schemeClr val="tx1"/>
              </a:solidFill>
            </a:endParaRPr>
          </a:p>
        </p:txBody>
      </p:sp>
      <p:sp>
        <p:nvSpPr>
          <p:cNvPr id="12" name="Rechteck: abgerundete Ecken 11">
            <a:extLst>
              <a:ext uri="{FF2B5EF4-FFF2-40B4-BE49-F238E27FC236}">
                <a16:creationId xmlns:a16="http://schemas.microsoft.com/office/drawing/2014/main" id="{0A4E51D4-D5DA-D2DD-471A-179F1B35D7F0}"/>
              </a:ext>
            </a:extLst>
          </p:cNvPr>
          <p:cNvSpPr/>
          <p:nvPr/>
        </p:nvSpPr>
        <p:spPr>
          <a:xfrm>
            <a:off x="1803430" y="3307851"/>
            <a:ext cx="2640135" cy="36004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600" dirty="0">
                <a:solidFill>
                  <a:schemeClr val="tx1"/>
                </a:solidFill>
              </a:rPr>
              <a:t>Dauerhaftigkeit</a:t>
            </a:r>
          </a:p>
        </p:txBody>
      </p:sp>
      <p:sp>
        <p:nvSpPr>
          <p:cNvPr id="15" name="Rechteck: abgerundete Ecken 14">
            <a:extLst>
              <a:ext uri="{FF2B5EF4-FFF2-40B4-BE49-F238E27FC236}">
                <a16:creationId xmlns:a16="http://schemas.microsoft.com/office/drawing/2014/main" id="{AD3729B3-F998-C448-89D8-3E582013D68A}"/>
              </a:ext>
            </a:extLst>
          </p:cNvPr>
          <p:cNvSpPr/>
          <p:nvPr/>
        </p:nvSpPr>
        <p:spPr>
          <a:xfrm>
            <a:off x="1803430" y="3769910"/>
            <a:ext cx="2640135" cy="36004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600" dirty="0">
                <a:solidFill>
                  <a:schemeClr val="tx1"/>
                </a:solidFill>
              </a:rPr>
              <a:t>Zweckbindung</a:t>
            </a:r>
          </a:p>
        </p:txBody>
      </p:sp>
      <p:sp>
        <p:nvSpPr>
          <p:cNvPr id="18" name="Rechteck: abgerundete Ecken 17">
            <a:extLst>
              <a:ext uri="{FF2B5EF4-FFF2-40B4-BE49-F238E27FC236}">
                <a16:creationId xmlns:a16="http://schemas.microsoft.com/office/drawing/2014/main" id="{A4A403B9-4865-E16C-B383-4D0C27F8208B}"/>
              </a:ext>
            </a:extLst>
          </p:cNvPr>
          <p:cNvSpPr/>
          <p:nvPr/>
        </p:nvSpPr>
        <p:spPr>
          <a:xfrm>
            <a:off x="1803430" y="4231969"/>
            <a:ext cx="2640135" cy="36004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600" dirty="0">
                <a:solidFill>
                  <a:schemeClr val="tx1"/>
                </a:solidFill>
              </a:rPr>
              <a:t>Rechtliche Umsetzbarkeit</a:t>
            </a:r>
          </a:p>
        </p:txBody>
      </p:sp>
      <p:sp>
        <p:nvSpPr>
          <p:cNvPr id="32" name="Rechteck: abgerundete Ecken 31">
            <a:extLst>
              <a:ext uri="{FF2B5EF4-FFF2-40B4-BE49-F238E27FC236}">
                <a16:creationId xmlns:a16="http://schemas.microsoft.com/office/drawing/2014/main" id="{94BB5E22-9FD5-8821-8CFD-1F603B7D9FEF}"/>
              </a:ext>
            </a:extLst>
          </p:cNvPr>
          <p:cNvSpPr/>
          <p:nvPr/>
        </p:nvSpPr>
        <p:spPr>
          <a:xfrm>
            <a:off x="7507118" y="3102521"/>
            <a:ext cx="2640135" cy="36004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600" dirty="0">
                <a:solidFill>
                  <a:schemeClr val="tx1"/>
                </a:solidFill>
              </a:rPr>
              <a:t>Sozialverträglichkeit</a:t>
            </a:r>
          </a:p>
        </p:txBody>
      </p:sp>
      <p:sp>
        <p:nvSpPr>
          <p:cNvPr id="34" name="Rechteck: abgerundete Ecken 33">
            <a:extLst>
              <a:ext uri="{FF2B5EF4-FFF2-40B4-BE49-F238E27FC236}">
                <a16:creationId xmlns:a16="http://schemas.microsoft.com/office/drawing/2014/main" id="{202E1DD9-5EB6-0436-732C-934FB89EE0C2}"/>
              </a:ext>
            </a:extLst>
          </p:cNvPr>
          <p:cNvSpPr/>
          <p:nvPr/>
        </p:nvSpPr>
        <p:spPr>
          <a:xfrm>
            <a:off x="7507118" y="3564580"/>
            <a:ext cx="2640135" cy="36004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600" dirty="0">
                <a:solidFill>
                  <a:schemeClr val="tx1"/>
                </a:solidFill>
              </a:rPr>
              <a:t>Lenkungswirkung</a:t>
            </a:r>
          </a:p>
        </p:txBody>
      </p:sp>
      <p:sp>
        <p:nvSpPr>
          <p:cNvPr id="36" name="Rechteck: abgerundete Ecken 35">
            <a:extLst>
              <a:ext uri="{FF2B5EF4-FFF2-40B4-BE49-F238E27FC236}">
                <a16:creationId xmlns:a16="http://schemas.microsoft.com/office/drawing/2014/main" id="{52BC0B10-8F27-B515-7889-B309B2AC301E}"/>
              </a:ext>
            </a:extLst>
          </p:cNvPr>
          <p:cNvSpPr/>
          <p:nvPr/>
        </p:nvSpPr>
        <p:spPr>
          <a:xfrm>
            <a:off x="7507118" y="4026637"/>
            <a:ext cx="2640135" cy="36004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600" dirty="0">
                <a:solidFill>
                  <a:schemeClr val="tx1"/>
                </a:solidFill>
              </a:rPr>
              <a:t>Kombinierbarkeit</a:t>
            </a:r>
          </a:p>
        </p:txBody>
      </p:sp>
      <p:sp>
        <p:nvSpPr>
          <p:cNvPr id="38" name="Rechteck 37">
            <a:extLst>
              <a:ext uri="{FF2B5EF4-FFF2-40B4-BE49-F238E27FC236}">
                <a16:creationId xmlns:a16="http://schemas.microsoft.com/office/drawing/2014/main" id="{912BA2C0-E0BA-426E-5025-7C2B6F775BA1}"/>
              </a:ext>
            </a:extLst>
          </p:cNvPr>
          <p:cNvSpPr/>
          <p:nvPr/>
        </p:nvSpPr>
        <p:spPr>
          <a:xfrm>
            <a:off x="479376" y="5661248"/>
            <a:ext cx="1579380" cy="634851"/>
          </a:xfrm>
          <a:prstGeom prst="rect">
            <a:avLst/>
          </a:prstGeom>
          <a:solidFill>
            <a:srgbClr val="00838A">
              <a:alpha val="70000"/>
            </a:srgb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600" b="1" dirty="0">
                <a:solidFill>
                  <a:prstClr val="white"/>
                </a:solidFill>
                <a:latin typeface="Arial"/>
              </a:rPr>
              <a:t>ÖPNV-Grundbeitrag</a:t>
            </a:r>
          </a:p>
          <a:p>
            <a:pPr algn="ctr"/>
            <a:endParaRPr lang="de-DE" sz="1600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39" name="Rechteck 38">
            <a:extLst>
              <a:ext uri="{FF2B5EF4-FFF2-40B4-BE49-F238E27FC236}">
                <a16:creationId xmlns:a16="http://schemas.microsoft.com/office/drawing/2014/main" id="{29CCE91C-5F47-20AB-E1DB-30F108C8C1BA}"/>
              </a:ext>
            </a:extLst>
          </p:cNvPr>
          <p:cNvSpPr/>
          <p:nvPr/>
        </p:nvSpPr>
        <p:spPr>
          <a:xfrm>
            <a:off x="2324575" y="5661248"/>
            <a:ext cx="1579380" cy="634851"/>
          </a:xfrm>
          <a:prstGeom prst="rect">
            <a:avLst/>
          </a:prstGeom>
          <a:solidFill>
            <a:srgbClr val="00838A">
              <a:alpha val="70000"/>
            </a:srgb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600" b="1" dirty="0">
                <a:solidFill>
                  <a:prstClr val="white"/>
                </a:solidFill>
                <a:latin typeface="Arial"/>
              </a:rPr>
              <a:t>Grundsteuer-reform</a:t>
            </a:r>
          </a:p>
          <a:p>
            <a:pPr algn="ctr"/>
            <a:endParaRPr lang="de-DE" sz="1600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26A28ED2-FF3C-5107-7418-F12B155BD61F}"/>
              </a:ext>
            </a:extLst>
          </p:cNvPr>
          <p:cNvSpPr/>
          <p:nvPr/>
        </p:nvSpPr>
        <p:spPr>
          <a:xfrm>
            <a:off x="4329305" y="5661248"/>
            <a:ext cx="1579380" cy="634851"/>
          </a:xfrm>
          <a:prstGeom prst="rect">
            <a:avLst/>
          </a:prstGeom>
          <a:solidFill>
            <a:srgbClr val="00838A">
              <a:alpha val="70000"/>
            </a:srgb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600" b="1" dirty="0">
                <a:solidFill>
                  <a:prstClr val="white"/>
                </a:solidFill>
                <a:latin typeface="Arial"/>
              </a:rPr>
              <a:t>Bürger-Ticket</a:t>
            </a:r>
          </a:p>
          <a:p>
            <a:pPr algn="ctr"/>
            <a:endParaRPr lang="de-DE" sz="1600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41" name="Rechteck 40">
            <a:extLst>
              <a:ext uri="{FF2B5EF4-FFF2-40B4-BE49-F238E27FC236}">
                <a16:creationId xmlns:a16="http://schemas.microsoft.com/office/drawing/2014/main" id="{AD16593B-1812-22D3-C968-AAE6872F06C8}"/>
              </a:ext>
            </a:extLst>
          </p:cNvPr>
          <p:cNvSpPr/>
          <p:nvPr/>
        </p:nvSpPr>
        <p:spPr>
          <a:xfrm>
            <a:off x="6258225" y="5661248"/>
            <a:ext cx="1579380" cy="634851"/>
          </a:xfrm>
          <a:prstGeom prst="rect">
            <a:avLst/>
          </a:prstGeom>
          <a:solidFill>
            <a:srgbClr val="00838A">
              <a:alpha val="70000"/>
            </a:srgb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600" b="1" dirty="0">
                <a:solidFill>
                  <a:prstClr val="white"/>
                </a:solidFill>
                <a:latin typeface="Arial"/>
              </a:rPr>
              <a:t>Kfz-Abgabe</a:t>
            </a:r>
          </a:p>
          <a:p>
            <a:pPr algn="ctr"/>
            <a:endParaRPr lang="de-DE" sz="1600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42" name="Rechteck 41">
            <a:extLst>
              <a:ext uri="{FF2B5EF4-FFF2-40B4-BE49-F238E27FC236}">
                <a16:creationId xmlns:a16="http://schemas.microsoft.com/office/drawing/2014/main" id="{A6FFEAA7-7EDE-A182-D7A8-4A9EA29FBA7D}"/>
              </a:ext>
            </a:extLst>
          </p:cNvPr>
          <p:cNvSpPr/>
          <p:nvPr/>
        </p:nvSpPr>
        <p:spPr>
          <a:xfrm>
            <a:off x="8187145" y="5661248"/>
            <a:ext cx="1579380" cy="634851"/>
          </a:xfrm>
          <a:prstGeom prst="rect">
            <a:avLst/>
          </a:prstGeom>
          <a:solidFill>
            <a:srgbClr val="00838A">
              <a:alpha val="70000"/>
            </a:srgb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600" b="1" dirty="0" err="1">
                <a:solidFill>
                  <a:prstClr val="white"/>
                </a:solidFill>
                <a:latin typeface="Arial"/>
              </a:rPr>
              <a:t>Parkraumbe-wirtschaftung</a:t>
            </a:r>
            <a:endParaRPr lang="de-DE" sz="1600" b="1" dirty="0">
              <a:solidFill>
                <a:prstClr val="white"/>
              </a:solidFill>
              <a:latin typeface="Arial"/>
            </a:endParaRPr>
          </a:p>
          <a:p>
            <a:pPr algn="ctr"/>
            <a:endParaRPr lang="de-DE" sz="1600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43" name="Rechteck 42">
            <a:extLst>
              <a:ext uri="{FF2B5EF4-FFF2-40B4-BE49-F238E27FC236}">
                <a16:creationId xmlns:a16="http://schemas.microsoft.com/office/drawing/2014/main" id="{1D9620A0-714A-7298-0737-8F3EBEAD979C}"/>
              </a:ext>
            </a:extLst>
          </p:cNvPr>
          <p:cNvSpPr/>
          <p:nvPr/>
        </p:nvSpPr>
        <p:spPr>
          <a:xfrm>
            <a:off x="10007387" y="5661248"/>
            <a:ext cx="1579380" cy="634851"/>
          </a:xfrm>
          <a:prstGeom prst="rect">
            <a:avLst/>
          </a:prstGeom>
          <a:solidFill>
            <a:srgbClr val="00838A">
              <a:alpha val="70000"/>
            </a:srgb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600" b="1" dirty="0">
                <a:solidFill>
                  <a:prstClr val="white"/>
                </a:solidFill>
                <a:latin typeface="Arial"/>
              </a:rPr>
              <a:t>City-Maut</a:t>
            </a:r>
          </a:p>
          <a:p>
            <a:pPr algn="ctr"/>
            <a:endParaRPr lang="de-DE" sz="1600" dirty="0">
              <a:solidFill>
                <a:prstClr val="black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67423419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Ei1.DB2QnSvPNdEHRsA3A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7u7aiOrQcCwscm6gi2O.w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7u7aiOrQcCwscm6gi2O.w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7u7aiOrQcCwscm6gi2O.w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3xRhd8WTwKLxtjJepbP8Q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3O5efYbQvmSqxHjmaRhvg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kNJyWNSJmJ4q.oOu.CZQ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3xRhd8WTwKLxtjJepbP8Q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Pi66092R1GcNrKgZ4Nc8w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aC1CkUHQ7WFMkPisrOJ.Q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jqP.RohT3a1sofqxI.b7A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4CS3Hz5SkmVxNl1S1o3Kg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KDghcEzRimGKhCbcVc28w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JMjM7NXTv.dgqr9FG6DcQ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aC1CkUHQ7WFMkPisrOJ.Q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KDghcEzRimGKhCbcVc28w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JMjM7NXTv.dgqr9FG6Dc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KDghcEzRimGKhCbcVc28w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JMjM7NXTv.dgqr9FG6DcQ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aC1CkUHQ7WFMkPisrOJ.Q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jqP.RohT3a1sofqxI.b7A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0txE.XJTueI.B780rT.YQ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Pi66092R1GcNrKgZ4Nc8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X1Lyk0oSIaz5eLXsIomi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ao8zi0rR3aimn120XWgY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3O5efYbQvmSqxHjmaRhv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YR3gLi7Sc.ZSvK07S3Gb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YfgMIzSQdWI3xkOvpWEP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8K9WICgSfuUEbtIrhYwX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cm4_QYXR827uod_FQP_w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v7CJ4AdQYOd4.B.CmKf3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s52nr2JQsitqlcbXLf8.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9oOKEXoRL6_sHKzjGiir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hUJCr6gTKaX3vVLffKT8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lHjVGZPT.6gyw0nGrTg1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B_eBpnvS.2Ud3Bht97Fkw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w.N6T5rRX.4Dx3M5S_XQ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z_Xf8FDQgKlhipIViYJRw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kNJyWNSJmJ4q.oOu.CZQ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rLCHZWCSZSXWW5oYBpYPg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1N9rE2KScedCWtyqbdY2g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G_DE_Arial">
  <a:themeElements>
    <a:clrScheme name="Benutzerdefiniert 5">
      <a:dk1>
        <a:sysClr val="windowText" lastClr="000000"/>
      </a:dk1>
      <a:lt1>
        <a:sysClr val="window" lastClr="FFFFFF"/>
      </a:lt1>
      <a:dk2>
        <a:srgbClr val="00A990"/>
      </a:dk2>
      <a:lt2>
        <a:srgbClr val="DEE1E0"/>
      </a:lt2>
      <a:accent1>
        <a:srgbClr val="FF644B"/>
      </a:accent1>
      <a:accent2>
        <a:srgbClr val="5479BD"/>
      </a:accent2>
      <a:accent3>
        <a:srgbClr val="00A990"/>
      </a:accent3>
      <a:accent4>
        <a:srgbClr val="EAA21C"/>
      </a:accent4>
      <a:accent5>
        <a:srgbClr val="50695F"/>
      </a:accent5>
      <a:accent6>
        <a:srgbClr val="D4E458"/>
      </a:accent6>
      <a:hlink>
        <a:srgbClr val="000000"/>
      </a:hlink>
      <a:folHlink>
        <a:srgbClr val="50695F"/>
      </a:folHlink>
    </a:clrScheme>
    <a:fontScheme name="Roedl&amp;Partners 2018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 marL="216000" indent="-216000" algn="l">
          <a:buFontTx/>
          <a:buChar char="–"/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8575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16000" indent="-216000" algn="l" defTabSz="914400" rtl="0" eaLnBrk="1" latinLnBrk="0" hangingPunct="1">
          <a:spcBef>
            <a:spcPts val="500"/>
          </a:spcBef>
          <a:buFontTx/>
          <a:buChar char="–"/>
          <a:defRPr sz="1600" kern="1200" dirty="0" err="1" smtClean="0">
            <a:solidFill>
              <a:schemeClr val="tx2"/>
            </a:solidFill>
            <a:latin typeface="+mn-lt"/>
            <a:ea typeface="+mn-ea"/>
            <a:cs typeface="+mn-cs"/>
          </a:defRPr>
        </a:defPPr>
      </a:lstStyle>
    </a:txDef>
  </a:objectDefaults>
  <a:extraClrSchemeLst/>
  <a:custClrLst>
    <a:custClr>
      <a:srgbClr val="5A6AA8"/>
    </a:custClr>
    <a:custClr>
      <a:srgbClr val="F29C9C"/>
    </a:custClr>
    <a:custClr>
      <a:srgbClr val="FFFC00"/>
    </a:custClr>
    <a:custClr>
      <a:srgbClr val="00838A"/>
    </a:custClr>
    <a:custClr>
      <a:srgbClr val="DDEEF2"/>
    </a:custClr>
    <a:custClr>
      <a:srgbClr val="FFE0DB"/>
    </a:custClr>
    <a:custClr>
      <a:srgbClr val="CCEEE9"/>
    </a:custClr>
  </a:custClrLst>
  <a:extLst>
    <a:ext uri="{05A4C25C-085E-4340-85A3-A5531E510DB2}">
      <thm15:themeFamily xmlns:thm15="http://schemas.microsoft.com/office/thememl/2012/main" name="Präsentation1" id="{78D216B2-6008-4195-A758-88B47622C9A5}" vid="{040FBA38-8A01-4C42-AADE-531A0F5E2DEA}"/>
    </a:ext>
  </a:extLst>
</a:theme>
</file>

<file path=ppt/theme/theme10.xml><?xml version="1.0" encoding="utf-8"?>
<a:theme xmlns:a="http://schemas.openxmlformats.org/drawingml/2006/main" name="Donau blue ">
  <a:themeElements>
    <a:clrScheme name="Benutzerdefiniert 12">
      <a:dk1>
        <a:sysClr val="windowText" lastClr="000000"/>
      </a:dk1>
      <a:lt1>
        <a:sysClr val="window" lastClr="FFFFFF"/>
      </a:lt1>
      <a:dk2>
        <a:srgbClr val="5A6AA8"/>
      </a:dk2>
      <a:lt2>
        <a:srgbClr val="DEE1E0"/>
      </a:lt2>
      <a:accent1>
        <a:srgbClr val="FF644B"/>
      </a:accent1>
      <a:accent2>
        <a:srgbClr val="5479BD"/>
      </a:accent2>
      <a:accent3>
        <a:srgbClr val="00A990"/>
      </a:accent3>
      <a:accent4>
        <a:srgbClr val="EAA21C"/>
      </a:accent4>
      <a:accent5>
        <a:srgbClr val="50695F"/>
      </a:accent5>
      <a:accent6>
        <a:srgbClr val="D4E458"/>
      </a:accent6>
      <a:hlink>
        <a:srgbClr val="000000"/>
      </a:hlink>
      <a:folHlink>
        <a:srgbClr val="50695F"/>
      </a:folHlink>
    </a:clrScheme>
    <a:fontScheme name="Roedl&amp;Partners 2018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 marL="216000" indent="-216000" algn="l">
          <a:buFontTx/>
          <a:buChar char="–"/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8575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16000" indent="-216000" algn="l" defTabSz="914400" rtl="0" eaLnBrk="1" latinLnBrk="0" hangingPunct="1">
          <a:spcBef>
            <a:spcPts val="500"/>
          </a:spcBef>
          <a:buFontTx/>
          <a:buChar char="–"/>
          <a:defRPr sz="1600" kern="1200" dirty="0" err="1" smtClean="0">
            <a:solidFill>
              <a:schemeClr val="tx2"/>
            </a:solidFill>
            <a:latin typeface="+mn-lt"/>
            <a:ea typeface="+mn-ea"/>
            <a:cs typeface="+mn-cs"/>
          </a:defRPr>
        </a:defPPr>
      </a:lstStyle>
    </a:txDef>
  </a:objectDefaults>
  <a:extraClrSchemeLst/>
  <a:custClrLst>
    <a:custClr>
      <a:srgbClr val="5A6AA8"/>
    </a:custClr>
    <a:custClr>
      <a:srgbClr val="F29C9C"/>
    </a:custClr>
    <a:custClr>
      <a:srgbClr val="FFFC00"/>
    </a:custClr>
    <a:custClr>
      <a:srgbClr val="00838A"/>
    </a:custClr>
    <a:custClr>
      <a:srgbClr val="DDEEF2"/>
    </a:custClr>
    <a:custClr>
      <a:srgbClr val="FFE0DB"/>
    </a:custClr>
    <a:custClr>
      <a:srgbClr val="CCEEE9"/>
    </a:custClr>
  </a:custClrLst>
  <a:extLst>
    <a:ext uri="{05A4C25C-085E-4340-85A3-A5531E510DB2}">
      <thm15:themeFamily xmlns:thm15="http://schemas.microsoft.com/office/thememl/2012/main" name="Präsentation1" id="{78D216B2-6008-4195-A758-88B47622C9A5}" vid="{A98338BD-BA25-413D-A494-1E163CAF7EDA}"/>
    </a:ext>
  </a:extLst>
</a:theme>
</file>

<file path=ppt/theme/theme11.xml><?xml version="1.0" encoding="utf-8"?>
<a:theme xmlns:a="http://schemas.openxmlformats.org/drawingml/2006/main" name="Naha Rose Highlightfolien">
  <a:themeElements>
    <a:clrScheme name="Benutzerdefiniert 13">
      <a:dk1>
        <a:sysClr val="windowText" lastClr="000000"/>
      </a:dk1>
      <a:lt1>
        <a:sysClr val="window" lastClr="FFFFFF"/>
      </a:lt1>
      <a:dk2>
        <a:srgbClr val="F29C9C"/>
      </a:dk2>
      <a:lt2>
        <a:srgbClr val="DEE1E0"/>
      </a:lt2>
      <a:accent1>
        <a:srgbClr val="FF644B"/>
      </a:accent1>
      <a:accent2>
        <a:srgbClr val="5479BD"/>
      </a:accent2>
      <a:accent3>
        <a:srgbClr val="00A990"/>
      </a:accent3>
      <a:accent4>
        <a:srgbClr val="EAA21C"/>
      </a:accent4>
      <a:accent5>
        <a:srgbClr val="50695F"/>
      </a:accent5>
      <a:accent6>
        <a:srgbClr val="D4E458"/>
      </a:accent6>
      <a:hlink>
        <a:srgbClr val="000000"/>
      </a:hlink>
      <a:folHlink>
        <a:srgbClr val="50695F"/>
      </a:folHlink>
    </a:clrScheme>
    <a:fontScheme name="Roedl&amp;Partners 2018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 marL="216000" indent="-216000" algn="l">
          <a:buFontTx/>
          <a:buChar char="–"/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8575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16000" indent="-216000" algn="l" defTabSz="914400" rtl="0" eaLnBrk="1" latinLnBrk="0" hangingPunct="1">
          <a:spcBef>
            <a:spcPts val="500"/>
          </a:spcBef>
          <a:buFontTx/>
          <a:buChar char="–"/>
          <a:defRPr sz="1600" kern="1200" dirty="0" err="1" smtClean="0">
            <a:solidFill>
              <a:schemeClr val="tx2"/>
            </a:solidFill>
            <a:latin typeface="+mn-lt"/>
            <a:ea typeface="+mn-ea"/>
            <a:cs typeface="+mn-cs"/>
          </a:defRPr>
        </a:defPPr>
      </a:lstStyle>
    </a:txDef>
  </a:objectDefaults>
  <a:extraClrSchemeLst/>
  <a:custClrLst>
    <a:custClr>
      <a:srgbClr val="5A6AA8"/>
    </a:custClr>
    <a:custClr>
      <a:srgbClr val="F29C9C"/>
    </a:custClr>
    <a:custClr>
      <a:srgbClr val="FFFC00"/>
    </a:custClr>
    <a:custClr>
      <a:srgbClr val="00838A"/>
    </a:custClr>
    <a:custClr>
      <a:srgbClr val="DDEEF2"/>
    </a:custClr>
    <a:custClr>
      <a:srgbClr val="FFE0DB"/>
    </a:custClr>
    <a:custClr>
      <a:srgbClr val="CCEEE9"/>
    </a:custClr>
  </a:custClrLst>
  <a:extLst>
    <a:ext uri="{05A4C25C-085E-4340-85A3-A5531E510DB2}">
      <thm15:themeFamily xmlns:thm15="http://schemas.microsoft.com/office/thememl/2012/main" name="Präsentation1" id="{78D216B2-6008-4195-A758-88B47622C9A5}" vid="{E19A7530-4DB5-45C4-B4FD-75E15011AF6F}"/>
    </a:ext>
  </a:extLst>
</a:theme>
</file>

<file path=ppt/theme/theme12.xml><?xml version="1.0" encoding="utf-8"?>
<a:theme xmlns:a="http://schemas.openxmlformats.org/drawingml/2006/main" name="Danakil Yellow Highlightfolien">
  <a:themeElements>
    <a:clrScheme name="Benutzerdefiniert 14">
      <a:dk1>
        <a:sysClr val="windowText" lastClr="000000"/>
      </a:dk1>
      <a:lt1>
        <a:sysClr val="window" lastClr="FFFFFF"/>
      </a:lt1>
      <a:dk2>
        <a:srgbClr val="FFFC00"/>
      </a:dk2>
      <a:lt2>
        <a:srgbClr val="DEE1E0"/>
      </a:lt2>
      <a:accent1>
        <a:srgbClr val="FF644B"/>
      </a:accent1>
      <a:accent2>
        <a:srgbClr val="5479BD"/>
      </a:accent2>
      <a:accent3>
        <a:srgbClr val="00A990"/>
      </a:accent3>
      <a:accent4>
        <a:srgbClr val="EAA21C"/>
      </a:accent4>
      <a:accent5>
        <a:srgbClr val="50695F"/>
      </a:accent5>
      <a:accent6>
        <a:srgbClr val="D4E458"/>
      </a:accent6>
      <a:hlink>
        <a:srgbClr val="000000"/>
      </a:hlink>
      <a:folHlink>
        <a:srgbClr val="50695F"/>
      </a:folHlink>
    </a:clrScheme>
    <a:fontScheme name="Roedl&amp;Partners 2018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 marL="216000" indent="-216000" algn="l">
          <a:buFontTx/>
          <a:buChar char="–"/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8575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16000" indent="-216000" algn="l" defTabSz="914400" rtl="0" eaLnBrk="1" latinLnBrk="0" hangingPunct="1">
          <a:spcBef>
            <a:spcPts val="500"/>
          </a:spcBef>
          <a:buFontTx/>
          <a:buChar char="–"/>
          <a:defRPr sz="1600" kern="1200" dirty="0" err="1" smtClean="0">
            <a:solidFill>
              <a:schemeClr val="tx1"/>
            </a:solidFill>
            <a:latin typeface="+mn-lt"/>
            <a:ea typeface="+mn-ea"/>
            <a:cs typeface="+mn-cs"/>
          </a:defRPr>
        </a:defPPr>
      </a:lstStyle>
    </a:txDef>
  </a:objectDefaults>
  <a:extraClrSchemeLst/>
  <a:custClrLst>
    <a:custClr>
      <a:srgbClr val="5A6AA8"/>
    </a:custClr>
    <a:custClr>
      <a:srgbClr val="F29C9C"/>
    </a:custClr>
    <a:custClr>
      <a:srgbClr val="FFFC00"/>
    </a:custClr>
    <a:custClr>
      <a:srgbClr val="00838A"/>
    </a:custClr>
    <a:custClr>
      <a:srgbClr val="DDEEF2"/>
    </a:custClr>
    <a:custClr>
      <a:srgbClr val="FFE0DB"/>
    </a:custClr>
    <a:custClr>
      <a:srgbClr val="CCEEE9"/>
    </a:custClr>
  </a:custClrLst>
  <a:extLst>
    <a:ext uri="{05A4C25C-085E-4340-85A3-A5531E510DB2}">
      <thm15:themeFamily xmlns:thm15="http://schemas.microsoft.com/office/thememl/2012/main" name="Präsentation1" id="{78D216B2-6008-4195-A758-88B47622C9A5}" vid="{57FF738E-8DD8-4EEF-BB88-377685756EA9}"/>
    </a:ext>
  </a:extLst>
</a:theme>
</file>

<file path=ppt/theme/theme13.xml><?xml version="1.0" encoding="utf-8"?>
<a:theme xmlns:a="http://schemas.openxmlformats.org/drawingml/2006/main" name="Unternehmenspraesentation_DE_ARIAL_ohne-Animationen">
  <a:themeElements>
    <a:clrScheme name="Benutzerdefiniert 27">
      <a:dk1>
        <a:sysClr val="windowText" lastClr="000000"/>
      </a:dk1>
      <a:lt1>
        <a:sysClr val="window" lastClr="FFFFFF"/>
      </a:lt1>
      <a:dk2>
        <a:srgbClr val="00A990"/>
      </a:dk2>
      <a:lt2>
        <a:srgbClr val="DEE1E0"/>
      </a:lt2>
      <a:accent1>
        <a:srgbClr val="FF644B"/>
      </a:accent1>
      <a:accent2>
        <a:srgbClr val="5479BD"/>
      </a:accent2>
      <a:accent3>
        <a:srgbClr val="00A990"/>
      </a:accent3>
      <a:accent4>
        <a:srgbClr val="EAA21C"/>
      </a:accent4>
      <a:accent5>
        <a:srgbClr val="50695F"/>
      </a:accent5>
      <a:accent6>
        <a:srgbClr val="D4E458"/>
      </a:accent6>
      <a:hlink>
        <a:srgbClr val="000000"/>
      </a:hlink>
      <a:folHlink>
        <a:srgbClr val="FFFFFF"/>
      </a:folHlink>
    </a:clrScheme>
    <a:fontScheme name="Roedl&amp;Partners 2018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 marL="216000" indent="-216000" algn="l">
          <a:buFontTx/>
          <a:buChar char="–"/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8575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16000" indent="-216000" algn="l" defTabSz="914400" rtl="0" eaLnBrk="1" latinLnBrk="0" hangingPunct="1">
          <a:spcBef>
            <a:spcPts val="500"/>
          </a:spcBef>
          <a:buFontTx/>
          <a:buChar char="–"/>
          <a:defRPr sz="1600" kern="1200" dirty="0" err="1" smtClean="0">
            <a:solidFill>
              <a:schemeClr val="tx2"/>
            </a:solidFill>
            <a:latin typeface="+mn-lt"/>
            <a:ea typeface="+mn-ea"/>
            <a:cs typeface="+mn-cs"/>
          </a:defRPr>
        </a:defPPr>
      </a:lstStyle>
    </a:txDef>
  </a:objectDefaults>
  <a:extraClrSchemeLst/>
  <a:custClrLst>
    <a:custClr>
      <a:srgbClr val="5A6AA8"/>
    </a:custClr>
    <a:custClr>
      <a:srgbClr val="F29C9C"/>
    </a:custClr>
    <a:custClr>
      <a:srgbClr val="FFFC00"/>
    </a:custClr>
    <a:custClr>
      <a:srgbClr val="00838A"/>
    </a:custClr>
    <a:custClr>
      <a:srgbClr val="DDEEF2"/>
    </a:custClr>
    <a:custClr>
      <a:srgbClr val="FFE0DB"/>
    </a:custClr>
    <a:custClr>
      <a:srgbClr val="CCEEE9"/>
    </a:custClr>
  </a:custClrLst>
  <a:extLst>
    <a:ext uri="{05A4C25C-085E-4340-85A3-A5531E510DB2}">
      <thm15:themeFamily xmlns:thm15="http://schemas.microsoft.com/office/thememl/2012/main" name="Präsentation1" id="{9D3C6DBC-801E-45ED-8FC0-C5AE1C9DF4E5}" vid="{B469A723-4461-4DC9-828C-FF5A8A09A4EC}"/>
    </a:ext>
  </a:extLst>
</a:theme>
</file>

<file path=ppt/theme/theme14.xml><?xml version="1.0" encoding="utf-8"?>
<a:theme xmlns:a="http://schemas.openxmlformats.org/drawingml/2006/main" name="1_CG_DE_Arial">
  <a:themeElements>
    <a:clrScheme name="Benutzerdefiniert 5">
      <a:dk1>
        <a:sysClr val="windowText" lastClr="000000"/>
      </a:dk1>
      <a:lt1>
        <a:sysClr val="window" lastClr="FFFFFF"/>
      </a:lt1>
      <a:dk2>
        <a:srgbClr val="00A990"/>
      </a:dk2>
      <a:lt2>
        <a:srgbClr val="DEE1E0"/>
      </a:lt2>
      <a:accent1>
        <a:srgbClr val="FF644B"/>
      </a:accent1>
      <a:accent2>
        <a:srgbClr val="5479BD"/>
      </a:accent2>
      <a:accent3>
        <a:srgbClr val="00A990"/>
      </a:accent3>
      <a:accent4>
        <a:srgbClr val="EAA21C"/>
      </a:accent4>
      <a:accent5>
        <a:srgbClr val="50695F"/>
      </a:accent5>
      <a:accent6>
        <a:srgbClr val="D4E458"/>
      </a:accent6>
      <a:hlink>
        <a:srgbClr val="000000"/>
      </a:hlink>
      <a:folHlink>
        <a:srgbClr val="50695F"/>
      </a:folHlink>
    </a:clrScheme>
    <a:fontScheme name="Roedl&amp;Partners 2018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 marL="216000" indent="-216000" algn="l">
          <a:buFontTx/>
          <a:buChar char="–"/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8575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16000" indent="-216000" algn="l" defTabSz="914400" rtl="0" eaLnBrk="1" latinLnBrk="0" hangingPunct="1">
          <a:spcBef>
            <a:spcPts val="500"/>
          </a:spcBef>
          <a:buFontTx/>
          <a:buChar char="–"/>
          <a:defRPr sz="1600" kern="1200" dirty="0" err="1" smtClean="0">
            <a:solidFill>
              <a:schemeClr val="tx2"/>
            </a:solidFill>
            <a:latin typeface="+mn-lt"/>
            <a:ea typeface="+mn-ea"/>
            <a:cs typeface="+mn-cs"/>
          </a:defRPr>
        </a:defPPr>
      </a:lstStyle>
    </a:txDef>
  </a:objectDefaults>
  <a:extraClrSchemeLst/>
  <a:custClrLst>
    <a:custClr>
      <a:srgbClr val="5A6AA8"/>
    </a:custClr>
    <a:custClr>
      <a:srgbClr val="F29C9C"/>
    </a:custClr>
    <a:custClr>
      <a:srgbClr val="FFFC00"/>
    </a:custClr>
    <a:custClr>
      <a:srgbClr val="00838A"/>
    </a:custClr>
    <a:custClr>
      <a:srgbClr val="DDEEF2"/>
    </a:custClr>
    <a:custClr>
      <a:srgbClr val="FFE0DB"/>
    </a:custClr>
    <a:custClr>
      <a:srgbClr val="CCEEE9"/>
    </a:custClr>
  </a:custClrLst>
  <a:extLst>
    <a:ext uri="{05A4C25C-085E-4340-85A3-A5531E510DB2}">
      <thm15:themeFamily xmlns:thm15="http://schemas.microsoft.com/office/thememl/2012/main" name="Präsentation1" id="{78D216B2-6008-4195-A758-88B47622C9A5}" vid="{040FBA38-8A01-4C42-AADE-531A0F5E2DEA}"/>
    </a:ext>
  </a:extLst>
</a:theme>
</file>

<file path=ppt/theme/theme15.xml><?xml version="1.0" encoding="utf-8"?>
<a:theme xmlns:a="http://schemas.openxmlformats.org/drawingml/2006/main" name="1_Rödl &amp; Partner Green">
  <a:themeElements>
    <a:clrScheme name="Benutzerdefiniert 5">
      <a:dk1>
        <a:sysClr val="windowText" lastClr="000000"/>
      </a:dk1>
      <a:lt1>
        <a:sysClr val="window" lastClr="FFFFFF"/>
      </a:lt1>
      <a:dk2>
        <a:srgbClr val="00A990"/>
      </a:dk2>
      <a:lt2>
        <a:srgbClr val="DEE1E0"/>
      </a:lt2>
      <a:accent1>
        <a:srgbClr val="FF644B"/>
      </a:accent1>
      <a:accent2>
        <a:srgbClr val="5479BD"/>
      </a:accent2>
      <a:accent3>
        <a:srgbClr val="00A990"/>
      </a:accent3>
      <a:accent4>
        <a:srgbClr val="EAA21C"/>
      </a:accent4>
      <a:accent5>
        <a:srgbClr val="50695F"/>
      </a:accent5>
      <a:accent6>
        <a:srgbClr val="D4E458"/>
      </a:accent6>
      <a:hlink>
        <a:srgbClr val="000000"/>
      </a:hlink>
      <a:folHlink>
        <a:srgbClr val="50695F"/>
      </a:folHlink>
    </a:clrScheme>
    <a:fontScheme name="Roedl&amp;Partners 2018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 marL="216000" indent="-216000" algn="l">
          <a:buFontTx/>
          <a:buChar char="–"/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8575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16000" indent="-216000" algn="l" defTabSz="914400" rtl="0" eaLnBrk="1" latinLnBrk="0" hangingPunct="1">
          <a:spcBef>
            <a:spcPts val="500"/>
          </a:spcBef>
          <a:buFontTx/>
          <a:buChar char="–"/>
          <a:defRPr sz="1600" kern="1200" dirty="0" err="1" smtClean="0">
            <a:solidFill>
              <a:schemeClr val="tx2"/>
            </a:solidFill>
            <a:latin typeface="+mn-lt"/>
            <a:ea typeface="+mn-ea"/>
            <a:cs typeface="+mn-cs"/>
          </a:defRPr>
        </a:defPPr>
      </a:lstStyle>
    </a:txDef>
  </a:objectDefaults>
  <a:extraClrSchemeLst/>
  <a:custClrLst>
    <a:custClr>
      <a:srgbClr val="5A6AA8"/>
    </a:custClr>
    <a:custClr>
      <a:srgbClr val="F29C9C"/>
    </a:custClr>
    <a:custClr>
      <a:srgbClr val="FFFC00"/>
    </a:custClr>
    <a:custClr>
      <a:srgbClr val="00838A"/>
    </a:custClr>
    <a:custClr>
      <a:srgbClr val="DDEEF2"/>
    </a:custClr>
    <a:custClr>
      <a:srgbClr val="FFE0DB"/>
    </a:custClr>
    <a:custClr>
      <a:srgbClr val="CCEEE9"/>
    </a:custClr>
  </a:custClrLst>
  <a:extLst>
    <a:ext uri="{05A4C25C-085E-4340-85A3-A5531E510DB2}">
      <thm15:themeFamily xmlns:thm15="http://schemas.microsoft.com/office/thememl/2012/main" name="Präsentation2" id="{5B6355E7-657A-4F7E-8EE3-1D1770AA79A4}" vid="{40263D28-5F64-4767-914A-8D72638B5B7A}"/>
    </a:ext>
  </a:extLst>
</a:theme>
</file>

<file path=ppt/theme/theme16.xml><?xml version="1.0" encoding="utf-8"?>
<a:theme xmlns:a="http://schemas.openxmlformats.org/drawingml/2006/main" name="2_Rödl &amp; Partner Green">
  <a:themeElements>
    <a:clrScheme name="Benutzerdefiniert 5">
      <a:dk1>
        <a:sysClr val="windowText" lastClr="000000"/>
      </a:dk1>
      <a:lt1>
        <a:sysClr val="window" lastClr="FFFFFF"/>
      </a:lt1>
      <a:dk2>
        <a:srgbClr val="00A990"/>
      </a:dk2>
      <a:lt2>
        <a:srgbClr val="DEE1E0"/>
      </a:lt2>
      <a:accent1>
        <a:srgbClr val="FF644B"/>
      </a:accent1>
      <a:accent2>
        <a:srgbClr val="5479BD"/>
      </a:accent2>
      <a:accent3>
        <a:srgbClr val="00A990"/>
      </a:accent3>
      <a:accent4>
        <a:srgbClr val="EAA21C"/>
      </a:accent4>
      <a:accent5>
        <a:srgbClr val="50695F"/>
      </a:accent5>
      <a:accent6>
        <a:srgbClr val="D4E458"/>
      </a:accent6>
      <a:hlink>
        <a:srgbClr val="000000"/>
      </a:hlink>
      <a:folHlink>
        <a:srgbClr val="50695F"/>
      </a:folHlink>
    </a:clrScheme>
    <a:fontScheme name="Roedl&amp;Partners 2018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 marL="216000" indent="-216000" algn="l">
          <a:buFontTx/>
          <a:buChar char="–"/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8575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16000" indent="-216000" algn="l" defTabSz="914400" rtl="0" eaLnBrk="1" latinLnBrk="0" hangingPunct="1">
          <a:spcBef>
            <a:spcPts val="500"/>
          </a:spcBef>
          <a:buFontTx/>
          <a:buChar char="–"/>
          <a:defRPr sz="1600" kern="1200" dirty="0" err="1" smtClean="0">
            <a:solidFill>
              <a:schemeClr val="tx2"/>
            </a:solidFill>
            <a:latin typeface="+mn-lt"/>
            <a:ea typeface="+mn-ea"/>
            <a:cs typeface="+mn-cs"/>
          </a:defRPr>
        </a:defPPr>
      </a:lstStyle>
    </a:txDef>
  </a:objectDefaults>
  <a:extraClrSchemeLst/>
  <a:custClrLst>
    <a:custClr>
      <a:srgbClr val="5A6AA8"/>
    </a:custClr>
    <a:custClr>
      <a:srgbClr val="F29C9C"/>
    </a:custClr>
    <a:custClr>
      <a:srgbClr val="FFFC00"/>
    </a:custClr>
    <a:custClr>
      <a:srgbClr val="00838A"/>
    </a:custClr>
    <a:custClr>
      <a:srgbClr val="DDEEF2"/>
    </a:custClr>
    <a:custClr>
      <a:srgbClr val="FFE0DB"/>
    </a:custClr>
    <a:custClr>
      <a:srgbClr val="CCEEE9"/>
    </a:custClr>
  </a:custClrLst>
  <a:extLst>
    <a:ext uri="{05A4C25C-085E-4340-85A3-A5531E510DB2}">
      <thm15:themeFamily xmlns:thm15="http://schemas.microsoft.com/office/thememl/2012/main" name="Präsentation2" id="{5B6355E7-657A-4F7E-8EE3-1D1770AA79A4}" vid="{40263D28-5F64-4767-914A-8D72638B5B7A}"/>
    </a:ext>
  </a:extLst>
</a:theme>
</file>

<file path=ppt/theme/theme17.xml><?xml version="1.0" encoding="utf-8"?>
<a:theme xmlns:a="http://schemas.openxmlformats.org/drawingml/2006/main" name="3_Rödl &amp; Partner Green">
  <a:themeElements>
    <a:clrScheme name="Benutzerdefiniert 5">
      <a:dk1>
        <a:sysClr val="windowText" lastClr="000000"/>
      </a:dk1>
      <a:lt1>
        <a:sysClr val="window" lastClr="FFFFFF"/>
      </a:lt1>
      <a:dk2>
        <a:srgbClr val="00A990"/>
      </a:dk2>
      <a:lt2>
        <a:srgbClr val="DEE1E0"/>
      </a:lt2>
      <a:accent1>
        <a:srgbClr val="FF644B"/>
      </a:accent1>
      <a:accent2>
        <a:srgbClr val="5479BD"/>
      </a:accent2>
      <a:accent3>
        <a:srgbClr val="00A990"/>
      </a:accent3>
      <a:accent4>
        <a:srgbClr val="EAA21C"/>
      </a:accent4>
      <a:accent5>
        <a:srgbClr val="50695F"/>
      </a:accent5>
      <a:accent6>
        <a:srgbClr val="D4E458"/>
      </a:accent6>
      <a:hlink>
        <a:srgbClr val="000000"/>
      </a:hlink>
      <a:folHlink>
        <a:srgbClr val="50695F"/>
      </a:folHlink>
    </a:clrScheme>
    <a:fontScheme name="Roedl&amp;Partners 2018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 marL="216000" indent="-216000" algn="l">
          <a:buFontTx/>
          <a:buChar char="–"/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8575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16000" indent="-216000" algn="l" defTabSz="914400" rtl="0" eaLnBrk="1" latinLnBrk="0" hangingPunct="1">
          <a:spcBef>
            <a:spcPts val="500"/>
          </a:spcBef>
          <a:buFontTx/>
          <a:buChar char="–"/>
          <a:defRPr sz="1600" kern="1200" dirty="0" err="1" smtClean="0">
            <a:solidFill>
              <a:schemeClr val="tx2"/>
            </a:solidFill>
            <a:latin typeface="+mn-lt"/>
            <a:ea typeface="+mn-ea"/>
            <a:cs typeface="+mn-cs"/>
          </a:defRPr>
        </a:defPPr>
      </a:lstStyle>
    </a:txDef>
  </a:objectDefaults>
  <a:extraClrSchemeLst/>
  <a:custClrLst>
    <a:custClr>
      <a:srgbClr val="5A6AA8"/>
    </a:custClr>
    <a:custClr>
      <a:srgbClr val="F29C9C"/>
    </a:custClr>
    <a:custClr>
      <a:srgbClr val="FFFC00"/>
    </a:custClr>
    <a:custClr>
      <a:srgbClr val="00838A"/>
    </a:custClr>
    <a:custClr>
      <a:srgbClr val="DDEEF2"/>
    </a:custClr>
    <a:custClr>
      <a:srgbClr val="FFE0DB"/>
    </a:custClr>
    <a:custClr>
      <a:srgbClr val="CCEEE9"/>
    </a:custClr>
  </a:custClrLst>
  <a:extLst>
    <a:ext uri="{05A4C25C-085E-4340-85A3-A5531E510DB2}">
      <thm15:themeFamily xmlns:thm15="http://schemas.microsoft.com/office/thememl/2012/main" name="Präsentation2" id="{5B6355E7-657A-4F7E-8EE3-1D1770AA79A4}" vid="{40263D28-5F64-4767-914A-8D72638B5B7A}"/>
    </a:ext>
  </a:extLst>
</a:theme>
</file>

<file path=ppt/theme/theme18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9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Rödl &amp; Partner Green">
  <a:themeElements>
    <a:clrScheme name="Benutzerdefiniert 5">
      <a:dk1>
        <a:sysClr val="windowText" lastClr="000000"/>
      </a:dk1>
      <a:lt1>
        <a:sysClr val="window" lastClr="FFFFFF"/>
      </a:lt1>
      <a:dk2>
        <a:srgbClr val="00A990"/>
      </a:dk2>
      <a:lt2>
        <a:srgbClr val="DEE1E0"/>
      </a:lt2>
      <a:accent1>
        <a:srgbClr val="FF644B"/>
      </a:accent1>
      <a:accent2>
        <a:srgbClr val="5479BD"/>
      </a:accent2>
      <a:accent3>
        <a:srgbClr val="00A990"/>
      </a:accent3>
      <a:accent4>
        <a:srgbClr val="EAA21C"/>
      </a:accent4>
      <a:accent5>
        <a:srgbClr val="50695F"/>
      </a:accent5>
      <a:accent6>
        <a:srgbClr val="D4E458"/>
      </a:accent6>
      <a:hlink>
        <a:srgbClr val="000000"/>
      </a:hlink>
      <a:folHlink>
        <a:srgbClr val="50695F"/>
      </a:folHlink>
    </a:clrScheme>
    <a:fontScheme name="Roedl&amp;Partners 2018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 marL="216000" indent="-216000" algn="l">
          <a:buFontTx/>
          <a:buChar char="–"/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8575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16000" indent="-216000" algn="l" defTabSz="914400" rtl="0" eaLnBrk="1" latinLnBrk="0" hangingPunct="1">
          <a:spcBef>
            <a:spcPts val="500"/>
          </a:spcBef>
          <a:buFontTx/>
          <a:buChar char="–"/>
          <a:defRPr sz="1600" kern="1200" dirty="0" err="1" smtClean="0">
            <a:solidFill>
              <a:schemeClr val="tx2"/>
            </a:solidFill>
            <a:latin typeface="+mn-lt"/>
            <a:ea typeface="+mn-ea"/>
            <a:cs typeface="+mn-cs"/>
          </a:defRPr>
        </a:defPPr>
      </a:lstStyle>
    </a:txDef>
  </a:objectDefaults>
  <a:extraClrSchemeLst/>
  <a:custClrLst>
    <a:custClr>
      <a:srgbClr val="5A6AA8"/>
    </a:custClr>
    <a:custClr>
      <a:srgbClr val="F29C9C"/>
    </a:custClr>
    <a:custClr>
      <a:srgbClr val="FFFC00"/>
    </a:custClr>
    <a:custClr>
      <a:srgbClr val="00838A"/>
    </a:custClr>
    <a:custClr>
      <a:srgbClr val="DDEEF2"/>
    </a:custClr>
    <a:custClr>
      <a:srgbClr val="FFE0DB"/>
    </a:custClr>
    <a:custClr>
      <a:srgbClr val="CCEEE9"/>
    </a:custClr>
  </a:custClrLst>
  <a:extLst>
    <a:ext uri="{05A4C25C-085E-4340-85A3-A5531E510DB2}">
      <thm15:themeFamily xmlns:thm15="http://schemas.microsoft.com/office/thememl/2012/main" name="Präsentation1" id="{78D216B2-6008-4195-A758-88B47622C9A5}" vid="{030F9A28-0243-4A83-A760-A4032D915E60}"/>
    </a:ext>
  </a:extLst>
</a:theme>
</file>

<file path=ppt/theme/theme3.xml><?xml version="1.0" encoding="utf-8"?>
<a:theme xmlns:a="http://schemas.openxmlformats.org/drawingml/2006/main" name="Daintree green ">
  <a:themeElements>
    <a:clrScheme name="Benutzerdefiniert 8">
      <a:dk1>
        <a:sysClr val="windowText" lastClr="000000"/>
      </a:dk1>
      <a:lt1>
        <a:sysClr val="window" lastClr="FFFFFF"/>
      </a:lt1>
      <a:dk2>
        <a:srgbClr val="00838A"/>
      </a:dk2>
      <a:lt2>
        <a:srgbClr val="DEE1E0"/>
      </a:lt2>
      <a:accent1>
        <a:srgbClr val="FF644B"/>
      </a:accent1>
      <a:accent2>
        <a:srgbClr val="5479BD"/>
      </a:accent2>
      <a:accent3>
        <a:srgbClr val="00A990"/>
      </a:accent3>
      <a:accent4>
        <a:srgbClr val="EAA21C"/>
      </a:accent4>
      <a:accent5>
        <a:srgbClr val="50695F"/>
      </a:accent5>
      <a:accent6>
        <a:srgbClr val="D4E458"/>
      </a:accent6>
      <a:hlink>
        <a:srgbClr val="000000"/>
      </a:hlink>
      <a:folHlink>
        <a:srgbClr val="50695F"/>
      </a:folHlink>
    </a:clrScheme>
    <a:fontScheme name="Roedl&amp;Partners 2018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 marL="216000" indent="-216000" algn="l">
          <a:buFontTx/>
          <a:buChar char="–"/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8575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16000" indent="-216000" algn="l" defTabSz="914400" rtl="0" eaLnBrk="1" latinLnBrk="0" hangingPunct="1">
          <a:spcBef>
            <a:spcPts val="500"/>
          </a:spcBef>
          <a:buFontTx/>
          <a:buChar char="–"/>
          <a:defRPr sz="1600" kern="1200" dirty="0" err="1" smtClean="0">
            <a:solidFill>
              <a:schemeClr val="tx2"/>
            </a:solidFill>
            <a:latin typeface="+mn-lt"/>
            <a:ea typeface="+mn-ea"/>
            <a:cs typeface="+mn-cs"/>
          </a:defRPr>
        </a:defPPr>
      </a:lstStyle>
    </a:txDef>
  </a:objectDefaults>
  <a:extraClrSchemeLst/>
  <a:custClrLst>
    <a:custClr>
      <a:srgbClr val="5A6AA8"/>
    </a:custClr>
    <a:custClr>
      <a:srgbClr val="F29C9C"/>
    </a:custClr>
    <a:custClr>
      <a:srgbClr val="FFFC00"/>
    </a:custClr>
    <a:custClr>
      <a:srgbClr val="00838A"/>
    </a:custClr>
    <a:custClr>
      <a:srgbClr val="DDEEF2"/>
    </a:custClr>
    <a:custClr>
      <a:srgbClr val="FFE0DB"/>
    </a:custClr>
    <a:custClr>
      <a:srgbClr val="CCEEE9"/>
    </a:custClr>
  </a:custClrLst>
  <a:extLst>
    <a:ext uri="{05A4C25C-085E-4340-85A3-A5531E510DB2}">
      <thm15:themeFamily xmlns:thm15="http://schemas.microsoft.com/office/thememl/2012/main" name="Präsentation1" id="{78D216B2-6008-4195-A758-88B47622C9A5}" vid="{A6BABF12-73E7-4614-87D1-B45D4B28DF8D}"/>
    </a:ext>
  </a:extLst>
</a:theme>
</file>

<file path=ppt/theme/theme4.xml><?xml version="1.0" encoding="utf-8"?>
<a:theme xmlns:a="http://schemas.openxmlformats.org/drawingml/2006/main" name="Highland green ">
  <a:themeElements>
    <a:clrScheme name="Benutzerdefiniert 6">
      <a:dk1>
        <a:sysClr val="windowText" lastClr="000000"/>
      </a:dk1>
      <a:lt1>
        <a:sysClr val="window" lastClr="FFFFFF"/>
      </a:lt1>
      <a:dk2>
        <a:srgbClr val="D4E458"/>
      </a:dk2>
      <a:lt2>
        <a:srgbClr val="DEE1E0"/>
      </a:lt2>
      <a:accent1>
        <a:srgbClr val="FF644B"/>
      </a:accent1>
      <a:accent2>
        <a:srgbClr val="5479BD"/>
      </a:accent2>
      <a:accent3>
        <a:srgbClr val="00A990"/>
      </a:accent3>
      <a:accent4>
        <a:srgbClr val="EAA21C"/>
      </a:accent4>
      <a:accent5>
        <a:srgbClr val="50695F"/>
      </a:accent5>
      <a:accent6>
        <a:srgbClr val="D4E458"/>
      </a:accent6>
      <a:hlink>
        <a:srgbClr val="000000"/>
      </a:hlink>
      <a:folHlink>
        <a:srgbClr val="50695F"/>
      </a:folHlink>
    </a:clrScheme>
    <a:fontScheme name="Roedl&amp;Partners 2018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 marL="216000" indent="-216000" algn="l">
          <a:buFontTx/>
          <a:buChar char="–"/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8575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16000" indent="-216000" algn="l" defTabSz="914400" rtl="0" eaLnBrk="1" latinLnBrk="0" hangingPunct="1">
          <a:spcBef>
            <a:spcPts val="500"/>
          </a:spcBef>
          <a:buFontTx/>
          <a:buChar char="–"/>
          <a:defRPr sz="1600" kern="1200" dirty="0" err="1" smtClean="0">
            <a:solidFill>
              <a:schemeClr val="tx1"/>
            </a:solidFill>
            <a:latin typeface="+mn-lt"/>
            <a:ea typeface="+mn-ea"/>
            <a:cs typeface="+mn-cs"/>
          </a:defRPr>
        </a:defPPr>
      </a:lstStyle>
    </a:txDef>
  </a:objectDefaults>
  <a:extraClrSchemeLst/>
  <a:custClrLst>
    <a:custClr>
      <a:srgbClr val="5A6AA8"/>
    </a:custClr>
    <a:custClr>
      <a:srgbClr val="F29C9C"/>
    </a:custClr>
    <a:custClr>
      <a:srgbClr val="FFFC00"/>
    </a:custClr>
    <a:custClr>
      <a:srgbClr val="00838A"/>
    </a:custClr>
    <a:custClr>
      <a:srgbClr val="DDEEF2"/>
    </a:custClr>
    <a:custClr>
      <a:srgbClr val="FFE0DB"/>
    </a:custClr>
    <a:custClr>
      <a:srgbClr val="CCEEE9"/>
    </a:custClr>
  </a:custClrLst>
  <a:extLst>
    <a:ext uri="{05A4C25C-085E-4340-85A3-A5531E510DB2}">
      <thm15:themeFamily xmlns:thm15="http://schemas.microsoft.com/office/thememl/2012/main" name="Präsentation1" id="{78D216B2-6008-4195-A758-88B47622C9A5}" vid="{7AE9E014-461E-4086-A4EF-582CBE4FBE3C}"/>
    </a:ext>
  </a:extLst>
</a:theme>
</file>

<file path=ppt/theme/theme5.xml><?xml version="1.0" encoding="utf-8"?>
<a:theme xmlns:a="http://schemas.openxmlformats.org/drawingml/2006/main" name="Rödl &amp; Partner (Schwarz Weiß)">
  <a:themeElements>
    <a:clrScheme name="Benutzerdefiniert 3">
      <a:dk1>
        <a:sysClr val="windowText" lastClr="000000"/>
      </a:dk1>
      <a:lt1>
        <a:sysClr val="window" lastClr="FFFFFF"/>
      </a:lt1>
      <a:dk2>
        <a:srgbClr val="50695F"/>
      </a:dk2>
      <a:lt2>
        <a:srgbClr val="DEE1E0"/>
      </a:lt2>
      <a:accent1>
        <a:srgbClr val="5479BD"/>
      </a:accent1>
      <a:accent2>
        <a:srgbClr val="FF644B"/>
      </a:accent2>
      <a:accent3>
        <a:srgbClr val="00A990"/>
      </a:accent3>
      <a:accent4>
        <a:srgbClr val="EAA21C"/>
      </a:accent4>
      <a:accent5>
        <a:srgbClr val="50695F"/>
      </a:accent5>
      <a:accent6>
        <a:srgbClr val="D4E458"/>
      </a:accent6>
      <a:hlink>
        <a:srgbClr val="000000"/>
      </a:hlink>
      <a:folHlink>
        <a:srgbClr val="50695F"/>
      </a:folHlink>
    </a:clrScheme>
    <a:fontScheme name="Roedl&amp;Partners 2018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 marL="216000" indent="-216000" algn="l">
          <a:buFontTx/>
          <a:buChar char="–"/>
          <a:defRPr sz="16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8575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16000" indent="-216000" algn="l" defTabSz="914400" rtl="0" eaLnBrk="1" latinLnBrk="0" hangingPunct="1">
          <a:spcBef>
            <a:spcPts val="500"/>
          </a:spcBef>
          <a:buFontTx/>
          <a:buChar char="–"/>
          <a:defRPr sz="1600" kern="1200" dirty="0" err="1" smtClean="0">
            <a:solidFill>
              <a:schemeClr val="tx2"/>
            </a:solidFill>
            <a:latin typeface="+mn-lt"/>
            <a:ea typeface="+mn-ea"/>
            <a:cs typeface="+mn-cs"/>
          </a:defRPr>
        </a:defPPr>
      </a:lstStyle>
    </a:txDef>
  </a:objectDefaults>
  <a:extraClrSchemeLst/>
  <a:custClrLst>
    <a:custClr>
      <a:srgbClr val="5A6AA8"/>
    </a:custClr>
    <a:custClr>
      <a:srgbClr val="F29C9C"/>
    </a:custClr>
    <a:custClr>
      <a:srgbClr val="FFFC00"/>
    </a:custClr>
    <a:custClr>
      <a:srgbClr val="00838A"/>
    </a:custClr>
    <a:custClr>
      <a:srgbClr val="DDEEF2"/>
    </a:custClr>
    <a:custClr>
      <a:srgbClr val="FFE0DB"/>
    </a:custClr>
    <a:custClr>
      <a:srgbClr val="CCEEE9"/>
    </a:custClr>
  </a:custClrLst>
  <a:extLst>
    <a:ext uri="{05A4C25C-085E-4340-85A3-A5531E510DB2}">
      <thm15:themeFamily xmlns:thm15="http://schemas.microsoft.com/office/thememl/2012/main" name="Präsentation1" id="{78D216B2-6008-4195-A758-88B47622C9A5}" vid="{862E9134-2064-4F5D-99EF-81A14141AC28}"/>
    </a:ext>
  </a:extLst>
</a:theme>
</file>

<file path=ppt/theme/theme6.xml><?xml version="1.0" encoding="utf-8"?>
<a:theme xmlns:a="http://schemas.openxmlformats.org/drawingml/2006/main" name="Canyon Red">
  <a:themeElements>
    <a:clrScheme name="Benutzerdefiniert 9">
      <a:dk1>
        <a:sysClr val="windowText" lastClr="000000"/>
      </a:dk1>
      <a:lt1>
        <a:sysClr val="window" lastClr="FFFFFF"/>
      </a:lt1>
      <a:dk2>
        <a:srgbClr val="FF644B"/>
      </a:dk2>
      <a:lt2>
        <a:srgbClr val="DEE1E0"/>
      </a:lt2>
      <a:accent1>
        <a:srgbClr val="FF644B"/>
      </a:accent1>
      <a:accent2>
        <a:srgbClr val="5479BD"/>
      </a:accent2>
      <a:accent3>
        <a:srgbClr val="00A990"/>
      </a:accent3>
      <a:accent4>
        <a:srgbClr val="EAA21C"/>
      </a:accent4>
      <a:accent5>
        <a:srgbClr val="50695F"/>
      </a:accent5>
      <a:accent6>
        <a:srgbClr val="D4E458"/>
      </a:accent6>
      <a:hlink>
        <a:srgbClr val="000000"/>
      </a:hlink>
      <a:folHlink>
        <a:srgbClr val="50695F"/>
      </a:folHlink>
    </a:clrScheme>
    <a:fontScheme name="Roedl&amp;Partners 2018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 marL="216000" indent="-216000" algn="l">
          <a:buFontTx/>
          <a:buChar char="–"/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8575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16000" indent="-216000" algn="l" defTabSz="914400" rtl="0" eaLnBrk="1" latinLnBrk="0" hangingPunct="1">
          <a:spcBef>
            <a:spcPts val="500"/>
          </a:spcBef>
          <a:buFontTx/>
          <a:buChar char="–"/>
          <a:defRPr sz="1600" kern="1200" dirty="0" err="1" smtClean="0">
            <a:solidFill>
              <a:schemeClr val="tx2"/>
            </a:solidFill>
            <a:latin typeface="+mn-lt"/>
            <a:ea typeface="+mn-ea"/>
            <a:cs typeface="+mn-cs"/>
          </a:defRPr>
        </a:defPPr>
      </a:lstStyle>
    </a:txDef>
  </a:objectDefaults>
  <a:extraClrSchemeLst/>
  <a:custClrLst>
    <a:custClr>
      <a:srgbClr val="5A6AA8"/>
    </a:custClr>
    <a:custClr>
      <a:srgbClr val="F29C9C"/>
    </a:custClr>
    <a:custClr>
      <a:srgbClr val="FFFC00"/>
    </a:custClr>
    <a:custClr>
      <a:srgbClr val="00838A"/>
    </a:custClr>
    <a:custClr>
      <a:srgbClr val="DDEEF2"/>
    </a:custClr>
    <a:custClr>
      <a:srgbClr val="FFE0DB"/>
    </a:custClr>
    <a:custClr>
      <a:srgbClr val="CCEEE9"/>
    </a:custClr>
  </a:custClrLst>
  <a:extLst>
    <a:ext uri="{05A4C25C-085E-4340-85A3-A5531E510DB2}">
      <thm15:themeFamily xmlns:thm15="http://schemas.microsoft.com/office/thememl/2012/main" name="Präsentation1" id="{78D216B2-6008-4195-A758-88B47622C9A5}" vid="{C7FB3177-4B79-4B1A-BF28-827B27149BDE}"/>
    </a:ext>
  </a:extLst>
</a:theme>
</file>

<file path=ppt/theme/theme7.xml><?xml version="1.0" encoding="utf-8"?>
<a:theme xmlns:a="http://schemas.openxmlformats.org/drawingml/2006/main" name="Gobi Orange ">
  <a:themeElements>
    <a:clrScheme name="Benutzerdefiniert 10">
      <a:dk1>
        <a:sysClr val="windowText" lastClr="000000"/>
      </a:dk1>
      <a:lt1>
        <a:sysClr val="window" lastClr="FFFFFF"/>
      </a:lt1>
      <a:dk2>
        <a:srgbClr val="EAA21C"/>
      </a:dk2>
      <a:lt2>
        <a:srgbClr val="DEE1E0"/>
      </a:lt2>
      <a:accent1>
        <a:srgbClr val="FF644B"/>
      </a:accent1>
      <a:accent2>
        <a:srgbClr val="5479BD"/>
      </a:accent2>
      <a:accent3>
        <a:srgbClr val="00A990"/>
      </a:accent3>
      <a:accent4>
        <a:srgbClr val="EAA21C"/>
      </a:accent4>
      <a:accent5>
        <a:srgbClr val="50695F"/>
      </a:accent5>
      <a:accent6>
        <a:srgbClr val="D4E458"/>
      </a:accent6>
      <a:hlink>
        <a:srgbClr val="000000"/>
      </a:hlink>
      <a:folHlink>
        <a:srgbClr val="50695F"/>
      </a:folHlink>
    </a:clrScheme>
    <a:fontScheme name="Roedl&amp;Partners 2018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 marL="216000" indent="-216000" algn="l">
          <a:buFontTx/>
          <a:buChar char="–"/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8575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16000" indent="-216000" algn="l" defTabSz="914400" rtl="0" eaLnBrk="1" latinLnBrk="0" hangingPunct="1">
          <a:spcBef>
            <a:spcPts val="500"/>
          </a:spcBef>
          <a:buFontTx/>
          <a:buChar char="–"/>
          <a:defRPr sz="1600" kern="1200" dirty="0" err="1" smtClean="0">
            <a:solidFill>
              <a:schemeClr val="tx2"/>
            </a:solidFill>
            <a:latin typeface="+mn-lt"/>
            <a:ea typeface="+mn-ea"/>
            <a:cs typeface="+mn-cs"/>
          </a:defRPr>
        </a:defPPr>
      </a:lstStyle>
    </a:txDef>
  </a:objectDefaults>
  <a:extraClrSchemeLst/>
  <a:custClrLst>
    <a:custClr>
      <a:srgbClr val="5A6AA8"/>
    </a:custClr>
    <a:custClr>
      <a:srgbClr val="F29C9C"/>
    </a:custClr>
    <a:custClr>
      <a:srgbClr val="FFFC00"/>
    </a:custClr>
    <a:custClr>
      <a:srgbClr val="00838A"/>
    </a:custClr>
    <a:custClr>
      <a:srgbClr val="DDEEF2"/>
    </a:custClr>
    <a:custClr>
      <a:srgbClr val="FFE0DB"/>
    </a:custClr>
    <a:custClr>
      <a:srgbClr val="CCEEE9"/>
    </a:custClr>
  </a:custClrLst>
  <a:extLst>
    <a:ext uri="{05A4C25C-085E-4340-85A3-A5531E510DB2}">
      <thm15:themeFamily xmlns:thm15="http://schemas.microsoft.com/office/thememl/2012/main" name="Präsentation1" id="{78D216B2-6008-4195-A758-88B47622C9A5}" vid="{D76F7941-61CB-4582-836B-2200CCC9AB36}"/>
    </a:ext>
  </a:extLst>
</a:theme>
</file>

<file path=ppt/theme/theme8.xml><?xml version="1.0" encoding="utf-8"?>
<a:theme xmlns:a="http://schemas.openxmlformats.org/drawingml/2006/main" name="Bajkal blue ">
  <a:themeElements>
    <a:clrScheme name="Benutzerdefiniert 11">
      <a:dk1>
        <a:sysClr val="windowText" lastClr="000000"/>
      </a:dk1>
      <a:lt1>
        <a:sysClr val="window" lastClr="FFFFFF"/>
      </a:lt1>
      <a:dk2>
        <a:srgbClr val="5479BD"/>
      </a:dk2>
      <a:lt2>
        <a:srgbClr val="DEE1E0"/>
      </a:lt2>
      <a:accent1>
        <a:srgbClr val="FF644B"/>
      </a:accent1>
      <a:accent2>
        <a:srgbClr val="5479BD"/>
      </a:accent2>
      <a:accent3>
        <a:srgbClr val="00A990"/>
      </a:accent3>
      <a:accent4>
        <a:srgbClr val="EAA21C"/>
      </a:accent4>
      <a:accent5>
        <a:srgbClr val="50695F"/>
      </a:accent5>
      <a:accent6>
        <a:srgbClr val="D4E458"/>
      </a:accent6>
      <a:hlink>
        <a:srgbClr val="000000"/>
      </a:hlink>
      <a:folHlink>
        <a:srgbClr val="50695F"/>
      </a:folHlink>
    </a:clrScheme>
    <a:fontScheme name="Roedl&amp;Partners 2018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 marL="216000" indent="-216000" algn="l">
          <a:buFontTx/>
          <a:buChar char="–"/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8575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16000" indent="-216000" algn="l" defTabSz="914400" rtl="0" eaLnBrk="1" latinLnBrk="0" hangingPunct="1">
          <a:spcBef>
            <a:spcPts val="500"/>
          </a:spcBef>
          <a:buFontTx/>
          <a:buChar char="–"/>
          <a:defRPr sz="1600" kern="1200" dirty="0" err="1" smtClean="0">
            <a:solidFill>
              <a:schemeClr val="tx2"/>
            </a:solidFill>
            <a:latin typeface="+mn-lt"/>
            <a:ea typeface="+mn-ea"/>
            <a:cs typeface="+mn-cs"/>
          </a:defRPr>
        </a:defPPr>
      </a:lstStyle>
    </a:txDef>
  </a:objectDefaults>
  <a:extraClrSchemeLst/>
  <a:custClrLst>
    <a:custClr>
      <a:srgbClr val="5A6AA8"/>
    </a:custClr>
    <a:custClr>
      <a:srgbClr val="F29C9C"/>
    </a:custClr>
    <a:custClr>
      <a:srgbClr val="FFFC00"/>
    </a:custClr>
    <a:custClr>
      <a:srgbClr val="00838A"/>
    </a:custClr>
    <a:custClr>
      <a:srgbClr val="DDEEF2"/>
    </a:custClr>
    <a:custClr>
      <a:srgbClr val="FFE0DB"/>
    </a:custClr>
    <a:custClr>
      <a:srgbClr val="CCEEE9"/>
    </a:custClr>
  </a:custClrLst>
  <a:extLst>
    <a:ext uri="{05A4C25C-085E-4340-85A3-A5531E510DB2}">
      <thm15:themeFamily xmlns:thm15="http://schemas.microsoft.com/office/thememl/2012/main" name="Präsentation1" id="{78D216B2-6008-4195-A758-88B47622C9A5}" vid="{450308A6-7495-495F-B4A9-010FA9CF0F6C}"/>
    </a:ext>
  </a:extLst>
</a:theme>
</file>

<file path=ppt/theme/theme9.xml><?xml version="1.0" encoding="utf-8"?>
<a:theme xmlns:a="http://schemas.openxmlformats.org/drawingml/2006/main" name="Dolomite Gray ">
  <a:themeElements>
    <a:clrScheme name="Benutzerdefiniert 15">
      <a:dk1>
        <a:sysClr val="windowText" lastClr="000000"/>
      </a:dk1>
      <a:lt1>
        <a:sysClr val="window" lastClr="FFFFFF"/>
      </a:lt1>
      <a:dk2>
        <a:srgbClr val="50695F"/>
      </a:dk2>
      <a:lt2>
        <a:srgbClr val="DEE1E0"/>
      </a:lt2>
      <a:accent1>
        <a:srgbClr val="FF644B"/>
      </a:accent1>
      <a:accent2>
        <a:srgbClr val="5479BD"/>
      </a:accent2>
      <a:accent3>
        <a:srgbClr val="00A990"/>
      </a:accent3>
      <a:accent4>
        <a:srgbClr val="EAA21C"/>
      </a:accent4>
      <a:accent5>
        <a:srgbClr val="50695F"/>
      </a:accent5>
      <a:accent6>
        <a:srgbClr val="D4E458"/>
      </a:accent6>
      <a:hlink>
        <a:srgbClr val="000000"/>
      </a:hlink>
      <a:folHlink>
        <a:srgbClr val="50695F"/>
      </a:folHlink>
    </a:clrScheme>
    <a:fontScheme name="Roedl&amp;Partners 2018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 marL="216000" indent="-216000" algn="l">
          <a:buFontTx/>
          <a:buChar char="–"/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8575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16000" indent="-216000" algn="l" defTabSz="914400" rtl="0" eaLnBrk="1" latinLnBrk="0" hangingPunct="1">
          <a:spcBef>
            <a:spcPts val="500"/>
          </a:spcBef>
          <a:buFontTx/>
          <a:buChar char="–"/>
          <a:defRPr sz="1600" kern="1200" dirty="0" err="1" smtClean="0">
            <a:solidFill>
              <a:schemeClr val="tx2"/>
            </a:solidFill>
            <a:latin typeface="+mn-lt"/>
            <a:ea typeface="+mn-ea"/>
            <a:cs typeface="+mn-cs"/>
          </a:defRPr>
        </a:defPPr>
      </a:lstStyle>
    </a:txDef>
  </a:objectDefaults>
  <a:extraClrSchemeLst/>
  <a:custClrLst>
    <a:custClr>
      <a:srgbClr val="5A6AA8"/>
    </a:custClr>
    <a:custClr>
      <a:srgbClr val="F29C9C"/>
    </a:custClr>
    <a:custClr>
      <a:srgbClr val="FFFC00"/>
    </a:custClr>
    <a:custClr>
      <a:srgbClr val="00838A"/>
    </a:custClr>
    <a:custClr>
      <a:srgbClr val="DDEEF2"/>
    </a:custClr>
    <a:custClr>
      <a:srgbClr val="FFE0DB"/>
    </a:custClr>
    <a:custClr>
      <a:srgbClr val="CCEEE9"/>
    </a:custClr>
  </a:custClrLst>
  <a:extLst>
    <a:ext uri="{05A4C25C-085E-4340-85A3-A5531E510DB2}">
      <thm15:themeFamily xmlns:thm15="http://schemas.microsoft.com/office/thememl/2012/main" name="Präsentation1" id="{78D216B2-6008-4195-A758-88B47622C9A5}" vid="{0E3C9076-F4D1-4793-9A4F-C042F416A8FF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8195CAA91C6924B9A85CCDC53707EBC" ma:contentTypeVersion="3" ma:contentTypeDescription="Create a new document." ma:contentTypeScope="" ma:versionID="1746e11b8ed4fcf7bf2672c20921632d">
  <xsd:schema xmlns:xsd="http://www.w3.org/2001/XMLSchema" xmlns:xs="http://www.w3.org/2001/XMLSchema" xmlns:p="http://schemas.microsoft.com/office/2006/metadata/properties" xmlns:ns2="8839932a-ccf9-4a41-86ef-43289922703a" targetNamespace="http://schemas.microsoft.com/office/2006/metadata/properties" ma:root="true" ma:fieldsID="68af336e08042718198d4c2ded159a5c" ns2:_="">
    <xsd:import namespace="8839932a-ccf9-4a41-86ef-43289922703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839932a-ccf9-4a41-86ef-43289922703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1BBA8402-E4D0-4704-BFF8-A798B781BF31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F04DC36C-4A24-4FBA-8708-1E1D53BF010A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25429FDE-F2F3-4707-B848-5DA9B72963F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8839932a-ccf9-4a41-86ef-43289922703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Chartgallery_DE_Arial-ohne Karten</Template>
  <TotalTime>0</TotalTime>
  <Words>1146</Words>
  <Application>Microsoft Office PowerPoint</Application>
  <PresentationFormat>Breitbild</PresentationFormat>
  <Paragraphs>292</Paragraphs>
  <Slides>15</Slides>
  <Notes>7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17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5</vt:i4>
      </vt:variant>
    </vt:vector>
  </HeadingPairs>
  <TitlesOfParts>
    <vt:vector size="36" baseType="lpstr">
      <vt:lpstr>Arial</vt:lpstr>
      <vt:lpstr>GT America</vt:lpstr>
      <vt:lpstr>GT America (Textkörper)</vt:lpstr>
      <vt:lpstr>CG_DE_Arial</vt:lpstr>
      <vt:lpstr>Rödl &amp; Partner Green</vt:lpstr>
      <vt:lpstr>Daintree green </vt:lpstr>
      <vt:lpstr>Highland green </vt:lpstr>
      <vt:lpstr>Rödl &amp; Partner (Schwarz Weiß)</vt:lpstr>
      <vt:lpstr>Canyon Red</vt:lpstr>
      <vt:lpstr>Gobi Orange </vt:lpstr>
      <vt:lpstr>Bajkal blue </vt:lpstr>
      <vt:lpstr>Dolomite Gray </vt:lpstr>
      <vt:lpstr>Donau blue </vt:lpstr>
      <vt:lpstr>Naha Rose Highlightfolien</vt:lpstr>
      <vt:lpstr>Danakil Yellow Highlightfolien</vt:lpstr>
      <vt:lpstr>Unternehmenspraesentation_DE_ARIAL_ohne-Animationen</vt:lpstr>
      <vt:lpstr>1_CG_DE_Arial</vt:lpstr>
      <vt:lpstr>1_Rödl &amp; Partner Green</vt:lpstr>
      <vt:lpstr>2_Rödl &amp; Partner Green</vt:lpstr>
      <vt:lpstr>3_Rödl &amp; Partner Green</vt:lpstr>
      <vt:lpstr>think-cell Folie</vt:lpstr>
      <vt:lpstr>Notwendigkeit der DrittnutzerFinanzierung für den ÖPNV</vt:lpstr>
      <vt:lpstr>Lösungen für die Mobilität der Zukunft</vt:lpstr>
      <vt:lpstr>Kurzprofil</vt:lpstr>
      <vt:lpstr>Kurzprofil</vt:lpstr>
      <vt:lpstr>Finanzierungslücke Im ÖPNV</vt:lpstr>
      <vt:lpstr>Strategisches Vorgehen</vt:lpstr>
      <vt:lpstr>Finanzierungsbedarf</vt:lpstr>
      <vt:lpstr>Finanzierungsinstrumente</vt:lpstr>
      <vt:lpstr>Eignung</vt:lpstr>
      <vt:lpstr>Auswahl Finanzierungsmodelle</vt:lpstr>
      <vt:lpstr>Parkraumbewirtschaftung</vt:lpstr>
      <vt:lpstr>City-maut</vt:lpstr>
      <vt:lpstr>ÖPNV-Grundbeitrag</vt:lpstr>
      <vt:lpstr>Ausblick</vt:lpstr>
      <vt:lpstr>KENNEN SIE SCHON UNSEREN Kompass Mobilität?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Notwendigkeit der DrittnutzerFinanzierung für den ÖPNV</dc:title>
  <dc:creator>Bans, Ricarda</dc:creator>
  <cp:lastModifiedBy>Bans, Ricarda</cp:lastModifiedBy>
  <cp:revision>28</cp:revision>
  <cp:lastPrinted>2018-08-17T10:42:40Z</cp:lastPrinted>
  <dcterms:created xsi:type="dcterms:W3CDTF">2024-04-03T13:46:04Z</dcterms:created>
  <dcterms:modified xsi:type="dcterms:W3CDTF">2024-04-17T06:42:5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8195CAA91C6924B9A85CCDC53707EBC</vt:lpwstr>
  </property>
</Properties>
</file>